
<file path=[Content_Types].xml><?xml version="1.0" encoding="utf-8"?>
<Types xmlns="http://schemas.openxmlformats.org/package/2006/content-types">
  <Override PartName="/ppt/theme/theme5.xml" ContentType="application/vnd.openxmlformats-officedocument.theme+xml"/>
  <Override PartName="/ppt/tags/tag8.xml" ContentType="application/vnd.openxmlformats-officedocument.presentationml.tags+xml"/>
  <Override PartName="/ppt/slideLayouts/slideLayout307.xml" ContentType="application/vnd.openxmlformats-officedocument.presentationml.slideLayout+xml"/>
  <Override PartName="/ppt/slideLayouts/slideLayout354.xml" ContentType="application/vnd.openxmlformats-officedocument.presentationml.slideLayout+xml"/>
  <Override PartName="/ppt/slideLayouts/slideLayout46.xml" ContentType="application/vnd.openxmlformats-officedocument.presentationml.slideLayout+xml"/>
  <Override PartName="/ppt/slideLayouts/slideLayout93.xml" ContentType="application/vnd.openxmlformats-officedocument.presentationml.slideLayout+xml"/>
  <Override PartName="/ppt/slideLayouts/slideLayout146.xml" ContentType="application/vnd.openxmlformats-officedocument.presentationml.slideLayout+xml"/>
  <Override PartName="/ppt/slideLayouts/slideLayout193.xml" ContentType="application/vnd.openxmlformats-officedocument.presentationml.slideLayout+xml"/>
  <Override PartName="/ppt/slideLayouts/slideLayout332.xml" ContentType="application/vnd.openxmlformats-officedocument.presentationml.slideLayout+xml"/>
  <Override PartName="/ppt/slides/slide25.xml" ContentType="application/vnd.openxmlformats-officedocument.presentationml.slide+xml"/>
  <Override PartName="/ppt/slideLayouts/slideLayout2.xml" ContentType="application/vnd.openxmlformats-officedocument.presentationml.slideLayout+xml"/>
  <Override PartName="/ppt/slideLayouts/slideLayout124.xml" ContentType="application/vnd.openxmlformats-officedocument.presentationml.slideLayout+xml"/>
  <Override PartName="/ppt/slideLayouts/slideLayout171.xml" ContentType="application/vnd.openxmlformats-officedocument.presentationml.slideLayout+xml"/>
  <Override PartName="/ppt/slideLayouts/slideLayout269.xml" ContentType="application/vnd.openxmlformats-officedocument.presentationml.slideLayout+xml"/>
  <Default Extension="xml" ContentType="application/xml"/>
  <Override PartName="/ppt/slideLayouts/slideLayout24.xml" ContentType="application/vnd.openxmlformats-officedocument.presentationml.slideLayout+xml"/>
  <Override PartName="/ppt/slideLayouts/slideLayout71.xml" ContentType="application/vnd.openxmlformats-officedocument.presentationml.slideLayout+xml"/>
  <Override PartName="/ppt/slideLayouts/slideLayout247.xml" ContentType="application/vnd.openxmlformats-officedocument.presentationml.slideLayout+xml"/>
  <Override PartName="/ppt/slideLayouts/slideLayout294.xml" ContentType="application/vnd.openxmlformats-officedocument.presentationml.slideLayout+xml"/>
  <Override PartName="/ppt/slideLayouts/slideLayout310.xml" ContentType="application/vnd.openxmlformats-officedocument.presentationml.slideLayout+xml"/>
  <Override PartName="/ppt/theme/theme29.xml" ContentType="application/vnd.openxmlformats-officedocument.theme+xml"/>
  <Override PartName="/ppt/tags/tag38.xml" ContentType="application/vnd.openxmlformats-officedocument.presentationml.tags+xml"/>
  <Override PartName="/ppt/notesSlides/notesSlide16.xml" ContentType="application/vnd.openxmlformats-officedocument.presentationml.notesSlide+xml"/>
  <Override PartName="/ppt/slideMasters/slideMaster33.xml" ContentType="application/vnd.openxmlformats-officedocument.presentationml.slideMaster+xml"/>
  <Override PartName="/ppt/slideLayouts/slideLayout102.xml" ContentType="application/vnd.openxmlformats-officedocument.presentationml.slideLayout+xml"/>
  <Override PartName="/ppt/tags/tag16.xml" ContentType="application/vnd.openxmlformats-officedocument.presentationml.tags+xml"/>
  <Override PartName="/ppt/slideMasters/slideMaster8.xml" ContentType="application/vnd.openxmlformats-officedocument.presentationml.slideMaster+xml"/>
  <Override PartName="/ppt/slideMasters/slideMaster11.xml" ContentType="application/vnd.openxmlformats-officedocument.presentationml.slideMaster+xml"/>
  <Override PartName="/ppt/slideLayouts/slideLayout225.xml" ContentType="application/vnd.openxmlformats-officedocument.presentationml.slideLayout+xml"/>
  <Override PartName="/ppt/slideLayouts/slideLayout272.xml" ContentType="application/vnd.openxmlformats-officedocument.presentationml.slideLayout+xml"/>
  <Override PartName="/ppt/slideLayouts/slideLayout203.xml" ContentType="application/vnd.openxmlformats-officedocument.presentationml.slideLayout+xml"/>
  <Override PartName="/ppt/slideLayouts/slideLayout250.xml" ContentType="application/vnd.openxmlformats-officedocument.presentationml.slideLayout+xml"/>
  <Override PartName="/ppt/slideLayouts/slideLayout348.xml" ContentType="application/vnd.openxmlformats-officedocument.presentationml.slideLayout+xml"/>
  <Override PartName="/ppt/theme/theme32.xml" ContentType="application/vnd.openxmlformats-officedocument.theme+xml"/>
  <Override PartName="/ppt/slideLayouts/slideLayout395.xml" ContentType="application/vnd.openxmlformats-officedocument.presentationml.slideLayout+xml"/>
  <Override PartName="/ppt/diagrams/data2.xml" ContentType="application/vnd.openxmlformats-officedocument.drawingml.diagramData+xml"/>
  <Override PartName="/ppt/notesSlides/notesSlide7.xml" ContentType="application/vnd.openxmlformats-officedocument.presentationml.notesSlide+xml"/>
  <Default Extension="xlsx" ContentType="application/vnd.openxmlformats-officedocument.spreadsheetml.sheet"/>
  <Override PartName="/ppt/tags/tag41.xml" ContentType="application/vnd.openxmlformats-officedocument.presentationml.tags+xml"/>
  <Override PartName="/ppt/charts/chart3.xml" ContentType="application/vnd.openxmlformats-officedocument.drawingml.chart+xml"/>
  <Override PartName="/ppt/slideLayouts/slideLayout87.xml" ContentType="application/vnd.openxmlformats-officedocument.presentationml.slideLayout+xml"/>
  <Override PartName="/ppt/theme/theme10.xml" ContentType="application/vnd.openxmlformats-officedocument.theme+xml"/>
  <Override PartName="/ppt/slideLayouts/slideLayout187.xml" ContentType="application/vnd.openxmlformats-officedocument.presentationml.slideLayout+xml"/>
  <Override PartName="/ppt/slideLayouts/slideLayout326.xml" ContentType="application/vnd.openxmlformats-officedocument.presentationml.slideLayout+xml"/>
  <Override PartName="/ppt/slideLayouts/slideLayout373.xml" ContentType="application/vnd.openxmlformats-officedocument.presentationml.slideLayout+xml"/>
  <Override PartName="/ppt/slides/slide19.xml" ContentType="application/vnd.openxmlformats-officedocument.presentationml.slide+xml"/>
  <Default Extension="png" ContentType="image/png"/>
  <Override PartName="/ppt/slideLayouts/slideLayout118.xml" ContentType="application/vnd.openxmlformats-officedocument.presentationml.slideLayout+xml"/>
  <Override PartName="/ppt/slideLayouts/slideLayout165.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Layouts/slideLayout65.xml" ContentType="application/vnd.openxmlformats-officedocument.presentationml.slideLayout+xml"/>
  <Override PartName="/ppt/slideLayouts/slideLayout304.xml" ContentType="application/vnd.openxmlformats-officedocument.presentationml.slideLayout+xml"/>
  <Override PartName="/ppt/slideLayouts/slideLayout351.xml" ContentType="application/vnd.openxmlformats-officedocument.presentationml.slideLayout+xml"/>
  <Override PartName="/ppt/slideMasters/slideMaster27.xml" ContentType="application/vnd.openxmlformats-officedocument.presentationml.slideMaster+xml"/>
  <Override PartName="/ppt/slideLayouts/slideLayout43.xml" ContentType="application/vnd.openxmlformats-officedocument.presentationml.slideLayout+xml"/>
  <Override PartName="/ppt/slideLayouts/slideLayout90.xml" ContentType="application/vnd.openxmlformats-officedocument.presentationml.slideLayout+xml"/>
  <Override PartName="/ppt/slideLayouts/slideLayout143.xml" ContentType="application/vnd.openxmlformats-officedocument.presentationml.slideLayout+xml"/>
  <Override PartName="/ppt/slideLayouts/slideLayout190.xml" ContentType="application/vnd.openxmlformats-officedocument.presentationml.slideLayout+xml"/>
  <Override PartName="/ppt/slideLayouts/slideLayout288.xml" ContentType="application/vnd.openxmlformats-officedocument.presentationml.slideLayout+xml"/>
  <Default Extension="emf" ContentType="image/x-emf"/>
  <Override PartName="/ppt/slides/slide22.xml" ContentType="application/vnd.openxmlformats-officedocument.presentationml.slide+xml"/>
  <Override PartName="/ppt/slideLayouts/slideLayout219.xml" ContentType="application/vnd.openxmlformats-officedocument.presentationml.slideLayout+xml"/>
  <Override PartName="/ppt/slideLayouts/slideLayout266.xml" ContentType="application/vnd.openxmlformats-officedocument.presentationml.slideLayout+xml"/>
  <Override PartName="/ppt/slideLayouts/slideLayout21.xml" ContentType="application/vnd.openxmlformats-officedocument.presentationml.slideLayout+xml"/>
  <Override PartName="/ppt/slideLayouts/slideLayout121.xml" ContentType="application/vnd.openxmlformats-officedocument.presentationml.slideLayout+xml"/>
  <Override PartName="/ppt/theme/theme26.xml" ContentType="application/vnd.openxmlformats-officedocument.theme+xml"/>
  <Override PartName="/ppt/slideLayouts/slideLayout389.xml" ContentType="application/vnd.openxmlformats-officedocument.presentationml.slideLayout+xml"/>
  <Override PartName="/ppt/tags/tag35.xml" ContentType="application/vnd.openxmlformats-officedocument.presentationml.tags+xml"/>
  <Override PartName="/ppt/notesSlides/notesSlide13.xml" ContentType="application/vnd.openxmlformats-officedocument.presentationml.notesSlide+xml"/>
  <Override PartName="/ppt/slideMasters/slideMaster30.xml" ContentType="application/vnd.openxmlformats-officedocument.presentationml.slideMaster+xml"/>
  <Override PartName="/ppt/slideLayouts/slideLayout244.xml" ContentType="application/vnd.openxmlformats-officedocument.presentationml.slideLayout+xml"/>
  <Override PartName="/ppt/slideLayouts/slideLayout291.xml" ContentType="application/vnd.openxmlformats-officedocument.presentationml.slideLayout+xml"/>
  <Override PartName="/ppt/tags/tag13.xml" ContentType="application/vnd.openxmlformats-officedocument.presentationml.tags+xml"/>
  <Override PartName="/ppt/slideLayouts/slideLayout222.xml" ContentType="application/vnd.openxmlformats-officedocument.presentationml.slideLayout+xml"/>
  <Override PartName="/ppt/slideLayouts/slideLayout367.xml" ContentType="application/vnd.openxmlformats-officedocument.presentationml.slideLayout+xml"/>
  <Override PartName="/ppt/slideMasters/slideMaster5.xml" ContentType="application/vnd.openxmlformats-officedocument.presentationml.slideMaster+xml"/>
  <Override PartName="/ppt/slideLayouts/slideLayout59.xml" ContentType="application/vnd.openxmlformats-officedocument.presentationml.slideLayout+xml"/>
  <Override PartName="/ppt/slideLayouts/slideLayout159.xml" ContentType="application/vnd.openxmlformats-officedocument.presentationml.slideLayout+xml"/>
  <Override PartName="/ppt/slideLayouts/slideLayout345.xml" ContentType="application/vnd.openxmlformats-officedocument.presentationml.slideLayout+xml"/>
  <Override PartName="/ppt/slideLayouts/slideLayout392.xml" ContentType="application/vnd.openxmlformats-officedocument.presentationml.slideLayout+xml"/>
  <Override PartName="/ppt/notesSlides/notesSlide4.xml" ContentType="application/vnd.openxmlformats-officedocument.presentationml.notesSlide+xml"/>
  <Override PartName="/ppt/slideLayouts/slideLayout137.xml" ContentType="application/vnd.openxmlformats-officedocument.presentationml.slideLayout+xml"/>
  <Override PartName="/ppt/slideLayouts/slideLayout184.xml" ContentType="application/vnd.openxmlformats-officedocument.presentationml.slideLayout+xml"/>
  <Override PartName="/ppt/slideLayouts/slideLayout200.xml" ContentType="application/vnd.openxmlformats-officedocument.presentationml.slideLayout+xml"/>
  <Override PartName="/ppt/diagrams/colors1.xml" ContentType="application/vnd.openxmlformats-officedocument.drawingml.diagramColors+xml"/>
  <Override PartName="/ppt/slideLayouts/slideLayout37.xml" ContentType="application/vnd.openxmlformats-officedocument.presentationml.slideLayout+xml"/>
  <Override PartName="/ppt/slideLayouts/slideLayout84.xml" ContentType="application/vnd.openxmlformats-officedocument.presentationml.slideLayout+xml"/>
  <Override PartName="/ppt/slideLayouts/slideLayout323.xml" ContentType="application/vnd.openxmlformats-officedocument.presentationml.slideLayout+xml"/>
  <Override PartName="/ppt/slideLayouts/slideLayout370.xml" ContentType="application/vnd.openxmlformats-officedocument.presentationml.slideLayout+xml"/>
  <Override PartName="/ppt/slides/slide16.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62.xml" ContentType="application/vnd.openxmlformats-officedocument.presentationml.slideLayout+xml"/>
  <Override PartName="/ppt/slideLayouts/slideLayout115.xml" ContentType="application/vnd.openxmlformats-officedocument.presentationml.slideLayout+xml"/>
  <Override PartName="/ppt/slideLayouts/slideLayout162.xml" ContentType="application/vnd.openxmlformats-officedocument.presentationml.slideLayout+xml"/>
  <Override PartName="/ppt/slideLayouts/slideLayout301.xml" ContentType="application/vnd.openxmlformats-officedocument.presentationml.slideLayout+xml"/>
  <Override PartName="/ppt/slideLayouts/slideLayout140.xml" ContentType="application/vnd.openxmlformats-officedocument.presentationml.slideLayout+xml"/>
  <Override PartName="/ppt/slideLayouts/slideLayout238.xml" ContentType="application/vnd.openxmlformats-officedocument.presentationml.slideLayout+xml"/>
  <Override PartName="/ppt/slideLayouts/slideLayout285.xml" ContentType="application/vnd.openxmlformats-officedocument.presentationml.slideLayout+xml"/>
  <Override PartName="/ppt/tags/tag29.xml" ContentType="application/vnd.openxmlformats-officedocument.presentationml.tags+xml"/>
  <Override PartName="/ppt/slideMasters/slideMaster24.xml" ContentType="application/vnd.openxmlformats-officedocument.presentationml.slideMaster+xml"/>
  <Override PartName="/ppt/slideLayouts/slideLayout40.xml" ContentType="application/vnd.openxmlformats-officedocument.presentationml.slideLayout+xml"/>
  <Override PartName="/ppt/slideLayouts/slideLayout216.xml" ContentType="application/vnd.openxmlformats-officedocument.presentationml.slideLayout+xml"/>
  <Override PartName="/ppt/slideLayouts/slideLayout263.xml" ContentType="application/vnd.openxmlformats-officedocument.presentationml.slideLayout+xml"/>
  <Override PartName="/ppt/theme/theme23.xml" ContentType="application/vnd.openxmlformats-officedocument.theme+xml"/>
  <Override PartName="/ppt/slideLayouts/slideLayout241.xml" ContentType="application/vnd.openxmlformats-officedocument.presentationml.slideLayout+xml"/>
  <Override PartName="/ppt/slideLayouts/slideLayout339.xml" ContentType="application/vnd.openxmlformats-officedocument.presentationml.slideLayout+xml"/>
  <Override PartName="/ppt/slideLayouts/slideLayout386.xml" ContentType="application/vnd.openxmlformats-officedocument.presentationml.slideLayout+xml"/>
  <Override PartName="/ppt/tags/tag32.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slideLayouts/slideLayout78.xml" ContentType="application/vnd.openxmlformats-officedocument.presentationml.slideLayout+xml"/>
  <Override PartName="/ppt/tags/tag10.xml" ContentType="application/vnd.openxmlformats-officedocument.presentationml.tags+xml"/>
  <Override PartName="/ppt/slideLayouts/slideLayout178.xml" ContentType="application/vnd.openxmlformats-officedocument.presentationml.slideLayout+xml"/>
  <Override PartName="/ppt/slideLayouts/slideLayout317.xml" ContentType="application/vnd.openxmlformats-officedocument.presentationml.slideLayout+xml"/>
  <Override PartName="/ppt/slideLayouts/slideLayout364.xml" ContentType="application/vnd.openxmlformats-officedocument.presentationml.slideLayout+xml"/>
  <Override PartName="/ppt/slideMasters/slideMaster2.xml" ContentType="application/vnd.openxmlformats-officedocument.presentationml.slideMaster+xml"/>
  <Override PartName="/ppt/slideLayouts/slideLayout109.xml" ContentType="application/vnd.openxmlformats-officedocument.presentationml.slideLayout+xml"/>
  <Override PartName="/ppt/slideLayouts/slideLayout156.xml" ContentType="application/vnd.openxmlformats-officedocument.presentationml.slideLayout+xml"/>
  <Override PartName="/ppt/notesSlides/notesSlide1.xml" ContentType="application/vnd.openxmlformats-officedocument.presentationml.notesSlide+xml"/>
  <Override PartName="/ppt/slideLayouts/slideLayout56.xml" ContentType="application/vnd.openxmlformats-officedocument.presentationml.slideLayout+xml"/>
  <Override PartName="/ppt/slideLayouts/slideLayout279.xml" ContentType="application/vnd.openxmlformats-officedocument.presentationml.slideLayout+xml"/>
  <Override PartName="/ppt/slideLayouts/slideLayout342.xml" ContentType="application/vnd.openxmlformats-officedocument.presentationml.slideLayout+xml"/>
  <Override PartName="/ppt/slideMasters/slideMaster18.xml" ContentType="application/vnd.openxmlformats-officedocument.presentationml.slideMaster+xml"/>
  <Override PartName="/ppt/slideLayouts/slideLayout34.xml" ContentType="application/vnd.openxmlformats-officedocument.presentationml.slideLayout+xml"/>
  <Override PartName="/ppt/slideLayouts/slideLayout81.xml" ContentType="application/vnd.openxmlformats-officedocument.presentationml.slideLayout+xml"/>
  <Override PartName="/ppt/slideLayouts/slideLayout134.xml" ContentType="application/vnd.openxmlformats-officedocument.presentationml.slideLayout+xml"/>
  <Override PartName="/ppt/slideLayouts/slideLayout181.xml" ContentType="application/vnd.openxmlformats-officedocument.presentationml.slideLayout+xml"/>
  <Override PartName="/ppt/slideLayouts/slideLayout320.xml" ContentType="application/vnd.openxmlformats-officedocument.presentationml.slideLayout+xml"/>
  <Override PartName="/ppt/slides/slide13.xml" ContentType="application/vnd.openxmlformats-officedocument.presentationml.slide+xml"/>
  <Override PartName="/ppt/slideLayouts/slideLayout112.xml" ContentType="application/vnd.openxmlformats-officedocument.presentationml.slideLayout+xml"/>
  <Override PartName="/ppt/slideLayouts/slideLayout257.xml" ContentType="application/vnd.openxmlformats-officedocument.presentationml.slideLayout+xml"/>
  <Override PartName="/ppt/slideLayouts/slideLayout12.xml" ContentType="application/vnd.openxmlformats-officedocument.presentationml.slideLayout+xml"/>
  <Override PartName="/ppt/theme/theme17.xml" ContentType="application/vnd.openxmlformats-officedocument.theme+xml"/>
  <Override PartName="/ppt/slideLayouts/slideLayout235.xml" ContentType="application/vnd.openxmlformats-officedocument.presentationml.slideLayout+xml"/>
  <Override PartName="/ppt/tags/tag26.xml" ContentType="application/vnd.openxmlformats-officedocument.presentationml.tags+xml"/>
  <Override PartName="/ppt/slideMasters/slideMaster21.xml" ContentType="application/vnd.openxmlformats-officedocument.presentationml.slideMaster+xml"/>
  <Override PartName="/ppt/slideLayouts/slideLayout282.xml" ContentType="application/vnd.openxmlformats-officedocument.presentationml.slideLayout+xml"/>
  <Override PartName="/ppt/theme/theme9.xml" ContentType="application/vnd.openxmlformats-officedocument.theme+xml"/>
  <Override PartName="/ppt/slideLayouts/slideLayout213.xml" ContentType="application/vnd.openxmlformats-officedocument.presentationml.slideLayout+xml"/>
  <Override PartName="/ppt/slideLayouts/slideLayout260.xml" ContentType="application/vnd.openxmlformats-officedocument.presentationml.slideLayout+xml"/>
  <Override PartName="/ppt/slideLayouts/slideLayout358.xml" ContentType="application/vnd.openxmlformats-officedocument.presentationml.slideLayout+xml"/>
  <Override PartName="/ppt/slideLayouts/slideLayout97.xml" ContentType="application/vnd.openxmlformats-officedocument.presentationml.slideLayout+xml"/>
  <Override PartName="/ppt/slideLayouts/slideLayout197.xml" ContentType="application/vnd.openxmlformats-officedocument.presentationml.slideLayout+xml"/>
  <Override PartName="/ppt/theme/theme20.xml" ContentType="application/vnd.openxmlformats-officedocument.theme+xml"/>
  <Override PartName="/ppt/slideLayouts/slideLayout336.xml" ContentType="application/vnd.openxmlformats-officedocument.presentationml.slideLayout+xml"/>
  <Override PartName="/ppt/slideLayouts/slideLayout383.xml" ContentType="application/vnd.openxmlformats-officedocument.presentationml.slideLayout+xml"/>
  <Override PartName="/ppt/slides/slide29.xml" ContentType="application/vnd.openxmlformats-officedocument.presentationml.slide+xml"/>
  <Override PartName="/ppt/slideLayouts/slideLayout128.xml" ContentType="application/vnd.openxmlformats-officedocument.presentationml.slideLayout+xml"/>
  <Override PartName="/ppt/slideLayouts/slideLayout175.xml" ContentType="application/vnd.openxmlformats-officedocument.presentationml.slideLayout+xml"/>
  <Override PartName="/ppt/diagrams/drawing2.xml" ContentType="application/vnd.ms-office.drawingml.diagramDrawing+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28.xml" ContentType="application/vnd.openxmlformats-officedocument.presentationml.slideLayout+xml"/>
  <Override PartName="/ppt/slideLayouts/slideLayout75.xml" ContentType="application/vnd.openxmlformats-officedocument.presentationml.slideLayout+xml"/>
  <Override PartName="/ppt/slideLayouts/slideLayout298.xml" ContentType="application/vnd.openxmlformats-officedocument.presentationml.slideLayout+xml"/>
  <Override PartName="/ppt/slideLayouts/slideLayout314.xml" ContentType="application/vnd.openxmlformats-officedocument.presentationml.slideLayout+xml"/>
  <Override PartName="/ppt/slideLayouts/slideLayout361.xml" ContentType="application/vnd.openxmlformats-officedocument.presentationml.slideLayout+xml"/>
  <Override PartName="/ppt/slideLayouts/slideLayout53.xml" ContentType="application/vnd.openxmlformats-officedocument.presentationml.slideLayout+xml"/>
  <Override PartName="/ppt/slideLayouts/slideLayout106.xml" ContentType="application/vnd.openxmlformats-officedocument.presentationml.slideLayout+xml"/>
  <Override PartName="/ppt/slideLayouts/slideLayout153.xml" ContentType="application/vnd.openxmlformats-officedocument.presentationml.slideLayout+xml"/>
  <Override PartName="/ppt/slides/slide32.xml" ContentType="application/vnd.openxmlformats-officedocument.presentationml.slide+xml"/>
  <Override PartName="/ppt/slideLayouts/slideLayout131.xml" ContentType="application/vnd.openxmlformats-officedocument.presentationml.slideLayout+xml"/>
  <Override PartName="/ppt/slideLayouts/slideLayout229.xml" ContentType="application/vnd.openxmlformats-officedocument.presentationml.slideLayout+xml"/>
  <Override PartName="/ppt/slideLayouts/slideLayout276.xml" ContentType="application/vnd.openxmlformats-officedocument.presentationml.slideLayout+xml"/>
  <Override PartName="/ppt/slideMasters/slideMaster15.xml" ContentType="application/vnd.openxmlformats-officedocument.presentationml.slideMaster+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slideLayouts/slideLayout120.xml" ContentType="application/vnd.openxmlformats-officedocument.presentationml.slideLayout+xml"/>
  <Override PartName="/ppt/slideLayouts/slideLayout207.xml" ContentType="application/vnd.openxmlformats-officedocument.presentationml.slideLayout+xml"/>
  <Override PartName="/ppt/slideLayouts/slideLayout218.xml" ContentType="application/vnd.openxmlformats-officedocument.presentationml.slideLayout+xml"/>
  <Override PartName="/ppt/slideLayouts/slideLayout254.xml" ContentType="application/vnd.openxmlformats-officedocument.presentationml.slideLayout+xml"/>
  <Override PartName="/ppt/slideLayouts/slideLayout265.xml" ContentType="application/vnd.openxmlformats-officedocument.presentationml.slideLayout+xml"/>
  <Override PartName="/ppt/theme/theme14.xml" ContentType="application/vnd.openxmlformats-officedocument.theme+xml"/>
  <Override PartName="/ppt/slideLayouts/slideLayout243.xml" ContentType="application/vnd.openxmlformats-officedocument.presentationml.slideLayout+xml"/>
  <Override PartName="/ppt/slideLayouts/slideLayout290.xml" ContentType="application/vnd.openxmlformats-officedocument.presentationml.slideLayout+xml"/>
  <Override PartName="/ppt/theme/theme25.xml" ContentType="application/vnd.openxmlformats-officedocument.theme+xml"/>
  <Override PartName="/ppt/slideLayouts/slideLayout388.xml" ContentType="application/vnd.openxmlformats-officedocument.presentationml.slideLayout+xml"/>
  <Override PartName="/ppt/tags/tag34.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slideLayouts/slideLayout232.xml" ContentType="application/vnd.openxmlformats-officedocument.presentationml.slideLayout+xml"/>
  <Override PartName="/ppt/tags/tag23.xml" ContentType="application/vnd.openxmlformats-officedocument.presentationml.tags+xml"/>
  <Override PartName="/ppt/slideLayouts/slideLayout319.xml" ContentType="application/vnd.openxmlformats-officedocument.presentationml.slideLayout+xml"/>
  <Override PartName="/ppt/slideLayouts/slideLayout366.xml" ContentType="application/vnd.openxmlformats-officedocument.presentationml.slideLayout+xml"/>
  <Override PartName="/ppt/slideLayouts/slideLayout377.xml" ContentType="application/vnd.openxmlformats-officedocument.presentationml.slideLayout+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slideLayouts/slideLayout69.xml" ContentType="application/vnd.openxmlformats-officedocument.presentationml.slideLayout+xml"/>
  <Override PartName="/ppt/theme/theme6.xml" ContentType="application/vnd.openxmlformats-officedocument.theme+xml"/>
  <Override PartName="/ppt/tags/tag9.xml" ContentType="application/vnd.openxmlformats-officedocument.presentationml.tags+xml"/>
  <Override PartName="/ppt/slideLayouts/slideLayout158.xml" ContentType="application/vnd.openxmlformats-officedocument.presentationml.slideLayout+xml"/>
  <Override PartName="/ppt/slideLayouts/slideLayout169.xml" ContentType="application/vnd.openxmlformats-officedocument.presentationml.slideLayout+xml"/>
  <Override PartName="/ppt/slideLayouts/slideLayout210.xml" ContentType="application/vnd.openxmlformats-officedocument.presentationml.slideLayout+xml"/>
  <Override PartName="/ppt/slideLayouts/slideLayout221.xml" ContentType="application/vnd.openxmlformats-officedocument.presentationml.slideLayout+xml"/>
  <Override PartName="/ppt/slideLayouts/slideLayout308.xml" ContentType="application/vnd.openxmlformats-officedocument.presentationml.slideLayout+xml"/>
  <Override PartName="/ppt/slideLayouts/slideLayout355.xml" ContentType="application/vnd.openxmlformats-officedocument.presentationml.slideLayout+xml"/>
  <Override PartName="/ppt/slideLayouts/slideLayout58.xml" ContentType="application/vnd.openxmlformats-officedocument.presentationml.slideLayout+xml"/>
  <Override PartName="/ppt/slideLayouts/slideLayout147.xml" ContentType="application/vnd.openxmlformats-officedocument.presentationml.slideLayout+xml"/>
  <Override PartName="/ppt/slideLayouts/slideLayout194.xml" ContentType="application/vnd.openxmlformats-officedocument.presentationml.slideLayout+xml"/>
  <Override PartName="/ppt/slideLayouts/slideLayout344.xml" ContentType="application/vnd.openxmlformats-officedocument.presentationml.slideLayout+xml"/>
  <Override PartName="/ppt/slideLayouts/slideLayout391.xml" ContentType="application/vnd.openxmlformats-officedocument.presentationml.slideLayout+xml"/>
  <Override PartName="/ppt/notesSlides/notesSlide3.xml" ContentType="application/vnd.openxmlformats-officedocument.presentationml.notesSlide+xml"/>
  <Default Extension="bin" ContentType="application/vnd.openxmlformats-officedocument.oleObject"/>
  <Override PartName="/ppt/slides/slide26.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Layouts/slideLayout83.xml" ContentType="application/vnd.openxmlformats-officedocument.presentationml.slideLayout+xml"/>
  <Override PartName="/ppt/slideLayouts/slideLayout94.xml" ContentType="application/vnd.openxmlformats-officedocument.presentationml.slideLayout+xml"/>
  <Override PartName="/ppt/slideLayouts/slideLayout136.xml" ContentType="application/vnd.openxmlformats-officedocument.presentationml.slideLayout+xml"/>
  <Override PartName="/ppt/slideLayouts/slideLayout183.xml" ContentType="application/vnd.openxmlformats-officedocument.presentationml.slideLayout+xml"/>
  <Override PartName="/ppt/slideLayouts/slideLayout322.xml" ContentType="application/vnd.openxmlformats-officedocument.presentationml.slideLayout+xml"/>
  <Override PartName="/ppt/slideLayouts/slideLayout333.xml" ContentType="application/vnd.openxmlformats-officedocument.presentationml.slideLayout+xml"/>
  <Override PartName="/ppt/slideLayouts/slideLayout380.xml" ContentType="application/vnd.openxmlformats-officedocument.presentationml.slideLayout+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slideLayouts/slideLayout72.xml" ContentType="application/vnd.openxmlformats-officedocument.presentationml.slideLayout+xml"/>
  <Override PartName="/ppt/slideLayouts/slideLayout114.xml" ContentType="application/vnd.openxmlformats-officedocument.presentationml.slideLayout+xml"/>
  <Override PartName="/ppt/slideLayouts/slideLayout125.xml" ContentType="application/vnd.openxmlformats-officedocument.presentationml.slideLayout+xml"/>
  <Override PartName="/ppt/slideLayouts/slideLayout161.xml" ContentType="application/vnd.openxmlformats-officedocument.presentationml.slideLayout+xml"/>
  <Override PartName="/ppt/slideLayouts/slideLayout172.xml" ContentType="application/vnd.openxmlformats-officedocument.presentationml.slideLayout+xml"/>
  <Override PartName="/ppt/slideLayouts/slideLayout259.xml" ContentType="application/vnd.openxmlformats-officedocument.presentationml.slideLayout+xml"/>
  <Override PartName="/ppt/slideLayouts/slideLayout311.xml" ContentType="application/vnd.openxmlformats-officedocument.presentationml.slideLayout+xml"/>
  <Override PartName="/ppt/tags/tag39.xml" ContentType="application/vnd.openxmlformats-officedocument.presentationml.tags+xml"/>
  <Override PartName="/ppt/notesSlides/notesSlide17.xml" ContentType="application/vnd.openxmlformats-officedocument.presentationml.notesSlide+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61.xml" ContentType="application/vnd.openxmlformats-officedocument.presentationml.slideLayout+xml"/>
  <Override PartName="/ppt/slideLayouts/slideLayout103.xml" ContentType="application/vnd.openxmlformats-officedocument.presentationml.slideLayout+xml"/>
  <Override PartName="/ppt/slideLayouts/slideLayout150.xml" ContentType="application/vnd.openxmlformats-officedocument.presentationml.slideLayout+xml"/>
  <Override PartName="/ppt/theme/theme19.xml" ContentType="application/vnd.openxmlformats-officedocument.theme+xml"/>
  <Override PartName="/ppt/slideLayouts/slideLayout248.xml" ContentType="application/vnd.openxmlformats-officedocument.presentationml.slideLayout+xml"/>
  <Override PartName="/ppt/slideLayouts/slideLayout295.xml" ContentType="application/vnd.openxmlformats-officedocument.presentationml.slideLayout+xml"/>
  <Override PartName="/ppt/slideLayouts/slideLayout300.xml" ContentType="application/vnd.openxmlformats-officedocument.presentationml.slideLayout+xml"/>
  <Override PartName="/ppt/tags/tag28.xml" ContentType="application/vnd.openxmlformats-officedocument.presentationml.tags+xml"/>
  <Override PartName="/ppt/slideMasters/slideMaster23.xml" ContentType="application/vnd.openxmlformats-officedocument.presentationml.slideMaster+xml"/>
  <Override PartName="/ppt/slideLayouts/slideLayout50.xml" ContentType="application/vnd.openxmlformats-officedocument.presentationml.slideLayout+xml"/>
  <Override PartName="/ppt/tags/tag17.xml" ContentType="application/vnd.openxmlformats-officedocument.presentationml.tags+xml"/>
  <Override PartName="/ppt/slideLayouts/slideLayout226.xml" ContentType="application/vnd.openxmlformats-officedocument.presentationml.slideLayout+xml"/>
  <Override PartName="/ppt/slideLayouts/slideLayout237.xml" ContentType="application/vnd.openxmlformats-officedocument.presentationml.slideLayout+xml"/>
  <Override PartName="/ppt/slideLayouts/slideLayout273.xml" ContentType="application/vnd.openxmlformats-officedocument.presentationml.slideLayout+xml"/>
  <Override PartName="/ppt/slideLayouts/slideLayout284.xml" ContentType="application/vnd.openxmlformats-officedocument.presentationml.slideLayout+xml"/>
  <Override PartName="/ppt/slideMasters/slideMaster9.xml" ContentType="application/vnd.openxmlformats-officedocument.presentationml.slideMaster+xml"/>
  <Override PartName="/ppt/slideMasters/slideMaster12.xml" ContentType="application/vnd.openxmlformats-officedocument.presentationml.slideMaster+xml"/>
  <Override PartName="/ppt/slideLayouts/slideLayout215.xml" ContentType="application/vnd.openxmlformats-officedocument.presentationml.slideLayout+xml"/>
  <Override PartName="/ppt/slideLayouts/slideLayout262.xml" ContentType="application/vnd.openxmlformats-officedocument.presentationml.slideLayout+xml"/>
  <Override PartName="/ppt/slideLayouts/slideLayout349.xml" ContentType="application/vnd.openxmlformats-officedocument.presentationml.slideLayout+xml"/>
  <Override PartName="/ppt/slideLayouts/slideLayout396.xml" ContentType="application/vnd.openxmlformats-officedocument.presentationml.slideLayout+xml"/>
  <Override PartName="/ppt/theme/theme33.xml" ContentType="application/vnd.openxmlformats-officedocument.theme+xml"/>
  <Override PartName="/ppt/diagrams/layout2.xml" ContentType="application/vnd.openxmlformats-officedocument.drawingml.diagramLayout+xml"/>
  <Default Extension="vml" ContentType="application/vnd.openxmlformats-officedocument.vmlDrawing"/>
  <Override PartName="/ppt/notesSlides/notesSlide8.xml" ContentType="application/vnd.openxmlformats-officedocument.presentationml.notesSlide+xml"/>
  <Default Extension="gif" ContentType="image/gif"/>
  <Override PartName="/ppt/notesSlides/notesSlide20.xml" ContentType="application/vnd.openxmlformats-officedocument.presentationml.notesSlide+xml"/>
  <Override PartName="/ppt/slideLayouts/slideLayout99.xml" ContentType="application/vnd.openxmlformats-officedocument.presentationml.slideLayout+xml"/>
  <Override PartName="/ppt/slideLayouts/slideLayout188.xml" ContentType="application/vnd.openxmlformats-officedocument.presentationml.slideLayout+xml"/>
  <Override PartName="/ppt/slideLayouts/slideLayout199.xml" ContentType="application/vnd.openxmlformats-officedocument.presentationml.slideLayout+xml"/>
  <Override PartName="/ppt/slideLayouts/slideLayout204.xml" ContentType="application/vnd.openxmlformats-officedocument.presentationml.slideLayout+xml"/>
  <Override PartName="/ppt/slideLayouts/slideLayout251.xml" ContentType="application/vnd.openxmlformats-officedocument.presentationml.slideLayout+xml"/>
  <Override PartName="/ppt/theme/theme22.xml" ContentType="application/vnd.openxmlformats-officedocument.theme+xml"/>
  <Override PartName="/ppt/slideLayouts/slideLayout338.xml" ContentType="application/vnd.openxmlformats-officedocument.presentationml.slideLayout+xml"/>
  <Override PartName="/ppt/slideLayouts/slideLayout385.xml" ContentType="application/vnd.openxmlformats-officedocument.presentationml.slideLayout+xml"/>
  <Override PartName="/ppt/tags/tag31.xml" ContentType="application/vnd.openxmlformats-officedocument.presentationml.tags+xml"/>
  <Override PartName="/ppt/tags/tag42.xml" ContentType="application/vnd.openxmlformats-officedocument.presentationml.tags+xml"/>
  <Override PartName="/ppt/handoutMasters/handoutMaster1.xml" ContentType="application/vnd.openxmlformats-officedocument.presentationml.handoutMaster+xml"/>
  <Override PartName="/ppt/slideLayouts/slideLayout88.xml" ContentType="application/vnd.openxmlformats-officedocument.presentationml.slideLayout+xml"/>
  <Override PartName="/ppt/theme/theme11.xml" ContentType="application/vnd.openxmlformats-officedocument.theme+xml"/>
  <Override PartName="/ppt/slideLayouts/slideLayout177.xml" ContentType="application/vnd.openxmlformats-officedocument.presentationml.slideLayout+xml"/>
  <Override PartName="/ppt/slideLayouts/slideLayout240.xml" ContentType="application/vnd.openxmlformats-officedocument.presentationml.slideLayout+xml"/>
  <Override PartName="/ppt/tags/tag20.xml" ContentType="application/vnd.openxmlformats-officedocument.presentationml.tags+xml"/>
  <Override PartName="/ppt/slideLayouts/slideLayout327.xml" ContentType="application/vnd.openxmlformats-officedocument.presentationml.slideLayout+xml"/>
  <Override PartName="/ppt/slideLayouts/slideLayout374.xml" ContentType="application/vnd.openxmlformats-officedocument.presentationml.slideLayout+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66.xml" ContentType="application/vnd.openxmlformats-officedocument.presentationml.slideLayout+xml"/>
  <Override PartName="/ppt/tags/tag6.xml" ContentType="application/vnd.openxmlformats-officedocument.presentationml.tags+xml"/>
  <Override PartName="/ppt/slideLayouts/slideLayout77.xml" ContentType="application/vnd.openxmlformats-officedocument.presentationml.slideLayout+xml"/>
  <Override PartName="/ppt/slideLayouts/slideLayout119.xml" ContentType="application/vnd.openxmlformats-officedocument.presentationml.slideLayout+xml"/>
  <Override PartName="/ppt/slideLayouts/slideLayout166.xml" ContentType="application/vnd.openxmlformats-officedocument.presentationml.slideLayout+xml"/>
  <Override PartName="/ppt/slideLayouts/slideLayout316.xml" ContentType="application/vnd.openxmlformats-officedocument.presentationml.slideLayout+xml"/>
  <Override PartName="/ppt/slideLayouts/slideLayout363.xml" ContentType="application/vnd.openxmlformats-officedocument.presentationml.slideLayout+xml"/>
  <Override PartName="/ppt/slideMasters/slideMaster1.xml" ContentType="application/vnd.openxmlformats-officedocument.presentationml.slideMaster+xml"/>
  <Override PartName="/ppt/theme/theme3.xml" ContentType="application/vnd.openxmlformats-officedocument.theme+xml"/>
  <Override PartName="/ppt/slideLayouts/slideLayout55.xml" ContentType="application/vnd.openxmlformats-officedocument.presentationml.slideLayout+xml"/>
  <Override PartName="/ppt/slideLayouts/slideLayout108.xml" ContentType="application/vnd.openxmlformats-officedocument.presentationml.slideLayout+xml"/>
  <Override PartName="/ppt/slideLayouts/slideLayout155.xml" ContentType="application/vnd.openxmlformats-officedocument.presentationml.slideLayout+xml"/>
  <Override PartName="/ppt/slideLayouts/slideLayout289.xml" ContentType="application/vnd.openxmlformats-officedocument.presentationml.slideLayout+xml"/>
  <Override PartName="/ppt/slideLayouts/slideLayout305.xml" ContentType="application/vnd.openxmlformats-officedocument.presentationml.slideLayout+xml"/>
  <Override PartName="/ppt/slideLayouts/slideLayout341.xml" ContentType="application/vnd.openxmlformats-officedocument.presentationml.slideLayout+xml"/>
  <Override PartName="/ppt/slideLayouts/slideLayout352.xml" ContentType="application/vnd.openxmlformats-officedocument.presentationml.slideLayout+xml"/>
  <Override PartName="/ppt/slideMasters/slideMaster28.xml" ContentType="application/vnd.openxmlformats-officedocument.presentationml.slideMaster+xml"/>
  <Override PartName="/ppt/slideLayouts/slideLayout44.xml" ContentType="application/vnd.openxmlformats-officedocument.presentationml.slideLayout+xml"/>
  <Override PartName="/ppt/slideLayouts/slideLayout91.xml" ContentType="application/vnd.openxmlformats-officedocument.presentationml.slideLayout+xml"/>
  <Override PartName="/ppt/slideLayouts/slideLayout133.xml" ContentType="application/vnd.openxmlformats-officedocument.presentationml.slideLayout+xml"/>
  <Override PartName="/ppt/slideLayouts/slideLayout144.xml" ContentType="application/vnd.openxmlformats-officedocument.presentationml.slideLayout+xml"/>
  <Override PartName="/ppt/slideLayouts/slideLayout180.xml" ContentType="application/vnd.openxmlformats-officedocument.presentationml.slideLayout+xml"/>
  <Override PartName="/ppt/slideLayouts/slideLayout191.xml" ContentType="application/vnd.openxmlformats-officedocument.presentationml.slideLayout+xml"/>
  <Override PartName="/ppt/slideLayouts/slideLayout278.xml" ContentType="application/vnd.openxmlformats-officedocument.presentationml.slideLayout+xml"/>
  <Override PartName="/ppt/slideLayouts/slideLayout330.xml" ContentType="application/vnd.openxmlformats-officedocument.presentationml.slideLayout+xml"/>
  <Default Extension="rels" ContentType="application/vnd.openxmlformats-package.relationships+xml"/>
  <Override PartName="/ppt/slideMasters/slideMaster17.xml" ContentType="application/vnd.openxmlformats-officedocument.presentationml.slideMaster+xml"/>
  <Override PartName="/ppt/slides/slide23.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80.xml" ContentType="application/vnd.openxmlformats-officedocument.presentationml.slideLayout+xml"/>
  <Override PartName="/ppt/slideLayouts/slideLayout122.xml" ContentType="application/vnd.openxmlformats-officedocument.presentationml.slideLayout+xml"/>
  <Override PartName="/ppt/slideLayouts/slideLayout209.xml" ContentType="application/vnd.openxmlformats-officedocument.presentationml.slideLayout+xml"/>
  <Override PartName="/ppt/slideLayouts/slideLayout256.xml" ContentType="application/vnd.openxmlformats-officedocument.presentationml.slideLayout+xml"/>
  <Override PartName="/ppt/slideLayouts/slideLayout267.xml" ContentType="application/vnd.openxmlformats-officedocument.presentationml.slideLayout+xml"/>
  <Override PartName="/ppt/slides/slide12.xml" ContentType="application/vnd.openxmlformats-officedocument.presentationml.slide+xml"/>
  <Override PartName="/ppt/slideLayouts/slideLayout11.xml" ContentType="application/vnd.openxmlformats-officedocument.presentationml.slideLayout+xml"/>
  <Override PartName="/ppt/slideLayouts/slideLayout111.xml" ContentType="application/vnd.openxmlformats-officedocument.presentationml.slideLayout+xml"/>
  <Override PartName="/ppt/theme/theme16.xml" ContentType="application/vnd.openxmlformats-officedocument.theme+xml"/>
  <Override PartName="/ppt/slideLayouts/slideLayout245.xml" ContentType="application/vnd.openxmlformats-officedocument.presentationml.slideLayout+xml"/>
  <Override PartName="/ppt/slideLayouts/slideLayout292.xml" ContentType="application/vnd.openxmlformats-officedocument.presentationml.slideLayout+xml"/>
  <Override PartName="/ppt/theme/theme27.xml" ContentType="application/vnd.openxmlformats-officedocument.theme+xml"/>
  <Override PartName="/ppt/tags/tag36.xml" ContentType="application/vnd.openxmlformats-officedocument.presentationml.tags+xml"/>
  <Override PartName="/ppt/notesSlides/notesSlide14.xml" ContentType="application/vnd.openxmlformats-officedocument.presentationml.notesSlide+xml"/>
  <Override PartName="/ppt/slideMasters/slideMaster31.xml" ContentType="application/vnd.openxmlformats-officedocument.presentationml.slideMaster+xml"/>
  <Override PartName="/ppt/commentAuthors.xml" ContentType="application/vnd.openxmlformats-officedocument.presentationml.commentAuthors+xml"/>
  <Override PartName="/ppt/slideLayouts/slideLayout100.xml" ContentType="application/vnd.openxmlformats-officedocument.presentationml.slideLayout+xml"/>
  <Override PartName="/ppt/tags/tag14.xml" ContentType="application/vnd.openxmlformats-officedocument.presentationml.tags+xml"/>
  <Override PartName="/ppt/slideLayouts/slideLayout234.xml" ContentType="application/vnd.openxmlformats-officedocument.presentationml.slideLayout+xml"/>
  <Override PartName="/ppt/slideLayouts/slideLayout281.xml" ContentType="application/vnd.openxmlformats-officedocument.presentationml.slideLayout+xml"/>
  <Override PartName="/ppt/tags/tag25.xml" ContentType="application/vnd.openxmlformats-officedocument.presentationml.tags+xml"/>
  <Override PartName="/ppt/slideLayouts/slideLayout368.xml" ContentType="application/vnd.openxmlformats-officedocument.presentationml.slideLayout+xml"/>
  <Override PartName="/ppt/slideLayouts/slideLayout379.xml" ContentType="application/vnd.openxmlformats-officedocument.presentationml.slideLayout+xml"/>
  <Override PartName="/ppt/slideMasters/slideMaster6.xml" ContentType="application/vnd.openxmlformats-officedocument.presentationml.slideMaster+xml"/>
  <Override PartName="/ppt/slideMasters/slideMaster20.xml" ContentType="application/vnd.openxmlformats-officedocument.presentationml.slideMaster+xml"/>
  <Override PartName="/ppt/theme/theme8.xml" ContentType="application/vnd.openxmlformats-officedocument.theme+xml"/>
  <Override PartName="/ppt/slideLayouts/slideLayout223.xml" ContentType="application/vnd.openxmlformats-officedocument.presentationml.slideLayout+xml"/>
  <Override PartName="/ppt/slideLayouts/slideLayout270.xml" ContentType="application/vnd.openxmlformats-officedocument.presentationml.slideLayout+xml"/>
  <Override PartName="/ppt/slideLayouts/slideLayout357.xml" ContentType="application/vnd.openxmlformats-officedocument.presentationml.slideLayout+xml"/>
  <Override PartName="/ppt/slideLayouts/slideLayout149.xml" ContentType="application/vnd.openxmlformats-officedocument.presentationml.slideLayout+xml"/>
  <Override PartName="/ppt/slideLayouts/slideLayout196.xml" ContentType="application/vnd.openxmlformats-officedocument.presentationml.slideLayout+xml"/>
  <Override PartName="/ppt/slideLayouts/slideLayout201.xml" ContentType="application/vnd.openxmlformats-officedocument.presentationml.slideLayout+xml"/>
  <Override PartName="/ppt/slideLayouts/slideLayout212.xml" ContentType="application/vnd.openxmlformats-officedocument.presentationml.slideLayout+xml"/>
  <Override PartName="/ppt/slideLayouts/slideLayout346.xml" ContentType="application/vnd.openxmlformats-officedocument.presentationml.slideLayout+xml"/>
  <Override PartName="/ppt/theme/theme30.xml" ContentType="application/vnd.openxmlformats-officedocument.theme+xml"/>
  <Override PartName="/ppt/slideLayouts/slideLayout393.xml" ContentType="application/vnd.openxmlformats-officedocument.presentationml.slideLayout+xml"/>
  <Override PartName="/ppt/notesSlides/notesSlide5.xml" ContentType="application/vnd.openxmlformats-officedocument.presentationml.notesSlide+xml"/>
  <Override PartName="/ppt/charts/chart1.xml" ContentType="application/vnd.openxmlformats-officedocument.drawingml.chart+xml"/>
  <Override PartName="/ppt/slides/slide28.xml" ContentType="application/vnd.openxmlformats-officedocument.presentationml.slide+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slideLayouts/slideLayout85.xml" ContentType="application/vnd.openxmlformats-officedocument.presentationml.slideLayout+xml"/>
  <Override PartName="/ppt/slideLayouts/slideLayout96.xml" ContentType="application/vnd.openxmlformats-officedocument.presentationml.slideLayout+xml"/>
  <Override PartName="/ppt/slideLayouts/slideLayout138.xml" ContentType="application/vnd.openxmlformats-officedocument.presentationml.slideLayout+xml"/>
  <Override PartName="/ppt/slideLayouts/slideLayout185.xml" ContentType="application/vnd.openxmlformats-officedocument.presentationml.slideLayout+xml"/>
  <Override PartName="/ppt/slideLayouts/slideLayout324.xml" ContentType="application/vnd.openxmlformats-officedocument.presentationml.slideLayout+xml"/>
  <Override PartName="/ppt/slideLayouts/slideLayout335.xml" ContentType="application/vnd.openxmlformats-officedocument.presentationml.slideLayout+xml"/>
  <Override PartName="/ppt/slideLayouts/slideLayout371.xml" ContentType="application/vnd.openxmlformats-officedocument.presentationml.slideLayout+xml"/>
  <Override PartName="/ppt/slideLayouts/slideLayout382.xml" ContentType="application/vnd.openxmlformats-officedocument.presentationml.slideLayout+xml"/>
  <Override PartName="/ppt/diagrams/colors2.xml" ContentType="application/vnd.openxmlformats-officedocument.drawingml.diagramColor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74.xml" ContentType="application/vnd.openxmlformats-officedocument.presentationml.slideLayout+xml"/>
  <Override PartName="/ppt/slideLayouts/slideLayout116.xml" ContentType="application/vnd.openxmlformats-officedocument.presentationml.slideLayout+xml"/>
  <Override PartName="/ppt/slideLayouts/slideLayout127.xml" ContentType="application/vnd.openxmlformats-officedocument.presentationml.slideLayout+xml"/>
  <Override PartName="/ppt/slideLayouts/slideLayout163.xml" ContentType="application/vnd.openxmlformats-officedocument.presentationml.slideLayout+xml"/>
  <Override PartName="/ppt/slideLayouts/slideLayout174.xml" ContentType="application/vnd.openxmlformats-officedocument.presentationml.slideLayout+xml"/>
  <Override PartName="/ppt/slideLayouts/slideLayout313.xml" ContentType="application/vnd.openxmlformats-officedocument.presentationml.slideLayout+xml"/>
  <Override PartName="/ppt/slideLayouts/slideLayout360.xml" ContentType="application/vnd.openxmlformats-officedocument.presentationml.slideLayout+xml"/>
  <Override PartName="/ppt/diagrams/drawing1.xml" ContentType="application/vnd.ms-office.drawingml.diagramDrawing+xml"/>
  <Override PartName="/ppt/notesSlides/notesSlide19.xml" ContentType="application/vnd.openxmlformats-officedocument.presentationml.notesSlide+xml"/>
  <Override PartName="/ppt/slideLayouts/slideLayout16.xml" ContentType="application/vnd.openxmlformats-officedocument.presentationml.slideLayout+xml"/>
  <Default Extension="jpeg" ContentType="image/jpeg"/>
  <Override PartName="/ppt/tags/tag3.xml" ContentType="application/vnd.openxmlformats-officedocument.presentationml.tags+xml"/>
  <Override PartName="/ppt/slideLayouts/slideLayout63.xml" ContentType="application/vnd.openxmlformats-officedocument.presentationml.slideLayout+xml"/>
  <Override PartName="/ppt/slideLayouts/slideLayout105.xml" ContentType="application/vnd.openxmlformats-officedocument.presentationml.slideLayout+xml"/>
  <Override PartName="/ppt/slideLayouts/slideLayout152.xml" ContentType="application/vnd.openxmlformats-officedocument.presentationml.slideLayout+xml"/>
  <Override PartName="/ppt/slideLayouts/slideLayout297.xml" ContentType="application/vnd.openxmlformats-officedocument.presentationml.slideLayout+xml"/>
  <Override PartName="/ppt/slideLayouts/slideLayout302.xml" ContentType="application/vnd.openxmlformats-officedocument.presentationml.slideLayout+xml"/>
  <Override PartName="/ppt/diagrams/quickStyle1.xml" ContentType="application/vnd.openxmlformats-officedocument.drawingml.diagramStyle+xml"/>
  <Override PartName="/ppt/slideMasters/slideMaster25.xml" ContentType="application/vnd.openxmlformats-officedocument.presentationml.slideMaster+xml"/>
  <Override PartName="/ppt/slides/slide31.xml" ContentType="application/vnd.openxmlformats-officedocument.presentationml.slide+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slideLayouts/slideLayout141.xml" ContentType="application/vnd.openxmlformats-officedocument.presentationml.slideLayout+xml"/>
  <Override PartName="/ppt/slideLayouts/slideLayout228.xml" ContentType="application/vnd.openxmlformats-officedocument.presentationml.slideLayout+xml"/>
  <Override PartName="/ppt/slideLayouts/slideLayout239.xml" ContentType="application/vnd.openxmlformats-officedocument.presentationml.slideLayout+xml"/>
  <Override PartName="/ppt/tags/tag19.xml" ContentType="application/vnd.openxmlformats-officedocument.presentationml.tags+xml"/>
  <Override PartName="/ppt/slideLayouts/slideLayout275.xml" ContentType="application/vnd.openxmlformats-officedocument.presentationml.slideLayout+xml"/>
  <Override PartName="/ppt/slideLayouts/slideLayout286.xml" ContentType="application/vnd.openxmlformats-officedocument.presentationml.slideLayout+xml"/>
  <Override PartName="/ppt/slideMasters/slideMaster14.xml" ContentType="application/vnd.openxmlformats-officedocument.presentationml.slideMaster+xml"/>
  <Override PartName="/ppt/slides/slide20.xml" ContentType="application/vnd.openxmlformats-officedocument.presentationml.slide+xml"/>
  <Override PartName="/ppt/slideLayouts/slideLayout30.xml" ContentType="application/vnd.openxmlformats-officedocument.presentationml.slideLayout+xml"/>
  <Override PartName="/ppt/slideLayouts/slideLayout130.xml" ContentType="application/vnd.openxmlformats-officedocument.presentationml.slideLayout+xml"/>
  <Override PartName="/ppt/slideLayouts/slideLayout217.xml" ContentType="application/vnd.openxmlformats-officedocument.presentationml.slideLayout+xml"/>
  <Override PartName="/ppt/slideLayouts/slideLayout264.xml" ContentType="application/vnd.openxmlformats-officedocument.presentationml.slideLayout+xml"/>
  <Override PartName="/ppt/theme/theme35.xml" ContentType="application/vnd.openxmlformats-officedocument.theme+xml"/>
  <Override PartName="/ppt/slideLayouts/slideLayout206.xml" ContentType="application/vnd.openxmlformats-officedocument.presentationml.slideLayout+xml"/>
  <Override PartName="/ppt/slideLayouts/slideLayout253.xml" ContentType="application/vnd.openxmlformats-officedocument.presentationml.slideLayout+xml"/>
  <Override PartName="/ppt/theme/theme24.xml" ContentType="application/vnd.openxmlformats-officedocument.theme+xml"/>
  <Override PartName="/ppt/slideLayouts/slideLayout387.xml" ContentType="application/vnd.openxmlformats-officedocument.presentationml.slideLayout+xml"/>
  <Override PartName="/ppt/slideLayouts/slideLayout398.xml" ContentType="application/vnd.openxmlformats-officedocument.presentationml.slideLayout+xml"/>
  <Override PartName="/ppt/tags/tag33.xml" ContentType="application/vnd.openxmlformats-officedocument.presentationml.tags+xml"/>
  <Override PartName="/ppt/notesSlides/notesSlide11.xml" ContentType="application/vnd.openxmlformats-officedocument.presentationml.notesSlide+xml"/>
  <Override PartName="/ppt/tags/tag44.xml" ContentType="application/vnd.openxmlformats-officedocument.presentationml.tags+xml"/>
  <Override PartName="/ppt/theme/theme13.xml" ContentType="application/vnd.openxmlformats-officedocument.theme+xml"/>
  <Override PartName="/ppt/slideLayouts/slideLayout179.xml" ContentType="application/vnd.openxmlformats-officedocument.presentationml.slideLayout+xml"/>
  <Override PartName="/ppt/slideLayouts/slideLayout231.xml" ContentType="application/vnd.openxmlformats-officedocument.presentationml.slideLayout+xml"/>
  <Override PartName="/ppt/slideLayouts/slideLayout242.xml" ContentType="application/vnd.openxmlformats-officedocument.presentationml.slideLayout+xml"/>
  <Override PartName="/ppt/tags/tag22.xml" ContentType="application/vnd.openxmlformats-officedocument.presentationml.tags+xml"/>
  <Override PartName="/ppt/slideLayouts/slideLayout329.xml" ContentType="application/vnd.openxmlformats-officedocument.presentationml.slideLayout+xml"/>
  <Override PartName="/ppt/slideLayouts/slideLayout376.xml" ContentType="application/vnd.openxmlformats-officedocument.presentationml.slideLayout+xml"/>
  <Override PartName="/ppt/slides/slide8.xml" ContentType="application/vnd.openxmlformats-officedocument.presentationml.slide+xml"/>
  <Override PartName="/ppt/slideLayouts/slideLayout68.xml" ContentType="application/vnd.openxmlformats-officedocument.presentationml.slideLayout+xml"/>
  <Override PartName="/ppt/slideLayouts/slideLayout79.xml" ContentType="application/vnd.openxmlformats-officedocument.presentationml.slideLayout+xml"/>
  <Override PartName="/ppt/tags/tag11.xml" ContentType="application/vnd.openxmlformats-officedocument.presentationml.tags+xml"/>
  <Override PartName="/ppt/slideLayouts/slideLayout168.xml" ContentType="application/vnd.openxmlformats-officedocument.presentationml.slideLayout+xml"/>
  <Override PartName="/ppt/slideLayouts/slideLayout220.xml" ContentType="application/vnd.openxmlformats-officedocument.presentationml.slideLayout+xml"/>
  <Override PartName="/ppt/slideLayouts/slideLayout318.xml" ContentType="application/vnd.openxmlformats-officedocument.presentationml.slideLayout+xml"/>
  <Override PartName="/ppt/slideLayouts/slideLayout365.xml" ContentType="application/vnd.openxmlformats-officedocument.presentationml.slideLayout+xml"/>
  <Override PartName="/ppt/slideMasters/slideMaster3.xml" ContentType="application/vnd.openxmlformats-officedocument.presentationml.slideMaster+xml"/>
  <Override PartName="/ppt/slideLayouts/slideLayout57.xml" ContentType="application/vnd.openxmlformats-officedocument.presentationml.slideLayout+xml"/>
  <Override PartName="/ppt/slideLayouts/slideLayout157.xml" ContentType="application/vnd.openxmlformats-officedocument.presentationml.slideLayout+xml"/>
  <Override PartName="/ppt/slideLayouts/slideLayout343.xml" ContentType="application/vnd.openxmlformats-officedocument.presentationml.slideLayout+xml"/>
  <Override PartName="/ppt/slideLayouts/slideLayout390.xml" ContentType="application/vnd.openxmlformats-officedocument.presentationml.slideLayout+xml"/>
  <Override PartName="/ppt/notesSlides/notesSlide2.xml" ContentType="application/vnd.openxmlformats-officedocument.presentationml.notesSlide+xml"/>
  <Override PartName="/ppt/slideLayouts/slideLayout135.xml" ContentType="application/vnd.openxmlformats-officedocument.presentationml.slideLayout+xml"/>
  <Override PartName="/ppt/slideLayouts/slideLayout182.xml" ContentType="application/vnd.openxmlformats-officedocument.presentationml.slideLayout+xml"/>
  <Override PartName="/ppt/slideMasters/slideMaster19.xml" ContentType="application/vnd.openxmlformats-officedocument.presentationml.slideMaster+xml"/>
  <Override PartName="/ppt/slideLayouts/slideLayout35.xml" ContentType="application/vnd.openxmlformats-officedocument.presentationml.slideLayout+xml"/>
  <Override PartName="/ppt/slideLayouts/slideLayout82.xml" ContentType="application/vnd.openxmlformats-officedocument.presentationml.slideLayout+xml"/>
  <Override PartName="/ppt/slideLayouts/slideLayout258.xml" ContentType="application/vnd.openxmlformats-officedocument.presentationml.slideLayout+xml"/>
  <Override PartName="/ppt/slideLayouts/slideLayout321.xml" ContentType="application/vnd.openxmlformats-officedocument.presentationml.slideLayout+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60.xml" ContentType="application/vnd.openxmlformats-officedocument.presentationml.slideLayout+xml"/>
  <Override PartName="/ppt/slideLayouts/slideLayout113.xml" ContentType="application/vnd.openxmlformats-officedocument.presentationml.slideLayout+xml"/>
  <Override PartName="/ppt/slideLayouts/slideLayout160.xml" ContentType="application/vnd.openxmlformats-officedocument.presentationml.slideLayout+xml"/>
  <Override PartName="/ppt/theme/theme18.xml" ContentType="application/vnd.openxmlformats-officedocument.theme+xml"/>
  <Override PartName="/ppt/tableStyles.xml" ContentType="application/vnd.openxmlformats-officedocument.presentationml.tableStyles+xml"/>
  <Override PartName="/ppt/slideLayouts/slideLayout236.xml" ContentType="application/vnd.openxmlformats-officedocument.presentationml.slideLayout+xml"/>
  <Override PartName="/ppt/slideLayouts/slideLayout283.xml" ContentType="application/vnd.openxmlformats-officedocument.presentationml.slideLayout+xml"/>
  <Override PartName="/ppt/tags/tag27.xml" ContentType="application/vnd.openxmlformats-officedocument.presentationml.tags+xml"/>
  <Override PartName="/ppt/slideMasters/slideMaster22.xml" ContentType="application/vnd.openxmlformats-officedocument.presentationml.slideMaster+xml"/>
  <Override PartName="/ppt/slideLayouts/slideLayout359.xml" ContentType="application/vnd.openxmlformats-officedocument.presentationml.slideLayout+xml"/>
  <Override PartName="/ppt/slideLayouts/slideLayout198.xml" ContentType="application/vnd.openxmlformats-officedocument.presentationml.slideLayout+xml"/>
  <Override PartName="/ppt/slideLayouts/slideLayout214.xml" ContentType="application/vnd.openxmlformats-officedocument.presentationml.slideLayout+xml"/>
  <Override PartName="/ppt/theme/theme21.xml" ContentType="application/vnd.openxmlformats-officedocument.theme+xml"/>
  <Override PartName="/ppt/slideLayouts/slideLayout261.xml" ContentType="application/vnd.openxmlformats-officedocument.presentationml.slideLayout+xml"/>
  <Override PartName="/ppt/diagrams/layout1.xml" ContentType="application/vnd.openxmlformats-officedocument.drawingml.diagramLayout+xml"/>
  <Override PartName="/ppt/slideLayouts/slideLayout98.xml" ContentType="application/vnd.openxmlformats-officedocument.presentationml.slideLayout+xml"/>
  <Override PartName="/ppt/slideLayouts/slideLayout337.xml" ContentType="application/vnd.openxmlformats-officedocument.presentationml.slideLayout+xml"/>
  <Override PartName="/ppt/slideLayouts/slideLayout384.xml" ContentType="application/vnd.openxmlformats-officedocument.presentationml.slideLayout+xml"/>
  <Override PartName="/ppt/tags/tag30.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slideLayouts/slideLayout76.xml" ContentType="application/vnd.openxmlformats-officedocument.presentationml.slideLayout+xml"/>
  <Override PartName="/ppt/slideLayouts/slideLayout129.xml" ContentType="application/vnd.openxmlformats-officedocument.presentationml.slideLayout+xml"/>
  <Override PartName="/ppt/slideLayouts/slideLayout176.xml" ContentType="application/vnd.openxmlformats-officedocument.presentationml.slideLayout+xml"/>
  <Override PartName="/ppt/slideLayouts/slideLayout315.xml" ContentType="application/vnd.openxmlformats-officedocument.presentationml.slideLayout+xml"/>
  <Override PartName="/ppt/slideLayouts/slideLayout362.xml" ContentType="application/vnd.openxmlformats-officedocument.presentationml.slideLayout+xml"/>
  <Override PartName="/ppt/slideLayouts/slideLayout107.xml" ContentType="application/vnd.openxmlformats-officedocument.presentationml.slideLayout+xml"/>
  <Override PartName="/ppt/slideLayouts/slideLayout154.xml" ContentType="application/vnd.openxmlformats-officedocument.presentationml.slideLayout+xml"/>
  <Override PartName="/ppt/slideLayouts/slideLayout299.xml" ContentType="application/vnd.openxmlformats-officedocument.presentationml.slideLayout+xml"/>
  <Override PartName="/ppt/slideLayouts/slideLayout54.xml" ContentType="application/vnd.openxmlformats-officedocument.presentationml.slideLayout+xml"/>
  <Override PartName="/ppt/slideLayouts/slideLayout277.xml" ContentType="application/vnd.openxmlformats-officedocument.presentationml.slideLayout+xml"/>
  <Override PartName="/ppt/slideLayouts/slideLayout340.xml" ContentType="application/vnd.openxmlformats-officedocument.presentationml.slideLayout+xml"/>
  <Override PartName="/ppt/presentation.xml" ContentType="application/vnd.openxmlformats-officedocument.presentationml.presentation.main+xml"/>
  <Override PartName="/ppt/slideMasters/slideMaster16.xml" ContentType="application/vnd.openxmlformats-officedocument.presentationml.slideMaster+xml"/>
  <Override PartName="/ppt/slideLayouts/slideLayout32.xml" ContentType="application/vnd.openxmlformats-officedocument.presentationml.slideLayout+xml"/>
  <Override PartName="/ppt/slideLayouts/slideLayout132.xml" ContentType="application/vnd.openxmlformats-officedocument.presentationml.slideLayout+xml"/>
  <Override PartName="/docProps/app.xml" ContentType="application/vnd.openxmlformats-officedocument.extended-properties+xml"/>
  <Override PartName="/ppt/slides/slide11.xml" ContentType="application/vnd.openxmlformats-officedocument.presentationml.slide+xml"/>
  <Override PartName="/ppt/slideLayouts/slideLayout110.xml" ContentType="application/vnd.openxmlformats-officedocument.presentationml.slideLayout+xml"/>
  <Override PartName="/ppt/slideLayouts/slideLayout208.xml" ContentType="application/vnd.openxmlformats-officedocument.presentationml.slideLayout+xml"/>
  <Override PartName="/ppt/slideLayouts/slideLayout255.xml" ContentType="application/vnd.openxmlformats-officedocument.presentationml.slideLayout+xml"/>
  <Override PartName="/ppt/slideLayouts/slideLayout10.xml" ContentType="application/vnd.openxmlformats-officedocument.presentationml.slideLayout+xml"/>
  <Override PartName="/ppt/theme/theme15.xml" ContentType="application/vnd.openxmlformats-officedocument.theme+xml"/>
  <Override PartName="/ppt/slideLayouts/slideLayout233.xml" ContentType="application/vnd.openxmlformats-officedocument.presentationml.slideLayout+xml"/>
  <Override PartName="/ppt/slideLayouts/slideLayout280.xml" ContentType="application/vnd.openxmlformats-officedocument.presentationml.slideLayout+xml"/>
  <Override PartName="/ppt/tags/tag24.xml" ContentType="application/vnd.openxmlformats-officedocument.presentationml.tags+xml"/>
  <Override PartName="/ppt/slideLayouts/slideLayout378.xml" ContentType="application/vnd.openxmlformats-officedocument.presentationml.slideLayout+xml"/>
  <Override PartName="/ppt/theme/theme7.xml" ContentType="application/vnd.openxmlformats-officedocument.theme+xml"/>
  <Override PartName="/ppt/slideLayouts/slideLayout211.xml" ContentType="application/vnd.openxmlformats-officedocument.presentationml.slideLayout+xml"/>
  <Override PartName="/ppt/slideLayouts/slideLayout309.xml" ContentType="application/vnd.openxmlformats-officedocument.presentationml.slideLayout+xml"/>
  <Override PartName="/ppt/slideLayouts/slideLayout356.xml" ContentType="application/vnd.openxmlformats-officedocument.presentationml.slideLayout+xml"/>
  <Override PartName="/ppt/slideLayouts/slideLayout48.xml" ContentType="application/vnd.openxmlformats-officedocument.presentationml.slideLayout+xml"/>
  <Override PartName="/ppt/slideLayouts/slideLayout95.xml" ContentType="application/vnd.openxmlformats-officedocument.presentationml.slideLayout+xml"/>
  <Override PartName="/ppt/slideLayouts/slideLayout148.xml" ContentType="application/vnd.openxmlformats-officedocument.presentationml.slideLayout+xml"/>
  <Override PartName="/ppt/slideLayouts/slideLayout195.xml" ContentType="application/vnd.openxmlformats-officedocument.presentationml.slideLayout+xml"/>
  <Override PartName="/ppt/slideLayouts/slideLayout334.xml" ContentType="application/vnd.openxmlformats-officedocument.presentationml.slideLayout+xml"/>
  <Override PartName="/ppt/slideLayouts/slideLayout381.xml" ContentType="application/vnd.openxmlformats-officedocument.presentationml.slideLayout+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126.xml" ContentType="application/vnd.openxmlformats-officedocument.presentationml.slideLayout+xml"/>
  <Override PartName="/ppt/slideLayouts/slideLayout173.xml" ContentType="application/vnd.openxmlformats-officedocument.presentationml.slideLayout+xml"/>
  <Override PartName="/ppt/slides/slide2.xml" ContentType="application/vnd.openxmlformats-officedocument.presentationml.slide+xml"/>
  <Override PartName="/ppt/slideLayouts/slideLayout26.xml" ContentType="application/vnd.openxmlformats-officedocument.presentationml.slideLayout+xml"/>
  <Override PartName="/ppt/slideLayouts/slideLayout73.xml" ContentType="application/vnd.openxmlformats-officedocument.presentationml.slideLayout+xml"/>
  <Override PartName="/ppt/slideLayouts/slideLayout249.xml" ContentType="application/vnd.openxmlformats-officedocument.presentationml.slideLayout+xml"/>
  <Override PartName="/ppt/slideLayouts/slideLayout296.xml" ContentType="application/vnd.openxmlformats-officedocument.presentationml.slideLayout+xml"/>
  <Override PartName="/ppt/slideLayouts/slideLayout312.xml" ContentType="application/vnd.openxmlformats-officedocument.presentationml.slideLayout+xml"/>
  <Default Extension="wmf" ContentType="image/x-wmf"/>
  <Override PartName="/ppt/notesSlides/notesSlide18.xml" ContentType="application/vnd.openxmlformats-officedocument.presentationml.notesSlide+xml"/>
  <Override PartName="/ppt/slideLayouts/slideLayout51.xml" ContentType="application/vnd.openxmlformats-officedocument.presentationml.slideLayout+xml"/>
  <Override PartName="/ppt/slideLayouts/slideLayout104.xml" ContentType="application/vnd.openxmlformats-officedocument.presentationml.slideLayout+xml"/>
  <Override PartName="/ppt/slideLayouts/slideLayout151.xml" ContentType="application/vnd.openxmlformats-officedocument.presentationml.slideLayout+xml"/>
  <Override PartName="/ppt/slides/slide30.xml" ContentType="application/vnd.openxmlformats-officedocument.presentationml.slide+xml"/>
  <Override PartName="/ppt/slideLayouts/slideLayout227.xml" ContentType="application/vnd.openxmlformats-officedocument.presentationml.slideLayout+xml"/>
  <Override PartName="/ppt/tags/tag18.xml" ContentType="application/vnd.openxmlformats-officedocument.presentationml.tags+xml"/>
  <Override PartName="/ppt/slideLayouts/slideLayout274.xml" ContentType="application/vnd.openxmlformats-officedocument.presentationml.slideLayout+xml"/>
  <Override PartName="/ppt/slideMasters/slideMaster13.xml" ContentType="application/vnd.openxmlformats-officedocument.presentationml.slideMaster+xml"/>
  <Override PartName="/ppt/slideLayouts/slideLayout205.xml" ContentType="application/vnd.openxmlformats-officedocument.presentationml.slideLayout+xml"/>
  <Override PartName="/ppt/slideLayouts/slideLayout252.xml" ContentType="application/vnd.openxmlformats-officedocument.presentationml.slideLayout+xml"/>
  <Override PartName="/ppt/slideLayouts/slideLayout397.xml" ContentType="application/vnd.openxmlformats-officedocument.presentationml.slideLayout+xml"/>
  <Override PartName="/ppt/theme/theme34.xml" ContentType="application/vnd.openxmlformats-officedocument.theme+xml"/>
  <Override PartName="/ppt/notesSlides/notesSlide9.xml" ContentType="application/vnd.openxmlformats-officedocument.presentationml.notesSlide+xml"/>
  <Override PartName="/ppt/tags/tag43.xml" ContentType="application/vnd.openxmlformats-officedocument.presentationml.tags+xml"/>
  <Override PartName="/ppt/notesSlides/notesSlide21.xml" ContentType="application/vnd.openxmlformats-officedocument.presentationml.notesSlide+xml"/>
  <Override PartName="/ppt/slideLayouts/slideLayout89.xml" ContentType="application/vnd.openxmlformats-officedocument.presentationml.slideLayout+xml"/>
  <Override PartName="/ppt/theme/theme12.xml" ContentType="application/vnd.openxmlformats-officedocument.theme+xml"/>
  <Override PartName="/ppt/slideLayouts/slideLayout189.xml" ContentType="application/vnd.openxmlformats-officedocument.presentationml.slideLayout+xml"/>
  <Override PartName="/ppt/slideLayouts/slideLayout230.xml" ContentType="application/vnd.openxmlformats-officedocument.presentationml.slideLayout+xml"/>
  <Override PartName="/ppt/tags/tag21.xml" ContentType="application/vnd.openxmlformats-officedocument.presentationml.tags+xml"/>
  <Override PartName="/ppt/slideLayouts/slideLayout328.xml" ContentType="application/vnd.openxmlformats-officedocument.presentationml.slideLayout+xml"/>
  <Override PartName="/ppt/slideLayouts/slideLayout375.xml" ContentType="application/vnd.openxmlformats-officedocument.presentationml.slideLayout+xml"/>
  <Override PartName="/ppt/theme/theme4.xml" ContentType="application/vnd.openxmlformats-officedocument.theme+xml"/>
  <Override PartName="/ppt/slideLayouts/slideLayout67.xml" ContentType="application/vnd.openxmlformats-officedocument.presentationml.slideLayout+xml"/>
  <Override PartName="/ppt/tags/tag7.xml" ContentType="application/vnd.openxmlformats-officedocument.presentationml.tags+xml"/>
  <Override PartName="/ppt/slideLayouts/slideLayout167.xml" ContentType="application/vnd.openxmlformats-officedocument.presentationml.slideLayout+xml"/>
  <Override PartName="/ppt/slideLayouts/slideLayout306.xml" ContentType="application/vnd.openxmlformats-officedocument.presentationml.slideLayout+xml"/>
  <Override PartName="/ppt/slideLayouts/slideLayout353.xml" ContentType="application/vnd.openxmlformats-officedocument.presentationml.slideLayout+xml"/>
  <Override PartName="/ppt/slideMasters/slideMaster29.xml" ContentType="application/vnd.openxmlformats-officedocument.presentationml.slideMaster+xml"/>
  <Override PartName="/ppt/slideLayouts/slideLayout45.xml" ContentType="application/vnd.openxmlformats-officedocument.presentationml.slideLayout+xml"/>
  <Override PartName="/ppt/slideLayouts/slideLayout145.xml" ContentType="application/vnd.openxmlformats-officedocument.presentationml.slideLayout+xml"/>
  <Override PartName="/ppt/slideLayouts/slideLayout192.xml" ContentType="application/vnd.openxmlformats-officedocument.presentationml.slideLayout+xml"/>
  <Override PartName="/ppt/slides/slide24.xml" ContentType="application/vnd.openxmlformats-officedocument.presentationml.slide+xml"/>
  <Override PartName="/ppt/slideLayouts/slideLayout92.xml" ContentType="application/vnd.openxmlformats-officedocument.presentationml.slideLayout+xml"/>
  <Override PartName="/ppt/slideLayouts/slideLayout268.xml" ContentType="application/vnd.openxmlformats-officedocument.presentationml.slideLayout+xml"/>
  <Override PartName="/ppt/slideLayouts/slideLayout331.xml" ContentType="application/vnd.openxmlformats-officedocument.presentationml.slideLayout+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70.xml" ContentType="application/vnd.openxmlformats-officedocument.presentationml.slideLayout+xml"/>
  <Override PartName="/ppt/slideLayouts/slideLayout123.xml" ContentType="application/vnd.openxmlformats-officedocument.presentationml.slideLayout+xml"/>
  <Override PartName="/ppt/slideLayouts/slideLayout170.xml" ContentType="application/vnd.openxmlformats-officedocument.presentationml.slideLayout+xml"/>
  <Override PartName="/ppt/theme/theme28.xml" ContentType="application/vnd.openxmlformats-officedocument.theme+xml"/>
  <Override PartName="/ppt/tags/tag37.xml" ContentType="application/vnd.openxmlformats-officedocument.presentationml.tags+xml"/>
  <Override PartName="/ppt/notesSlides/notesSlide15.xml" ContentType="application/vnd.openxmlformats-officedocument.presentationml.notesSlide+xml"/>
  <Override PartName="/ppt/slideMasters/slideMaster32.xml" ContentType="application/vnd.openxmlformats-officedocument.presentationml.slideMaster+xml"/>
  <Override PartName="/ppt/slideLayouts/slideLayout101.xml" ContentType="application/vnd.openxmlformats-officedocument.presentationml.slideLayout+xml"/>
  <Override PartName="/ppt/slideLayouts/slideLayout246.xml" ContentType="application/vnd.openxmlformats-officedocument.presentationml.slideLayout+xml"/>
  <Override PartName="/ppt/slideLayouts/slideLayout293.xml" ContentType="application/vnd.openxmlformats-officedocument.presentationml.slideLayout+xml"/>
  <Override PartName="/ppt/tags/tag15.xml" ContentType="application/vnd.openxmlformats-officedocument.presentationml.tags+xml"/>
  <Override PartName="/ppt/slideLayouts/slideLayout224.xml" ContentType="application/vnd.openxmlformats-officedocument.presentationml.slideLayout+xml"/>
  <Override PartName="/ppt/slideLayouts/slideLayout271.xml" ContentType="application/vnd.openxmlformats-officedocument.presentationml.slideLayout+xml"/>
  <Override PartName="/ppt/slideLayouts/slideLayout369.xml" ContentType="application/vnd.openxmlformats-officedocument.presentationml.slideLayout+xml"/>
  <Override PartName="/ppt/slideMasters/slideMaster7.xml" ContentType="application/vnd.openxmlformats-officedocument.presentationml.slideMaster+xml"/>
  <Override PartName="/ppt/slideMasters/slideMaster10.xml" ContentType="application/vnd.openxmlformats-officedocument.presentationml.slideMaster+xml"/>
  <Override PartName="/ppt/slideLayouts/slideLayout347.xml" ContentType="application/vnd.openxmlformats-officedocument.presentationml.slideLayout+xml"/>
  <Override PartName="/ppt/theme/theme31.xml" ContentType="application/vnd.openxmlformats-officedocument.theme+xml"/>
  <Override PartName="/ppt/slideLayouts/slideLayout394.xml" ContentType="application/vnd.openxmlformats-officedocument.presentationml.slideLayout+xml"/>
  <Override PartName="/ppt/notesSlides/notesSlide6.xml" ContentType="application/vnd.openxmlformats-officedocument.presentationml.notesSlide+xml"/>
  <Override PartName="/ppt/tags/tag40.xml" ContentType="application/vnd.openxmlformats-officedocument.presentationml.tags+xml"/>
  <Override PartName="/ppt/slideLayouts/slideLayout139.xml" ContentType="application/vnd.openxmlformats-officedocument.presentationml.slideLayout+xml"/>
  <Override PartName="/ppt/slideLayouts/slideLayout186.xml" ContentType="application/vnd.openxmlformats-officedocument.presentationml.slideLayout+xml"/>
  <Override PartName="/ppt/slideLayouts/slideLayout202.xml" ContentType="application/vnd.openxmlformats-officedocument.presentationml.slideLayout+xml"/>
  <Override PartName="/ppt/diagrams/data1.xml" ContentType="application/vnd.openxmlformats-officedocument.drawingml.diagramData+xml"/>
  <Override PartName="/ppt/charts/chart2.xml" ContentType="application/vnd.openxmlformats-officedocument.drawingml.chart+xml"/>
  <Override PartName="/ppt/slideLayouts/slideLayout39.xml" ContentType="application/vnd.openxmlformats-officedocument.presentationml.slideLayout+xml"/>
  <Override PartName="/ppt/slideLayouts/slideLayout86.xml" ContentType="application/vnd.openxmlformats-officedocument.presentationml.slideLayout+xml"/>
  <Override PartName="/ppt/slideLayouts/slideLayout325.xml" ContentType="application/vnd.openxmlformats-officedocument.presentationml.slideLayout+xml"/>
  <Override PartName="/ppt/slideLayouts/slideLayout372.xml" ContentType="application/vnd.openxmlformats-officedocument.presentationml.slideLayout+xml"/>
  <Override PartName="/ppt/slides/slide18.xml" ContentType="application/vnd.openxmlformats-officedocument.presentationml.slide+xml"/>
  <Override PartName="/ppt/slideLayouts/slideLayout17.xml" ContentType="application/vnd.openxmlformats-officedocument.presentationml.slideLayout+xml"/>
  <Override PartName="/ppt/tags/tag4.xml" ContentType="application/vnd.openxmlformats-officedocument.presentationml.tags+xml"/>
  <Override PartName="/ppt/slideLayouts/slideLayout64.xml" ContentType="application/vnd.openxmlformats-officedocument.presentationml.slideLayout+xml"/>
  <Override PartName="/ppt/slideLayouts/slideLayout117.xml" ContentType="application/vnd.openxmlformats-officedocument.presentationml.slideLayout+xml"/>
  <Override PartName="/ppt/slideLayouts/slideLayout164.xml" ContentType="application/vnd.openxmlformats-officedocument.presentationml.slideLayout+xml"/>
  <Override PartName="/ppt/slideLayouts/slideLayout303.xml" ContentType="application/vnd.openxmlformats-officedocument.presentationml.slideLayout+xml"/>
  <Override PartName="/ppt/slideLayouts/slideLayout350.xml" ContentType="application/vnd.openxmlformats-officedocument.presentationml.slideLayout+xml"/>
  <Override PartName="/ppt/diagrams/quickStyle2.xml" ContentType="application/vnd.openxmlformats-officedocument.drawingml.diagramStyle+xml"/>
  <Override PartName="/ppt/theme/theme1.xml" ContentType="application/vnd.openxmlformats-officedocument.theme+xml"/>
  <Override PartName="/ppt/slideLayouts/slideLayout142.xml" ContentType="application/vnd.openxmlformats-officedocument.presentationml.slideLayout+xml"/>
  <Override PartName="/ppt/slideLayouts/slideLayout287.xml" ContentType="application/vnd.openxmlformats-officedocument.presentationml.slideLayout+xml"/>
  <Override PartName="/ppt/slideMasters/slideMaster26.xml" ContentType="application/vnd.openxmlformats-officedocument.presentationml.slideMaster+xml"/>
  <Override PartName="/ppt/slideLayouts/slideLayout42.xml" ContentType="application/vnd.openxmlformats-officedocument.presentationml.slideLayout+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48" r:id="rId1"/>
    <p:sldMasterId id="2147483660" r:id="rId2"/>
    <p:sldMasterId id="2147483676" r:id="rId3"/>
    <p:sldMasterId id="2147483688" r:id="rId4"/>
    <p:sldMasterId id="2147483700" r:id="rId5"/>
    <p:sldMasterId id="2147483713" r:id="rId6"/>
    <p:sldMasterId id="2147483727" r:id="rId7"/>
    <p:sldMasterId id="2147483739" r:id="rId8"/>
    <p:sldMasterId id="2147483751" r:id="rId9"/>
    <p:sldMasterId id="2147483764" r:id="rId10"/>
    <p:sldMasterId id="2147483780" r:id="rId11"/>
    <p:sldMasterId id="2147483792" r:id="rId12"/>
    <p:sldMasterId id="2147483804" r:id="rId13"/>
    <p:sldMasterId id="2147483817" r:id="rId14"/>
    <p:sldMasterId id="2147483831" r:id="rId15"/>
    <p:sldMasterId id="2147483845" r:id="rId16"/>
    <p:sldMasterId id="2147483859" r:id="rId17"/>
    <p:sldMasterId id="2147483873" r:id="rId18"/>
    <p:sldMasterId id="2147483887" r:id="rId19"/>
    <p:sldMasterId id="2147483900" r:id="rId20"/>
    <p:sldMasterId id="2147483914" r:id="rId21"/>
    <p:sldMasterId id="2147483928" r:id="rId22"/>
    <p:sldMasterId id="2147483940" r:id="rId23"/>
    <p:sldMasterId id="2147483952" r:id="rId24"/>
    <p:sldMasterId id="2147483964" r:id="rId25"/>
    <p:sldMasterId id="2147483978" r:id="rId26"/>
    <p:sldMasterId id="2147483992" r:id="rId27"/>
    <p:sldMasterId id="2147484004" r:id="rId28"/>
    <p:sldMasterId id="2147484016" r:id="rId29"/>
    <p:sldMasterId id="2147484028" r:id="rId30"/>
    <p:sldMasterId id="2147484030" r:id="rId31"/>
    <p:sldMasterId id="2147484032" r:id="rId32"/>
    <p:sldMasterId id="2147484418" r:id="rId33"/>
  </p:sldMasterIdLst>
  <p:notesMasterIdLst>
    <p:notesMasterId r:id="rId66"/>
  </p:notesMasterIdLst>
  <p:handoutMasterIdLst>
    <p:handoutMasterId r:id="rId67"/>
  </p:handoutMasterIdLst>
  <p:sldIdLst>
    <p:sldId id="5091" r:id="rId34"/>
    <p:sldId id="5068" r:id="rId35"/>
    <p:sldId id="5070" r:id="rId36"/>
    <p:sldId id="5071" r:id="rId37"/>
    <p:sldId id="5072" r:id="rId38"/>
    <p:sldId id="5078" r:id="rId39"/>
    <p:sldId id="5082" r:id="rId40"/>
    <p:sldId id="5083" r:id="rId41"/>
    <p:sldId id="5086" r:id="rId42"/>
    <p:sldId id="5087" r:id="rId43"/>
    <p:sldId id="5088" r:id="rId44"/>
    <p:sldId id="5055" r:id="rId45"/>
    <p:sldId id="5056" r:id="rId46"/>
    <p:sldId id="4995" r:id="rId47"/>
    <p:sldId id="5051" r:id="rId48"/>
    <p:sldId id="5045" r:id="rId49"/>
    <p:sldId id="5057" r:id="rId50"/>
    <p:sldId id="5058" r:id="rId51"/>
    <p:sldId id="5059" r:id="rId52"/>
    <p:sldId id="5060" r:id="rId53"/>
    <p:sldId id="5061" r:id="rId54"/>
    <p:sldId id="5062" r:id="rId55"/>
    <p:sldId id="5063" r:id="rId56"/>
    <p:sldId id="4997" r:id="rId57"/>
    <p:sldId id="4960" r:id="rId58"/>
    <p:sldId id="5064" r:id="rId59"/>
    <p:sldId id="5065" r:id="rId60"/>
    <p:sldId id="5052" r:id="rId61"/>
    <p:sldId id="5053" r:id="rId62"/>
    <p:sldId id="5067" r:id="rId63"/>
    <p:sldId id="5066" r:id="rId64"/>
    <p:sldId id="5092" r:id="rId65"/>
  </p:sldIdLst>
  <p:sldSz cx="9906000" cy="6858000" type="A4"/>
  <p:notesSz cx="6797675" cy="9926638"/>
  <p:custDataLst>
    <p:tags r:id="rId68"/>
  </p:custDataLst>
  <p:defaultTextStyle>
    <a:defPPr>
      <a:defRPr lang="en-US"/>
    </a:defPPr>
    <a:lvl1pPr algn="l" rtl="0" fontAlgn="base">
      <a:spcBef>
        <a:spcPct val="0"/>
      </a:spcBef>
      <a:spcAft>
        <a:spcPct val="0"/>
      </a:spcAft>
      <a:defRPr b="1" kern="1200">
        <a:solidFill>
          <a:schemeClr val="tx1"/>
        </a:solidFill>
        <a:latin typeface="Arial" charset="0"/>
        <a:ea typeface="+mn-ea"/>
        <a:cs typeface="Arial" charset="0"/>
      </a:defRPr>
    </a:lvl1pPr>
    <a:lvl2pPr marL="457200" algn="l" rtl="0" fontAlgn="base">
      <a:spcBef>
        <a:spcPct val="0"/>
      </a:spcBef>
      <a:spcAft>
        <a:spcPct val="0"/>
      </a:spcAft>
      <a:defRPr b="1" kern="1200">
        <a:solidFill>
          <a:schemeClr val="tx1"/>
        </a:solidFill>
        <a:latin typeface="Arial" charset="0"/>
        <a:ea typeface="+mn-ea"/>
        <a:cs typeface="Arial" charset="0"/>
      </a:defRPr>
    </a:lvl2pPr>
    <a:lvl3pPr marL="914400" algn="l" rtl="0" fontAlgn="base">
      <a:spcBef>
        <a:spcPct val="0"/>
      </a:spcBef>
      <a:spcAft>
        <a:spcPct val="0"/>
      </a:spcAft>
      <a:defRPr b="1" kern="1200">
        <a:solidFill>
          <a:schemeClr val="tx1"/>
        </a:solidFill>
        <a:latin typeface="Arial" charset="0"/>
        <a:ea typeface="+mn-ea"/>
        <a:cs typeface="Arial" charset="0"/>
      </a:defRPr>
    </a:lvl3pPr>
    <a:lvl4pPr marL="1371600" algn="l" rtl="0" fontAlgn="base">
      <a:spcBef>
        <a:spcPct val="0"/>
      </a:spcBef>
      <a:spcAft>
        <a:spcPct val="0"/>
      </a:spcAft>
      <a:defRPr b="1" kern="1200">
        <a:solidFill>
          <a:schemeClr val="tx1"/>
        </a:solidFill>
        <a:latin typeface="Arial" charset="0"/>
        <a:ea typeface="+mn-ea"/>
        <a:cs typeface="Arial" charset="0"/>
      </a:defRPr>
    </a:lvl4pPr>
    <a:lvl5pPr marL="1828800" algn="l" rtl="0" fontAlgn="base">
      <a:spcBef>
        <a:spcPct val="0"/>
      </a:spcBef>
      <a:spcAft>
        <a:spcPct val="0"/>
      </a:spcAft>
      <a:defRPr b="1" kern="1200">
        <a:solidFill>
          <a:schemeClr val="tx1"/>
        </a:solidFill>
        <a:latin typeface="Arial" charset="0"/>
        <a:ea typeface="+mn-ea"/>
        <a:cs typeface="Arial" charset="0"/>
      </a:defRPr>
    </a:lvl5pPr>
    <a:lvl6pPr marL="2286000" algn="l" defTabSz="914400" rtl="0" eaLnBrk="1" latinLnBrk="0" hangingPunct="1">
      <a:defRPr b="1" kern="1200">
        <a:solidFill>
          <a:schemeClr val="tx1"/>
        </a:solidFill>
        <a:latin typeface="Arial" charset="0"/>
        <a:ea typeface="+mn-ea"/>
        <a:cs typeface="Arial" charset="0"/>
      </a:defRPr>
    </a:lvl6pPr>
    <a:lvl7pPr marL="2743200" algn="l" defTabSz="914400" rtl="0" eaLnBrk="1" latinLnBrk="0" hangingPunct="1">
      <a:defRPr b="1" kern="1200">
        <a:solidFill>
          <a:schemeClr val="tx1"/>
        </a:solidFill>
        <a:latin typeface="Arial" charset="0"/>
        <a:ea typeface="+mn-ea"/>
        <a:cs typeface="Arial" charset="0"/>
      </a:defRPr>
    </a:lvl7pPr>
    <a:lvl8pPr marL="3200400" algn="l" defTabSz="914400" rtl="0" eaLnBrk="1" latinLnBrk="0" hangingPunct="1">
      <a:defRPr b="1" kern="1200">
        <a:solidFill>
          <a:schemeClr val="tx1"/>
        </a:solidFill>
        <a:latin typeface="Arial" charset="0"/>
        <a:ea typeface="+mn-ea"/>
        <a:cs typeface="Arial" charset="0"/>
      </a:defRPr>
    </a:lvl8pPr>
    <a:lvl9pPr marL="3657600" algn="l" defTabSz="914400" rtl="0" eaLnBrk="1" latinLnBrk="0" hangingPunct="1">
      <a:defRPr b="1" kern="1200">
        <a:solidFill>
          <a:schemeClr val="tx1"/>
        </a:solidFill>
        <a:latin typeface="Arial" charset="0"/>
        <a:ea typeface="+mn-ea"/>
        <a:cs typeface="Arial"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enrico lanzavecchia" initials=""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000000"/>
    <a:srgbClr val="3EF30D"/>
    <a:srgbClr val="FFFFCC"/>
    <a:srgbClr val="CCCCFF"/>
    <a:srgbClr val="FF0000"/>
    <a:srgbClr val="EBEBFF"/>
    <a:srgbClr val="004B90"/>
    <a:srgbClr val="CC9900"/>
    <a:srgbClr val="CCCC00"/>
    <a:srgbClr val="003366"/>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818" autoAdjust="0"/>
    <p:restoredTop sz="98401" autoAdjust="0"/>
  </p:normalViewPr>
  <p:slideViewPr>
    <p:cSldViewPr snapToObjects="1">
      <p:cViewPr>
        <p:scale>
          <a:sx n="116" d="100"/>
          <a:sy n="116" d="100"/>
        </p:scale>
        <p:origin x="516" y="216"/>
      </p:cViewPr>
      <p:guideLst>
        <p:guide orient="horz" pos="2886"/>
        <p:guide orient="horz" pos="1344"/>
        <p:guide orient="horz" pos="4201"/>
        <p:guide pos="3120"/>
        <p:guide pos="2440"/>
        <p:guide pos="4422"/>
        <p:guide pos="671"/>
      </p:guideLst>
    </p:cSldViewPr>
  </p:slideViewPr>
  <p:outlineViewPr>
    <p:cViewPr>
      <p:scale>
        <a:sx n="66" d="100"/>
        <a:sy n="66" d="100"/>
      </p:scale>
      <p:origin x="0" y="0"/>
    </p:cViewPr>
  </p:outlineViewPr>
  <p:notesTextViewPr>
    <p:cViewPr>
      <p:scale>
        <a:sx n="100" d="100"/>
        <a:sy n="100" d="100"/>
      </p:scale>
      <p:origin x="0" y="0"/>
    </p:cViewPr>
  </p:notesTextViewPr>
  <p:sorterViewPr>
    <p:cViewPr>
      <p:scale>
        <a:sx n="79" d="100"/>
        <a:sy n="79" d="100"/>
      </p:scale>
      <p:origin x="0" y="0"/>
    </p:cViewPr>
  </p:sorterViewPr>
  <p:notesViewPr>
    <p:cSldViewPr snapToObjects="1">
      <p:cViewPr varScale="1">
        <p:scale>
          <a:sx n="52" d="100"/>
          <a:sy n="52" d="100"/>
        </p:scale>
        <p:origin x="-2628" y="-108"/>
      </p:cViewPr>
      <p:guideLst>
        <p:guide orient="horz" pos="3124"/>
        <p:guide pos="2142"/>
      </p:guideLst>
    </p:cSldViewPr>
  </p:notes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 Target="slides/slide6.xml"/><Relationship Id="rId21" Type="http://schemas.openxmlformats.org/officeDocument/2006/relationships/slideMaster" Target="slideMasters/slideMaster21.xml"/><Relationship Id="rId34" Type="http://schemas.openxmlformats.org/officeDocument/2006/relationships/slide" Target="slides/slide1.xml"/><Relationship Id="rId42" Type="http://schemas.openxmlformats.org/officeDocument/2006/relationships/slide" Target="slides/slide9.xml"/><Relationship Id="rId47" Type="http://schemas.openxmlformats.org/officeDocument/2006/relationships/slide" Target="slides/slide14.xml"/><Relationship Id="rId50" Type="http://schemas.openxmlformats.org/officeDocument/2006/relationships/slide" Target="slides/slide17.xml"/><Relationship Id="rId55" Type="http://schemas.openxmlformats.org/officeDocument/2006/relationships/slide" Target="slides/slide22.xml"/><Relationship Id="rId63" Type="http://schemas.openxmlformats.org/officeDocument/2006/relationships/slide" Target="slides/slide30.xml"/><Relationship Id="rId68" Type="http://schemas.openxmlformats.org/officeDocument/2006/relationships/tags" Target="tags/tag1.xml"/><Relationship Id="rId7" Type="http://schemas.openxmlformats.org/officeDocument/2006/relationships/slideMaster" Target="slideMasters/slideMaster7.xml"/><Relationship Id="rId71"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 Target="slides/slide4.xml"/><Relationship Id="rId40" Type="http://schemas.openxmlformats.org/officeDocument/2006/relationships/slide" Target="slides/slide7.xml"/><Relationship Id="rId45" Type="http://schemas.openxmlformats.org/officeDocument/2006/relationships/slide" Target="slides/slide12.xml"/><Relationship Id="rId53" Type="http://schemas.openxmlformats.org/officeDocument/2006/relationships/slide" Target="slides/slide20.xml"/><Relationship Id="rId58" Type="http://schemas.openxmlformats.org/officeDocument/2006/relationships/slide" Target="slides/slide25.xml"/><Relationship Id="rId66"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3.xml"/><Relationship Id="rId49" Type="http://schemas.openxmlformats.org/officeDocument/2006/relationships/slide" Target="slides/slide16.xml"/><Relationship Id="rId57" Type="http://schemas.openxmlformats.org/officeDocument/2006/relationships/slide" Target="slides/slide24.xml"/><Relationship Id="rId61" Type="http://schemas.openxmlformats.org/officeDocument/2006/relationships/slide" Target="slides/slide28.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 Target="slides/slide11.xml"/><Relationship Id="rId52" Type="http://schemas.openxmlformats.org/officeDocument/2006/relationships/slide" Target="slides/slide19.xml"/><Relationship Id="rId60" Type="http://schemas.openxmlformats.org/officeDocument/2006/relationships/slide" Target="slides/slide27.xml"/><Relationship Id="rId65" Type="http://schemas.openxmlformats.org/officeDocument/2006/relationships/slide" Target="slides/slide32.xml"/><Relationship Id="rId73"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 Target="slides/slide2.xml"/><Relationship Id="rId43" Type="http://schemas.openxmlformats.org/officeDocument/2006/relationships/slide" Target="slides/slide10.xml"/><Relationship Id="rId48" Type="http://schemas.openxmlformats.org/officeDocument/2006/relationships/slide" Target="slides/slide15.xml"/><Relationship Id="rId56" Type="http://schemas.openxmlformats.org/officeDocument/2006/relationships/slide" Target="slides/slide23.xml"/><Relationship Id="rId64" Type="http://schemas.openxmlformats.org/officeDocument/2006/relationships/slide" Target="slides/slide31.xml"/><Relationship Id="rId69" Type="http://schemas.openxmlformats.org/officeDocument/2006/relationships/commentAuthors" Target="commentAuthors.xml"/><Relationship Id="rId8" Type="http://schemas.openxmlformats.org/officeDocument/2006/relationships/slideMaster" Target="slideMasters/slideMaster8.xml"/><Relationship Id="rId51" Type="http://schemas.openxmlformats.org/officeDocument/2006/relationships/slide" Target="slides/slide18.xml"/><Relationship Id="rId72"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 Target="slides/slide5.xml"/><Relationship Id="rId46" Type="http://schemas.openxmlformats.org/officeDocument/2006/relationships/slide" Target="slides/slide13.xml"/><Relationship Id="rId59" Type="http://schemas.openxmlformats.org/officeDocument/2006/relationships/slide" Target="slides/slide26.xml"/><Relationship Id="rId67" Type="http://schemas.openxmlformats.org/officeDocument/2006/relationships/handoutMaster" Target="handoutMasters/handoutMaster1.xml"/><Relationship Id="rId20" Type="http://schemas.openxmlformats.org/officeDocument/2006/relationships/slideMaster" Target="slideMasters/slideMaster20.xml"/><Relationship Id="rId41" Type="http://schemas.openxmlformats.org/officeDocument/2006/relationships/slide" Target="slides/slide8.xml"/><Relationship Id="rId54" Type="http://schemas.openxmlformats.org/officeDocument/2006/relationships/slide" Target="slides/slide21.xml"/><Relationship Id="rId62" Type="http://schemas.openxmlformats.org/officeDocument/2006/relationships/slide" Target="slides/slide29.xml"/><Relationship Id="rId7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charts/_rels/chart1.xml.rels><?xml version="1.0" encoding="UTF-8" standalone="yes"?>
<Relationships xmlns="http://schemas.openxmlformats.org/package/2006/relationships"><Relationship Id="rId1" Type="http://schemas.openxmlformats.org/officeDocument/2006/relationships/oleObject" Target="file:///C:\Users\f8027166\Desktop\2013\Capacidade\CAPACIDADE%20LD_v7.xlsx" TargetMode="External"/></Relationships>
</file>

<file path=ppt/charts/_rels/chart2.xml.rels><?xml version="1.0" encoding="UTF-8" standalone="yes"?>
<Relationships xmlns="http://schemas.openxmlformats.org/package/2006/relationships"><Relationship Id="rId1" Type="http://schemas.openxmlformats.org/officeDocument/2006/relationships/package" Target="../embeddings/Planilha_do_Microsoft_Office_Excel1.xlsx"/></Relationships>
</file>

<file path=ppt/charts/_rels/chart3.xml.rels><?xml version="1.0" encoding="UTF-8" standalone="yes"?>
<Relationships xmlns="http://schemas.openxmlformats.org/package/2006/relationships"><Relationship Id="rId1" Type="http://schemas.openxmlformats.org/officeDocument/2006/relationships/oleObject" Target="file:///C:\Users\f8027166\AppData\Local\Microsoft\Windows\Temporary%20Internet%20Files\Content.Outlook\1MC9Z3ZR\TX_Profile_3Y_Plan.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pt-BR"/>
  <c:chart>
    <c:view3D>
      <c:rAngAx val="1"/>
    </c:view3D>
    <c:plotArea>
      <c:layout/>
      <c:bar3DChart>
        <c:barDir val="col"/>
        <c:grouping val="clustered"/>
        <c:ser>
          <c:idx val="0"/>
          <c:order val="0"/>
          <c:tx>
            <c:strRef>
              <c:f>Sheet3!$B$16</c:f>
              <c:strCache>
                <c:ptCount val="1"/>
                <c:pt idx="0">
                  <c:v>CAPAC. SISTEMA [Tbps]</c:v>
                </c:pt>
              </c:strCache>
            </c:strRef>
          </c:tx>
          <c:dPt>
            <c:idx val="0"/>
            <c:spPr>
              <a:solidFill>
                <a:schemeClr val="tx1"/>
              </a:solidFill>
            </c:spPr>
          </c:dPt>
          <c:dLbls>
            <c:txPr>
              <a:bodyPr/>
              <a:lstStyle/>
              <a:p>
                <a:pPr>
                  <a:defRPr sz="900"/>
                </a:pPr>
                <a:endParaRPr lang="pt-BR"/>
              </a:p>
            </c:txPr>
            <c:showVal val="1"/>
          </c:dLbls>
          <c:cat>
            <c:numRef>
              <c:f>Sheet3!$A$17:$A$20</c:f>
              <c:numCache>
                <c:formatCode>General</c:formatCode>
                <c:ptCount val="4"/>
                <c:pt idx="0">
                  <c:v>2010</c:v>
                </c:pt>
                <c:pt idx="1">
                  <c:v>2011</c:v>
                </c:pt>
                <c:pt idx="2">
                  <c:v>2012</c:v>
                </c:pt>
                <c:pt idx="3">
                  <c:v>2013</c:v>
                </c:pt>
              </c:numCache>
            </c:numRef>
          </c:cat>
          <c:val>
            <c:numRef>
              <c:f>Sheet3!$B$17:$B$20</c:f>
              <c:numCache>
                <c:formatCode>General</c:formatCode>
                <c:ptCount val="4"/>
                <c:pt idx="0">
                  <c:v>5.31</c:v>
                </c:pt>
                <c:pt idx="1">
                  <c:v>6.08</c:v>
                </c:pt>
                <c:pt idx="2">
                  <c:v>9.0500000000000007</c:v>
                </c:pt>
                <c:pt idx="3">
                  <c:v>11.450000000000003</c:v>
                </c:pt>
              </c:numCache>
            </c:numRef>
          </c:val>
        </c:ser>
        <c:ser>
          <c:idx val="1"/>
          <c:order val="1"/>
          <c:tx>
            <c:strRef>
              <c:f>Sheet3!$C$16</c:f>
              <c:strCache>
                <c:ptCount val="1"/>
                <c:pt idx="0">
                  <c:v>CAPAC. INSTALADA [Tbps]</c:v>
                </c:pt>
              </c:strCache>
            </c:strRef>
          </c:tx>
          <c:spPr>
            <a:solidFill>
              <a:srgbClr val="00B050"/>
            </a:solidFill>
          </c:spPr>
          <c:dLbls>
            <c:dLbl>
              <c:idx val="0"/>
              <c:layout>
                <c:manualLayout>
                  <c:x val="2.3914480311980391E-2"/>
                  <c:y val="0"/>
                </c:manualLayout>
              </c:layout>
              <c:showVal val="1"/>
            </c:dLbl>
            <c:dLbl>
              <c:idx val="1"/>
              <c:layout>
                <c:manualLayout>
                  <c:x val="3.2882410428973122E-2"/>
                  <c:y val="-5.0253721941012422E-3"/>
                </c:manualLayout>
              </c:layout>
              <c:showVal val="1"/>
            </c:dLbl>
            <c:dLbl>
              <c:idx val="2"/>
              <c:layout>
                <c:manualLayout>
                  <c:x val="2.6903790350977914E-2"/>
                  <c:y val="-5.0253721941012422E-3"/>
                </c:manualLayout>
              </c:layout>
              <c:showVal val="1"/>
            </c:dLbl>
            <c:dLbl>
              <c:idx val="3"/>
              <c:layout>
                <c:manualLayout>
                  <c:x val="3.5871720467970616E-2"/>
                  <c:y val="4.6065379628065058E-17"/>
                </c:manualLayout>
              </c:layout>
              <c:showVal val="1"/>
            </c:dLbl>
            <c:txPr>
              <a:bodyPr/>
              <a:lstStyle/>
              <a:p>
                <a:pPr>
                  <a:defRPr sz="900"/>
                </a:pPr>
                <a:endParaRPr lang="pt-BR"/>
              </a:p>
            </c:txPr>
            <c:showVal val="1"/>
          </c:dLbls>
          <c:cat>
            <c:numRef>
              <c:f>Sheet3!$A$17:$A$20</c:f>
              <c:numCache>
                <c:formatCode>General</c:formatCode>
                <c:ptCount val="4"/>
                <c:pt idx="0">
                  <c:v>2010</c:v>
                </c:pt>
                <c:pt idx="1">
                  <c:v>2011</c:v>
                </c:pt>
                <c:pt idx="2">
                  <c:v>2012</c:v>
                </c:pt>
                <c:pt idx="3">
                  <c:v>2013</c:v>
                </c:pt>
              </c:numCache>
            </c:numRef>
          </c:cat>
          <c:val>
            <c:numRef>
              <c:f>Sheet3!$C$17:$C$20</c:f>
              <c:numCache>
                <c:formatCode>General</c:formatCode>
                <c:ptCount val="4"/>
                <c:pt idx="0">
                  <c:v>1.9300000000000002</c:v>
                </c:pt>
                <c:pt idx="1">
                  <c:v>3.22</c:v>
                </c:pt>
                <c:pt idx="2">
                  <c:v>4.13</c:v>
                </c:pt>
                <c:pt idx="3">
                  <c:v>5.92</c:v>
                </c:pt>
              </c:numCache>
            </c:numRef>
          </c:val>
        </c:ser>
        <c:shape val="box"/>
        <c:axId val="88749568"/>
        <c:axId val="88751104"/>
        <c:axId val="0"/>
      </c:bar3DChart>
      <c:catAx>
        <c:axId val="88749568"/>
        <c:scaling>
          <c:orientation val="minMax"/>
        </c:scaling>
        <c:axPos val="b"/>
        <c:numFmt formatCode="General" sourceLinked="1"/>
        <c:tickLblPos val="nextTo"/>
        <c:crossAx val="88751104"/>
        <c:crosses val="autoZero"/>
        <c:auto val="1"/>
        <c:lblAlgn val="ctr"/>
        <c:lblOffset val="100"/>
      </c:catAx>
      <c:valAx>
        <c:axId val="88751104"/>
        <c:scaling>
          <c:orientation val="minMax"/>
        </c:scaling>
        <c:axPos val="l"/>
        <c:numFmt formatCode="General" sourceLinked="1"/>
        <c:tickLblPos val="nextTo"/>
        <c:crossAx val="88749568"/>
        <c:crosses val="autoZero"/>
        <c:crossBetween val="between"/>
      </c:valAx>
      <c:spPr>
        <a:noFill/>
        <a:ln w="25400">
          <a:noFill/>
        </a:ln>
      </c:spPr>
    </c:plotArea>
    <c:legend>
      <c:legendPos val="b"/>
      <c:layout/>
    </c:legend>
    <c:plotVisOnly val="1"/>
    <c:dispBlanksAs val="gap"/>
  </c:chart>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pt-BR"/>
  <c:chart>
    <c:view3D>
      <c:rAngAx val="1"/>
    </c:view3D>
    <c:plotArea>
      <c:layout/>
      <c:bar3DChart>
        <c:barDir val="col"/>
        <c:grouping val="clustered"/>
        <c:ser>
          <c:idx val="0"/>
          <c:order val="0"/>
          <c:tx>
            <c:strRef>
              <c:f>Sheet3!$B$44</c:f>
              <c:strCache>
                <c:ptCount val="1"/>
                <c:pt idx="0">
                  <c:v>2010</c:v>
                </c:pt>
              </c:strCache>
            </c:strRef>
          </c:tx>
          <c:spPr>
            <a:solidFill>
              <a:srgbClr val="00B050"/>
            </a:solidFill>
          </c:spPr>
          <c:cat>
            <c:strRef>
              <c:f>Sheet3!$A$45:$A$49</c:f>
              <c:strCache>
                <c:ptCount val="5"/>
                <c:pt idx="0">
                  <c:v>Centro</c:v>
                </c:pt>
                <c:pt idx="1">
                  <c:v>Centro Oeste</c:v>
                </c:pt>
                <c:pt idx="2">
                  <c:v>Nordeste</c:v>
                </c:pt>
                <c:pt idx="3">
                  <c:v>Norte</c:v>
                </c:pt>
                <c:pt idx="4">
                  <c:v>Sul</c:v>
                </c:pt>
              </c:strCache>
            </c:strRef>
          </c:cat>
          <c:val>
            <c:numRef>
              <c:f>Sheet3!$B$45:$B$49</c:f>
              <c:numCache>
                <c:formatCode>General</c:formatCode>
                <c:ptCount val="5"/>
                <c:pt idx="0">
                  <c:v>1.07</c:v>
                </c:pt>
                <c:pt idx="2">
                  <c:v>0.62000000000000022</c:v>
                </c:pt>
                <c:pt idx="4">
                  <c:v>0.24000000000000005</c:v>
                </c:pt>
              </c:numCache>
            </c:numRef>
          </c:val>
        </c:ser>
        <c:ser>
          <c:idx val="1"/>
          <c:order val="1"/>
          <c:tx>
            <c:strRef>
              <c:f>Sheet3!$C$44</c:f>
              <c:strCache>
                <c:ptCount val="1"/>
                <c:pt idx="0">
                  <c:v>2011</c:v>
                </c:pt>
              </c:strCache>
            </c:strRef>
          </c:tx>
          <c:cat>
            <c:strRef>
              <c:f>Sheet3!$A$45:$A$49</c:f>
              <c:strCache>
                <c:ptCount val="5"/>
                <c:pt idx="0">
                  <c:v>Centro</c:v>
                </c:pt>
                <c:pt idx="1">
                  <c:v>Centro Oeste</c:v>
                </c:pt>
                <c:pt idx="2">
                  <c:v>Nordeste</c:v>
                </c:pt>
                <c:pt idx="3">
                  <c:v>Norte</c:v>
                </c:pt>
                <c:pt idx="4">
                  <c:v>Sul</c:v>
                </c:pt>
              </c:strCache>
            </c:strRef>
          </c:cat>
          <c:val>
            <c:numRef>
              <c:f>Sheet3!$C$45:$C$49</c:f>
              <c:numCache>
                <c:formatCode>General</c:formatCode>
                <c:ptCount val="5"/>
                <c:pt idx="0">
                  <c:v>1.75</c:v>
                </c:pt>
                <c:pt idx="2">
                  <c:v>0.9</c:v>
                </c:pt>
                <c:pt idx="4">
                  <c:v>0.57000000000000017</c:v>
                </c:pt>
              </c:numCache>
            </c:numRef>
          </c:val>
        </c:ser>
        <c:ser>
          <c:idx val="2"/>
          <c:order val="2"/>
          <c:tx>
            <c:strRef>
              <c:f>Sheet3!$D$44</c:f>
              <c:strCache>
                <c:ptCount val="1"/>
                <c:pt idx="0">
                  <c:v>2012</c:v>
                </c:pt>
              </c:strCache>
            </c:strRef>
          </c:tx>
          <c:spPr>
            <a:solidFill>
              <a:srgbClr val="FFC000"/>
            </a:solidFill>
          </c:spPr>
          <c:cat>
            <c:strRef>
              <c:f>Sheet3!$A$45:$A$49</c:f>
              <c:strCache>
                <c:ptCount val="5"/>
                <c:pt idx="0">
                  <c:v>Centro</c:v>
                </c:pt>
                <c:pt idx="1">
                  <c:v>Centro Oeste</c:v>
                </c:pt>
                <c:pt idx="2">
                  <c:v>Nordeste</c:v>
                </c:pt>
                <c:pt idx="3">
                  <c:v>Norte</c:v>
                </c:pt>
                <c:pt idx="4">
                  <c:v>Sul</c:v>
                </c:pt>
              </c:strCache>
            </c:strRef>
          </c:cat>
          <c:val>
            <c:numRef>
              <c:f>Sheet3!$D$45:$D$49</c:f>
              <c:numCache>
                <c:formatCode>General</c:formatCode>
                <c:ptCount val="5"/>
                <c:pt idx="0">
                  <c:v>2.4</c:v>
                </c:pt>
                <c:pt idx="2">
                  <c:v>1.06</c:v>
                </c:pt>
                <c:pt idx="3">
                  <c:v>3.0000000000000002E-2</c:v>
                </c:pt>
                <c:pt idx="4">
                  <c:v>0.64000000000000024</c:v>
                </c:pt>
              </c:numCache>
            </c:numRef>
          </c:val>
        </c:ser>
        <c:ser>
          <c:idx val="3"/>
          <c:order val="3"/>
          <c:tx>
            <c:strRef>
              <c:f>Sheet3!$E$44</c:f>
              <c:strCache>
                <c:ptCount val="1"/>
                <c:pt idx="0">
                  <c:v>2013</c:v>
                </c:pt>
              </c:strCache>
            </c:strRef>
          </c:tx>
          <c:cat>
            <c:strRef>
              <c:f>Sheet3!$A$45:$A$49</c:f>
              <c:strCache>
                <c:ptCount val="5"/>
                <c:pt idx="0">
                  <c:v>Centro</c:v>
                </c:pt>
                <c:pt idx="1">
                  <c:v>Centro Oeste</c:v>
                </c:pt>
                <c:pt idx="2">
                  <c:v>Nordeste</c:v>
                </c:pt>
                <c:pt idx="3">
                  <c:v>Norte</c:v>
                </c:pt>
                <c:pt idx="4">
                  <c:v>Sul</c:v>
                </c:pt>
              </c:strCache>
            </c:strRef>
          </c:cat>
          <c:val>
            <c:numRef>
              <c:f>Sheet3!$E$45:$E$49</c:f>
              <c:numCache>
                <c:formatCode>General</c:formatCode>
                <c:ptCount val="5"/>
                <c:pt idx="0">
                  <c:v>3.4499999999999997</c:v>
                </c:pt>
                <c:pt idx="1">
                  <c:v>6.0000000000000019E-2</c:v>
                </c:pt>
                <c:pt idx="2">
                  <c:v>1.46</c:v>
                </c:pt>
                <c:pt idx="3">
                  <c:v>0.2</c:v>
                </c:pt>
                <c:pt idx="4">
                  <c:v>0.75000000000000022</c:v>
                </c:pt>
              </c:numCache>
            </c:numRef>
          </c:val>
        </c:ser>
        <c:shape val="box"/>
        <c:axId val="37037184"/>
        <c:axId val="37038720"/>
        <c:axId val="0"/>
      </c:bar3DChart>
      <c:catAx>
        <c:axId val="37037184"/>
        <c:scaling>
          <c:orientation val="minMax"/>
        </c:scaling>
        <c:axPos val="b"/>
        <c:tickLblPos val="nextTo"/>
        <c:crossAx val="37038720"/>
        <c:crosses val="autoZero"/>
        <c:auto val="1"/>
        <c:lblAlgn val="ctr"/>
        <c:lblOffset val="100"/>
      </c:catAx>
      <c:valAx>
        <c:axId val="37038720"/>
        <c:scaling>
          <c:orientation val="minMax"/>
        </c:scaling>
        <c:axPos val="l"/>
        <c:majorGridlines/>
        <c:numFmt formatCode="General" sourceLinked="1"/>
        <c:tickLblPos val="nextTo"/>
        <c:crossAx val="37037184"/>
        <c:crosses val="autoZero"/>
        <c:crossBetween val="between"/>
      </c:valAx>
    </c:plotArea>
    <c:legend>
      <c:legendPos val="b"/>
      <c:layout>
        <c:manualLayout>
          <c:xMode val="edge"/>
          <c:yMode val="edge"/>
          <c:x val="0.27271758751675002"/>
          <c:y val="0.85754790121602298"/>
          <c:w val="0.45456482496649908"/>
          <c:h val="8.6938069470820639E-2"/>
        </c:manualLayout>
      </c:layout>
    </c:legend>
    <c:plotVisOnly val="1"/>
    <c:dispBlanksAs val="gap"/>
  </c:chart>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pt-BR"/>
  <c:style val="3"/>
  <c:chart>
    <c:plotArea>
      <c:layout/>
      <c:barChart>
        <c:barDir val="col"/>
        <c:grouping val="clustered"/>
        <c:ser>
          <c:idx val="2"/>
          <c:order val="0"/>
          <c:tx>
            <c:strRef>
              <c:f>[TX_Profile_3Y_Plan.xlsx]Sheet1!$A$12</c:f>
              <c:strCache>
                <c:ptCount val="1"/>
                <c:pt idx="0">
                  <c:v>SAT</c:v>
                </c:pt>
              </c:strCache>
            </c:strRef>
          </c:tx>
          <c:dLbls>
            <c:showVal val="1"/>
          </c:dLbls>
          <c:cat>
            <c:numRef>
              <c:f>[TX_Profile_3Y_Plan.xlsx]Sheet1!$B$9:$E$9</c:f>
              <c:numCache>
                <c:formatCode>General</c:formatCode>
                <c:ptCount val="4"/>
                <c:pt idx="0">
                  <c:v>2010</c:v>
                </c:pt>
                <c:pt idx="1">
                  <c:v>2011</c:v>
                </c:pt>
                <c:pt idx="2">
                  <c:v>2012</c:v>
                </c:pt>
                <c:pt idx="3">
                  <c:v>2013</c:v>
                </c:pt>
              </c:numCache>
            </c:numRef>
          </c:cat>
          <c:val>
            <c:numRef>
              <c:f>[TX_Profile_3Y_Plan.xlsx]Sheet1!$B$12:$E$12</c:f>
              <c:numCache>
                <c:formatCode>0%</c:formatCode>
                <c:ptCount val="4"/>
                <c:pt idx="0">
                  <c:v>2.0026080476900097E-2</c:v>
                </c:pt>
                <c:pt idx="1">
                  <c:v>1.0071696824854898E-2</c:v>
                </c:pt>
                <c:pt idx="2">
                  <c:v>9.9711578079934114E-3</c:v>
                </c:pt>
                <c:pt idx="3">
                  <c:v>1.5384615384615408E-2</c:v>
                </c:pt>
              </c:numCache>
            </c:numRef>
          </c:val>
        </c:ser>
        <c:ser>
          <c:idx val="3"/>
          <c:order val="1"/>
          <c:tx>
            <c:strRef>
              <c:f>[TX_Profile_3Y_Plan.xlsx]Sheet1!$A$13</c:f>
              <c:strCache>
                <c:ptCount val="1"/>
                <c:pt idx="0">
                  <c:v>LL</c:v>
                </c:pt>
              </c:strCache>
            </c:strRef>
          </c:tx>
          <c:dLbls>
            <c:showVal val="1"/>
          </c:dLbls>
          <c:cat>
            <c:numRef>
              <c:f>[TX_Profile_3Y_Plan.xlsx]Sheet1!$B$9:$E$9</c:f>
              <c:numCache>
                <c:formatCode>General</c:formatCode>
                <c:ptCount val="4"/>
                <c:pt idx="0">
                  <c:v>2010</c:v>
                </c:pt>
                <c:pt idx="1">
                  <c:v>2011</c:v>
                </c:pt>
                <c:pt idx="2">
                  <c:v>2012</c:v>
                </c:pt>
                <c:pt idx="3">
                  <c:v>2013</c:v>
                </c:pt>
              </c:numCache>
            </c:numRef>
          </c:cat>
          <c:val>
            <c:numRef>
              <c:f>[TX_Profile_3Y_Plan.xlsx]Sheet1!$B$13:$E$13</c:f>
              <c:numCache>
                <c:formatCode>0%</c:formatCode>
                <c:ptCount val="4"/>
                <c:pt idx="0">
                  <c:v>0.34994411326378511</c:v>
                </c:pt>
                <c:pt idx="1">
                  <c:v>0.227039945373848</c:v>
                </c:pt>
                <c:pt idx="2">
                  <c:v>0.19909353110836406</c:v>
                </c:pt>
                <c:pt idx="3">
                  <c:v>0.195376644081307</c:v>
                </c:pt>
              </c:numCache>
            </c:numRef>
          </c:val>
        </c:ser>
        <c:ser>
          <c:idx val="1"/>
          <c:order val="2"/>
          <c:tx>
            <c:strRef>
              <c:f>[TX_Profile_3Y_Plan.xlsx]Sheet1!$A$11</c:f>
              <c:strCache>
                <c:ptCount val="1"/>
                <c:pt idx="0">
                  <c:v>MW</c:v>
                </c:pt>
              </c:strCache>
            </c:strRef>
          </c:tx>
          <c:dLbls>
            <c:showVal val="1"/>
          </c:dLbls>
          <c:cat>
            <c:numRef>
              <c:f>[TX_Profile_3Y_Plan.xlsx]Sheet1!$B$9:$E$9</c:f>
              <c:numCache>
                <c:formatCode>General</c:formatCode>
                <c:ptCount val="4"/>
                <c:pt idx="0">
                  <c:v>2010</c:v>
                </c:pt>
                <c:pt idx="1">
                  <c:v>2011</c:v>
                </c:pt>
                <c:pt idx="2">
                  <c:v>2012</c:v>
                </c:pt>
                <c:pt idx="3">
                  <c:v>2013</c:v>
                </c:pt>
              </c:numCache>
            </c:numRef>
          </c:cat>
          <c:val>
            <c:numRef>
              <c:f>[TX_Profile_3Y_Plan.xlsx]Sheet1!$B$11:$E$11</c:f>
              <c:numCache>
                <c:formatCode>0%</c:formatCode>
                <c:ptCount val="4"/>
                <c:pt idx="0">
                  <c:v>0.63002980625931559</c:v>
                </c:pt>
                <c:pt idx="1">
                  <c:v>0.76288835780129705</c:v>
                </c:pt>
                <c:pt idx="2">
                  <c:v>0.68512566955088638</c:v>
                </c:pt>
                <c:pt idx="3">
                  <c:v>0.56237544838581122</c:v>
                </c:pt>
              </c:numCache>
            </c:numRef>
          </c:val>
        </c:ser>
        <c:ser>
          <c:idx val="0"/>
          <c:order val="3"/>
          <c:tx>
            <c:strRef>
              <c:f>[TX_Profile_3Y_Plan.xlsx]Sheet1!$A$10</c:f>
              <c:strCache>
                <c:ptCount val="1"/>
                <c:pt idx="0">
                  <c:v>FO</c:v>
                </c:pt>
              </c:strCache>
            </c:strRef>
          </c:tx>
          <c:dLbls>
            <c:showVal val="1"/>
          </c:dLbls>
          <c:cat>
            <c:numRef>
              <c:f>[TX_Profile_3Y_Plan.xlsx]Sheet1!$B$9:$E$9</c:f>
              <c:numCache>
                <c:formatCode>General</c:formatCode>
                <c:ptCount val="4"/>
                <c:pt idx="0">
                  <c:v>2010</c:v>
                </c:pt>
                <c:pt idx="1">
                  <c:v>2011</c:v>
                </c:pt>
                <c:pt idx="2">
                  <c:v>2012</c:v>
                </c:pt>
                <c:pt idx="3">
                  <c:v>2013</c:v>
                </c:pt>
              </c:numCache>
            </c:numRef>
          </c:cat>
          <c:val>
            <c:numRef>
              <c:f>[TX_Profile_3Y_Plan.xlsx]Sheet1!$B$10:$E$10</c:f>
              <c:numCache>
                <c:formatCode>0%</c:formatCode>
                <c:ptCount val="4"/>
                <c:pt idx="0">
                  <c:v>0</c:v>
                </c:pt>
                <c:pt idx="1">
                  <c:v>0</c:v>
                </c:pt>
                <c:pt idx="2">
                  <c:v>0.105809641532756</c:v>
                </c:pt>
                <c:pt idx="3">
                  <c:v>0.22686329214826606</c:v>
                </c:pt>
              </c:numCache>
            </c:numRef>
          </c:val>
        </c:ser>
        <c:axId val="38484224"/>
        <c:axId val="38494208"/>
      </c:barChart>
      <c:catAx>
        <c:axId val="38484224"/>
        <c:scaling>
          <c:orientation val="minMax"/>
        </c:scaling>
        <c:axPos val="b"/>
        <c:numFmt formatCode="General" sourceLinked="1"/>
        <c:tickLblPos val="nextTo"/>
        <c:crossAx val="38494208"/>
        <c:crosses val="autoZero"/>
        <c:auto val="1"/>
        <c:lblAlgn val="ctr"/>
        <c:lblOffset val="100"/>
      </c:catAx>
      <c:valAx>
        <c:axId val="38494208"/>
        <c:scaling>
          <c:orientation val="minMax"/>
        </c:scaling>
        <c:delete val="1"/>
        <c:axPos val="l"/>
        <c:numFmt formatCode="0%" sourceLinked="1"/>
        <c:tickLblPos val="none"/>
        <c:crossAx val="38484224"/>
        <c:crosses val="autoZero"/>
        <c:crossBetween val="between"/>
      </c:valAx>
    </c:plotArea>
    <c:legend>
      <c:legendPos val="b"/>
      <c:layout>
        <c:manualLayout>
          <c:xMode val="edge"/>
          <c:yMode val="edge"/>
          <c:x val="0.43832687683241034"/>
          <c:y val="0.89827547964955123"/>
          <c:w val="0.168724858057518"/>
          <c:h val="7.3555506265942108E-2"/>
        </c:manualLayout>
      </c:layout>
    </c:legend>
    <c:plotVisOnly val="1"/>
    <c:dispBlanksAs val="gap"/>
  </c:chart>
  <c:txPr>
    <a:bodyPr/>
    <a:lstStyle/>
    <a:p>
      <a:pPr>
        <a:defRPr sz="800"/>
      </a:pPr>
      <a:endParaRPr lang="pt-BR"/>
    </a:p>
  </c:txPr>
  <c:externalData r:id="rId1"/>
</c:chartSpace>
</file>

<file path=ppt/diagrams/_rels/data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image" Target="../media/image12.jpeg"/><Relationship Id="rId4" Type="http://schemas.openxmlformats.org/officeDocument/2006/relationships/image" Target="../media/image15.jpeg"/></Relationships>
</file>

<file path=ppt/diagrams/_rels/drawing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image" Target="../media/image12.jpeg"/><Relationship Id="rId4" Type="http://schemas.openxmlformats.org/officeDocument/2006/relationships/image" Target="../media/image15.jpe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45AA766-E3F9-4373-A0EC-90E69CC6679A}"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pt-BR"/>
        </a:p>
      </dgm:t>
    </dgm:pt>
    <dgm:pt modelId="{E8AB00D7-81A1-4390-BE9B-015D65133E82}">
      <dgm:prSet custT="1"/>
      <dgm:spPr>
        <a:solidFill>
          <a:schemeClr val="accent1">
            <a:lumMod val="60000"/>
            <a:lumOff val="40000"/>
          </a:schemeClr>
        </a:solidFill>
      </dgm:spPr>
      <dgm:t>
        <a:bodyPr/>
        <a:lstStyle/>
        <a:p>
          <a:pPr algn="ctr" rtl="0"/>
          <a:r>
            <a:rPr lang="pt-BR" sz="1800" b="1" dirty="0" smtClean="0">
              <a:latin typeface="+mn-lt"/>
            </a:rPr>
            <a:t>Unem o trabalho com foco na melhoria da qualidade dos serviços e a transparência na comunicação com o cliente, para trazer visibilidade das ações realizadas, entregas e conquistas.</a:t>
          </a:r>
          <a:endParaRPr lang="pt-BR" sz="1800" b="1" dirty="0">
            <a:latin typeface="+mn-lt"/>
          </a:endParaRPr>
        </a:p>
      </dgm:t>
    </dgm:pt>
    <dgm:pt modelId="{25125426-129E-4357-A6EA-F5603CDF94F2}" type="parTrans" cxnId="{781B6857-B43F-49C0-8239-78487B0DECDA}">
      <dgm:prSet/>
      <dgm:spPr/>
      <dgm:t>
        <a:bodyPr/>
        <a:lstStyle/>
        <a:p>
          <a:endParaRPr lang="pt-BR">
            <a:latin typeface="+mn-lt"/>
          </a:endParaRPr>
        </a:p>
      </dgm:t>
    </dgm:pt>
    <dgm:pt modelId="{E606D8C9-01DC-42B0-8567-086F6068A599}" type="sibTrans" cxnId="{781B6857-B43F-49C0-8239-78487B0DECDA}">
      <dgm:prSet/>
      <dgm:spPr/>
      <dgm:t>
        <a:bodyPr/>
        <a:lstStyle/>
        <a:p>
          <a:endParaRPr lang="pt-BR">
            <a:latin typeface="+mn-lt"/>
          </a:endParaRPr>
        </a:p>
      </dgm:t>
    </dgm:pt>
    <dgm:pt modelId="{B73F3E8A-8BCA-48A7-8157-174649C7A399}" type="pres">
      <dgm:prSet presAssocID="{B45AA766-E3F9-4373-A0EC-90E69CC6679A}" presName="linear" presStyleCnt="0">
        <dgm:presLayoutVars>
          <dgm:animLvl val="lvl"/>
          <dgm:resizeHandles val="exact"/>
        </dgm:presLayoutVars>
      </dgm:prSet>
      <dgm:spPr/>
      <dgm:t>
        <a:bodyPr/>
        <a:lstStyle/>
        <a:p>
          <a:endParaRPr lang="pt-BR"/>
        </a:p>
      </dgm:t>
    </dgm:pt>
    <dgm:pt modelId="{EF06459D-46CA-4F25-AB9C-5C0679A188E9}" type="pres">
      <dgm:prSet presAssocID="{E8AB00D7-81A1-4390-BE9B-015D65133E82}" presName="parentText" presStyleLbl="node1" presStyleIdx="0" presStyleCnt="1" custScaleY="117419" custLinFactNeighborY="41">
        <dgm:presLayoutVars>
          <dgm:chMax val="0"/>
          <dgm:bulletEnabled val="1"/>
        </dgm:presLayoutVars>
      </dgm:prSet>
      <dgm:spPr/>
      <dgm:t>
        <a:bodyPr/>
        <a:lstStyle/>
        <a:p>
          <a:endParaRPr lang="pt-BR"/>
        </a:p>
      </dgm:t>
    </dgm:pt>
  </dgm:ptLst>
  <dgm:cxnLst>
    <dgm:cxn modelId="{74BF6246-F6CA-9E49-8884-E05A53C8A67F}" type="presOf" srcId="{E8AB00D7-81A1-4390-BE9B-015D65133E82}" destId="{EF06459D-46CA-4F25-AB9C-5C0679A188E9}" srcOrd="0" destOrd="0" presId="urn:microsoft.com/office/officeart/2005/8/layout/vList2"/>
    <dgm:cxn modelId="{8DFBBA26-3F58-3445-BA87-B8F835B7841A}" type="presOf" srcId="{B45AA766-E3F9-4373-A0EC-90E69CC6679A}" destId="{B73F3E8A-8BCA-48A7-8157-174649C7A399}" srcOrd="0" destOrd="0" presId="urn:microsoft.com/office/officeart/2005/8/layout/vList2"/>
    <dgm:cxn modelId="{781B6857-B43F-49C0-8239-78487B0DECDA}" srcId="{B45AA766-E3F9-4373-A0EC-90E69CC6679A}" destId="{E8AB00D7-81A1-4390-BE9B-015D65133E82}" srcOrd="0" destOrd="0" parTransId="{25125426-129E-4357-A6EA-F5603CDF94F2}" sibTransId="{E606D8C9-01DC-42B0-8567-086F6068A599}"/>
    <dgm:cxn modelId="{0818CADA-4AE5-074D-BBB4-C462A12F9004}" type="presParOf" srcId="{B73F3E8A-8BCA-48A7-8157-174649C7A399}" destId="{EF06459D-46CA-4F25-AB9C-5C0679A188E9}" srcOrd="0" destOrd="0" presId="urn:microsoft.com/office/officeart/2005/8/layout/vList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8323156-EA0A-4BE5-A61D-8366114B2877}" type="doc">
      <dgm:prSet loTypeId="urn:microsoft.com/office/officeart/2005/8/layout/vList4#2" loCatId="list" qsTypeId="urn:microsoft.com/office/officeart/2005/8/quickstyle/simple1" qsCatId="simple" csTypeId="urn:microsoft.com/office/officeart/2005/8/colors/accent1_2" csCatId="accent1" phldr="1"/>
      <dgm:spPr/>
      <dgm:t>
        <a:bodyPr/>
        <a:lstStyle/>
        <a:p>
          <a:endParaRPr lang="pt-BR"/>
        </a:p>
      </dgm:t>
    </dgm:pt>
    <dgm:pt modelId="{725EEFC7-EA3C-405C-B84E-0BD9CD2B9C6B}">
      <dgm:prSet custT="1"/>
      <dgm:spPr>
        <a:solidFill>
          <a:schemeClr val="accent1">
            <a:lumMod val="60000"/>
            <a:lumOff val="40000"/>
          </a:schemeClr>
        </a:solidFill>
      </dgm:spPr>
      <dgm:t>
        <a:bodyPr/>
        <a:lstStyle/>
        <a:p>
          <a:pPr algn="just" rtl="0"/>
          <a:r>
            <a:rPr lang="pt-BR" sz="1600" b="1" dirty="0" smtClean="0">
              <a:latin typeface="Candara" pitchFamily="34" charset="0"/>
            </a:rPr>
            <a:t>Modernização das ferramentas de gestão de CRM: </a:t>
          </a:r>
          <a:r>
            <a:rPr lang="pt-BR" sz="1600" dirty="0" smtClean="0">
              <a:latin typeface="Candara" pitchFamily="34" charset="0"/>
            </a:rPr>
            <a:t>Siebel e IPCC, cases de sucessos em outros países, que agilizarão o atendimento das demandas com interfaces mais intuitivas para os consultores.</a:t>
          </a:r>
          <a:endParaRPr lang="pt-BR" sz="1600" dirty="0">
            <a:latin typeface="Candara" pitchFamily="34" charset="0"/>
          </a:endParaRPr>
        </a:p>
      </dgm:t>
    </dgm:pt>
    <dgm:pt modelId="{7002FBA9-1935-4592-B036-1754286AACF3}" type="parTrans" cxnId="{BAA5A27A-0A4B-4FAF-8829-93C7D0F5B35B}">
      <dgm:prSet/>
      <dgm:spPr/>
      <dgm:t>
        <a:bodyPr/>
        <a:lstStyle/>
        <a:p>
          <a:endParaRPr lang="pt-BR"/>
        </a:p>
      </dgm:t>
    </dgm:pt>
    <dgm:pt modelId="{BAD5A31E-2F2C-4F68-9772-D1E398840459}" type="sibTrans" cxnId="{BAA5A27A-0A4B-4FAF-8829-93C7D0F5B35B}">
      <dgm:prSet/>
      <dgm:spPr/>
      <dgm:t>
        <a:bodyPr/>
        <a:lstStyle/>
        <a:p>
          <a:endParaRPr lang="pt-BR"/>
        </a:p>
      </dgm:t>
    </dgm:pt>
    <dgm:pt modelId="{96506D73-8E74-4464-A23B-28F14A7A39B4}">
      <dgm:prSet custT="1"/>
      <dgm:spPr>
        <a:solidFill>
          <a:schemeClr val="accent1">
            <a:lumMod val="60000"/>
            <a:lumOff val="40000"/>
          </a:schemeClr>
        </a:solidFill>
      </dgm:spPr>
      <dgm:t>
        <a:bodyPr/>
        <a:lstStyle/>
        <a:p>
          <a:pPr algn="just" rtl="0"/>
          <a:r>
            <a:rPr lang="pt-BR" sz="1600" b="1" dirty="0" smtClean="0">
              <a:latin typeface="Candara" pitchFamily="34" charset="0"/>
            </a:rPr>
            <a:t>Estratégia de multicanalidade: </a:t>
          </a:r>
          <a:r>
            <a:rPr lang="pt-BR" sz="1600" dirty="0" smtClean="0">
              <a:latin typeface="Candara" pitchFamily="34" charset="0"/>
            </a:rPr>
            <a:t>ampliação dos canais de relacionamento com o cliente para facilitar o contato. </a:t>
          </a:r>
          <a:endParaRPr lang="pt-BR" sz="1600" dirty="0">
            <a:latin typeface="Candara" pitchFamily="34" charset="0"/>
          </a:endParaRPr>
        </a:p>
      </dgm:t>
    </dgm:pt>
    <dgm:pt modelId="{1388A5D7-C3C8-4738-BBB5-FCD9E51741F8}" type="parTrans" cxnId="{23165C7F-BED0-46AF-B668-D0DF819CD891}">
      <dgm:prSet/>
      <dgm:spPr/>
      <dgm:t>
        <a:bodyPr/>
        <a:lstStyle/>
        <a:p>
          <a:endParaRPr lang="pt-BR"/>
        </a:p>
      </dgm:t>
    </dgm:pt>
    <dgm:pt modelId="{866D54D3-43C0-4C9B-A6D5-8C27AF72675C}" type="sibTrans" cxnId="{23165C7F-BED0-46AF-B668-D0DF819CD891}">
      <dgm:prSet/>
      <dgm:spPr/>
      <dgm:t>
        <a:bodyPr/>
        <a:lstStyle/>
        <a:p>
          <a:endParaRPr lang="pt-BR"/>
        </a:p>
      </dgm:t>
    </dgm:pt>
    <dgm:pt modelId="{27EB19AE-9AD5-4FFF-9EF3-4AD68E04D60E}">
      <dgm:prSet custT="1"/>
      <dgm:spPr>
        <a:solidFill>
          <a:schemeClr val="accent1">
            <a:lumMod val="60000"/>
            <a:lumOff val="40000"/>
          </a:schemeClr>
        </a:solidFill>
      </dgm:spPr>
      <dgm:t>
        <a:bodyPr/>
        <a:lstStyle/>
        <a:p>
          <a:pPr algn="just" rtl="0"/>
          <a:r>
            <a:rPr lang="pt-BR" sz="1600" b="1" dirty="0" smtClean="0">
              <a:latin typeface="Candara" pitchFamily="34" charset="0"/>
            </a:rPr>
            <a:t>Renovação da URA: </a:t>
          </a:r>
          <a:r>
            <a:rPr lang="pt-BR" sz="1600" dirty="0" smtClean="0">
              <a:latin typeface="Candara" pitchFamily="34" charset="0"/>
            </a:rPr>
            <a:t>novo menu de atendimento no call center, que permite resolução de demandas sem necessidade de falar com atendente. Humanização da URA.</a:t>
          </a:r>
          <a:endParaRPr lang="pt-BR" sz="1600" dirty="0">
            <a:latin typeface="Candara" pitchFamily="34" charset="0"/>
          </a:endParaRPr>
        </a:p>
      </dgm:t>
    </dgm:pt>
    <dgm:pt modelId="{0E6A39FC-919C-49D1-9535-6D2BAF78285D}" type="parTrans" cxnId="{A4396E69-F9BD-4960-8499-A982B8CAE408}">
      <dgm:prSet/>
      <dgm:spPr/>
      <dgm:t>
        <a:bodyPr/>
        <a:lstStyle/>
        <a:p>
          <a:endParaRPr lang="pt-BR"/>
        </a:p>
      </dgm:t>
    </dgm:pt>
    <dgm:pt modelId="{5BAD4144-EF3F-40F8-9D10-67A35D681790}" type="sibTrans" cxnId="{A4396E69-F9BD-4960-8499-A982B8CAE408}">
      <dgm:prSet/>
      <dgm:spPr/>
      <dgm:t>
        <a:bodyPr/>
        <a:lstStyle/>
        <a:p>
          <a:endParaRPr lang="pt-BR"/>
        </a:p>
      </dgm:t>
    </dgm:pt>
    <dgm:pt modelId="{165F6A90-46C5-419B-80F3-65CDB7AAFAD1}">
      <dgm:prSet custT="1"/>
      <dgm:spPr>
        <a:solidFill>
          <a:schemeClr val="accent1">
            <a:lumMod val="60000"/>
            <a:lumOff val="40000"/>
          </a:schemeClr>
        </a:solidFill>
      </dgm:spPr>
      <dgm:t>
        <a:bodyPr/>
        <a:lstStyle/>
        <a:p>
          <a:pPr algn="just" rtl="0"/>
          <a:r>
            <a:rPr lang="pt-BR" sz="1600" b="1" dirty="0" smtClean="0">
              <a:latin typeface="Candara" pitchFamily="34" charset="0"/>
            </a:rPr>
            <a:t>Atuação preventiva: b</a:t>
          </a:r>
          <a:r>
            <a:rPr lang="pt-BR" sz="1600" dirty="0" smtClean="0"/>
            <a:t>uscar entender as demandas junto aos Procons para aprimorar o atendimento. Canal dedicado aos órgãos (0800 Procon), que garante agilidade ao tratamento das reclamações</a:t>
          </a:r>
          <a:r>
            <a:rPr lang="pt-BR" sz="1600" b="0" dirty="0" smtClean="0">
              <a:latin typeface="Candara" pitchFamily="34" charset="0"/>
            </a:rPr>
            <a:t>. </a:t>
          </a:r>
          <a:endParaRPr lang="pt-BR" sz="1600" dirty="0">
            <a:latin typeface="Candara" pitchFamily="34" charset="0"/>
          </a:endParaRPr>
        </a:p>
      </dgm:t>
    </dgm:pt>
    <dgm:pt modelId="{83788123-5E88-4AE0-A9E3-6DD5330AAF32}" type="parTrans" cxnId="{138DC2B6-C252-4C60-9576-6D55870FD9DC}">
      <dgm:prSet/>
      <dgm:spPr/>
      <dgm:t>
        <a:bodyPr/>
        <a:lstStyle/>
        <a:p>
          <a:endParaRPr lang="pt-BR"/>
        </a:p>
      </dgm:t>
    </dgm:pt>
    <dgm:pt modelId="{5F2BAC2B-3526-441A-B15C-6A253E857610}" type="sibTrans" cxnId="{138DC2B6-C252-4C60-9576-6D55870FD9DC}">
      <dgm:prSet/>
      <dgm:spPr/>
      <dgm:t>
        <a:bodyPr/>
        <a:lstStyle/>
        <a:p>
          <a:endParaRPr lang="pt-BR"/>
        </a:p>
      </dgm:t>
    </dgm:pt>
    <dgm:pt modelId="{70C5410E-4A05-41C5-9D83-F702C943E782}" type="pres">
      <dgm:prSet presAssocID="{C8323156-EA0A-4BE5-A61D-8366114B2877}" presName="linear" presStyleCnt="0">
        <dgm:presLayoutVars>
          <dgm:dir/>
          <dgm:resizeHandles val="exact"/>
        </dgm:presLayoutVars>
      </dgm:prSet>
      <dgm:spPr/>
      <dgm:t>
        <a:bodyPr/>
        <a:lstStyle/>
        <a:p>
          <a:endParaRPr lang="pt-BR"/>
        </a:p>
      </dgm:t>
    </dgm:pt>
    <dgm:pt modelId="{D6416C5D-1567-43C9-A345-98A5AA7FCF52}" type="pres">
      <dgm:prSet presAssocID="{725EEFC7-EA3C-405C-B84E-0BD9CD2B9C6B}" presName="comp" presStyleCnt="0"/>
      <dgm:spPr/>
    </dgm:pt>
    <dgm:pt modelId="{DD0C8004-ED46-467F-B4BA-1558F759DC31}" type="pres">
      <dgm:prSet presAssocID="{725EEFC7-EA3C-405C-B84E-0BD9CD2B9C6B}" presName="box" presStyleLbl="node1" presStyleIdx="0" presStyleCnt="4"/>
      <dgm:spPr/>
      <dgm:t>
        <a:bodyPr/>
        <a:lstStyle/>
        <a:p>
          <a:endParaRPr lang="pt-BR"/>
        </a:p>
      </dgm:t>
    </dgm:pt>
    <dgm:pt modelId="{C99F9B7D-FA78-4837-956D-E20D0263DEBC}" type="pres">
      <dgm:prSet presAssocID="{725EEFC7-EA3C-405C-B84E-0BD9CD2B9C6B}" presName="img" presStyleLbl="fgImgPlace1" presStyleIdx="0" presStyleCnt="4"/>
      <dgm:spPr>
        <a:blipFill rotWithShape="0">
          <a:blip xmlns:r="http://schemas.openxmlformats.org/officeDocument/2006/relationships" r:embed="rId1"/>
          <a:stretch>
            <a:fillRect/>
          </a:stretch>
        </a:blipFill>
      </dgm:spPr>
      <dgm:t>
        <a:bodyPr/>
        <a:lstStyle/>
        <a:p>
          <a:endParaRPr lang="pt-BR"/>
        </a:p>
      </dgm:t>
    </dgm:pt>
    <dgm:pt modelId="{E9017B8C-2855-4DB8-9786-3D4AC79B91FD}" type="pres">
      <dgm:prSet presAssocID="{725EEFC7-EA3C-405C-B84E-0BD9CD2B9C6B}" presName="text" presStyleLbl="node1" presStyleIdx="0" presStyleCnt="4">
        <dgm:presLayoutVars>
          <dgm:bulletEnabled val="1"/>
        </dgm:presLayoutVars>
      </dgm:prSet>
      <dgm:spPr/>
      <dgm:t>
        <a:bodyPr/>
        <a:lstStyle/>
        <a:p>
          <a:endParaRPr lang="pt-BR"/>
        </a:p>
      </dgm:t>
    </dgm:pt>
    <dgm:pt modelId="{70DEFFAE-E63F-4583-8E84-4840A64AB17B}" type="pres">
      <dgm:prSet presAssocID="{BAD5A31E-2F2C-4F68-9772-D1E398840459}" presName="spacer" presStyleCnt="0"/>
      <dgm:spPr/>
    </dgm:pt>
    <dgm:pt modelId="{2F74AB6D-556D-4297-A56F-06B86BFA17D7}" type="pres">
      <dgm:prSet presAssocID="{96506D73-8E74-4464-A23B-28F14A7A39B4}" presName="comp" presStyleCnt="0"/>
      <dgm:spPr/>
    </dgm:pt>
    <dgm:pt modelId="{D543E81B-1A72-4F2A-8089-F67409989E54}" type="pres">
      <dgm:prSet presAssocID="{96506D73-8E74-4464-A23B-28F14A7A39B4}" presName="box" presStyleLbl="node1" presStyleIdx="1" presStyleCnt="4"/>
      <dgm:spPr/>
      <dgm:t>
        <a:bodyPr/>
        <a:lstStyle/>
        <a:p>
          <a:endParaRPr lang="pt-BR"/>
        </a:p>
      </dgm:t>
    </dgm:pt>
    <dgm:pt modelId="{9528D126-9D30-4226-9045-B73D68B36013}" type="pres">
      <dgm:prSet presAssocID="{96506D73-8E74-4464-A23B-28F14A7A39B4}" presName="img" presStyleLbl="fgImgPlace1" presStyleIdx="1" presStyleCnt="4"/>
      <dgm:spPr>
        <a:blipFill rotWithShape="0">
          <a:blip xmlns:r="http://schemas.openxmlformats.org/officeDocument/2006/relationships" r:embed="rId2"/>
          <a:stretch>
            <a:fillRect/>
          </a:stretch>
        </a:blipFill>
      </dgm:spPr>
      <dgm:t>
        <a:bodyPr/>
        <a:lstStyle/>
        <a:p>
          <a:endParaRPr lang="pt-BR"/>
        </a:p>
      </dgm:t>
    </dgm:pt>
    <dgm:pt modelId="{20876C80-7165-420F-9FF5-B6F8126615B2}" type="pres">
      <dgm:prSet presAssocID="{96506D73-8E74-4464-A23B-28F14A7A39B4}" presName="text" presStyleLbl="node1" presStyleIdx="1" presStyleCnt="4">
        <dgm:presLayoutVars>
          <dgm:bulletEnabled val="1"/>
        </dgm:presLayoutVars>
      </dgm:prSet>
      <dgm:spPr/>
      <dgm:t>
        <a:bodyPr/>
        <a:lstStyle/>
        <a:p>
          <a:endParaRPr lang="pt-BR"/>
        </a:p>
      </dgm:t>
    </dgm:pt>
    <dgm:pt modelId="{32262B39-F743-4CD7-B7AB-1D0F26E76735}" type="pres">
      <dgm:prSet presAssocID="{866D54D3-43C0-4C9B-A6D5-8C27AF72675C}" presName="spacer" presStyleCnt="0"/>
      <dgm:spPr/>
    </dgm:pt>
    <dgm:pt modelId="{90B03ED9-3AED-4C6E-AC3E-9601A8545B5F}" type="pres">
      <dgm:prSet presAssocID="{27EB19AE-9AD5-4FFF-9EF3-4AD68E04D60E}" presName="comp" presStyleCnt="0"/>
      <dgm:spPr/>
    </dgm:pt>
    <dgm:pt modelId="{DF1DC909-40FE-4107-865E-B6FAB36A596F}" type="pres">
      <dgm:prSet presAssocID="{27EB19AE-9AD5-4FFF-9EF3-4AD68E04D60E}" presName="box" presStyleLbl="node1" presStyleIdx="2" presStyleCnt="4"/>
      <dgm:spPr/>
      <dgm:t>
        <a:bodyPr/>
        <a:lstStyle/>
        <a:p>
          <a:endParaRPr lang="pt-BR"/>
        </a:p>
      </dgm:t>
    </dgm:pt>
    <dgm:pt modelId="{16EB2F58-7900-4D14-9B94-2465A79A9AB2}" type="pres">
      <dgm:prSet presAssocID="{27EB19AE-9AD5-4FFF-9EF3-4AD68E04D60E}" presName="img" presStyleLbl="fgImgPlace1" presStyleIdx="2" presStyleCnt="4"/>
      <dgm:spPr>
        <a:blipFill rotWithShape="0">
          <a:blip xmlns:r="http://schemas.openxmlformats.org/officeDocument/2006/relationships" r:embed="rId3"/>
          <a:stretch>
            <a:fillRect/>
          </a:stretch>
        </a:blipFill>
      </dgm:spPr>
      <dgm:t>
        <a:bodyPr/>
        <a:lstStyle/>
        <a:p>
          <a:endParaRPr lang="pt-BR"/>
        </a:p>
      </dgm:t>
    </dgm:pt>
    <dgm:pt modelId="{56001D54-92B2-476B-9BFC-3644887EF4DA}" type="pres">
      <dgm:prSet presAssocID="{27EB19AE-9AD5-4FFF-9EF3-4AD68E04D60E}" presName="text" presStyleLbl="node1" presStyleIdx="2" presStyleCnt="4">
        <dgm:presLayoutVars>
          <dgm:bulletEnabled val="1"/>
        </dgm:presLayoutVars>
      </dgm:prSet>
      <dgm:spPr/>
      <dgm:t>
        <a:bodyPr/>
        <a:lstStyle/>
        <a:p>
          <a:endParaRPr lang="pt-BR"/>
        </a:p>
      </dgm:t>
    </dgm:pt>
    <dgm:pt modelId="{CB06F97C-A8FE-4B4A-BBE0-C4667B949EAE}" type="pres">
      <dgm:prSet presAssocID="{5BAD4144-EF3F-40F8-9D10-67A35D681790}" presName="spacer" presStyleCnt="0"/>
      <dgm:spPr/>
    </dgm:pt>
    <dgm:pt modelId="{82CDF9D8-9D02-4167-B884-4A7816F1FE07}" type="pres">
      <dgm:prSet presAssocID="{165F6A90-46C5-419B-80F3-65CDB7AAFAD1}" presName="comp" presStyleCnt="0"/>
      <dgm:spPr/>
    </dgm:pt>
    <dgm:pt modelId="{DBB53092-5DC8-4E93-95D7-354EA229B861}" type="pres">
      <dgm:prSet presAssocID="{165F6A90-46C5-419B-80F3-65CDB7AAFAD1}" presName="box" presStyleLbl="node1" presStyleIdx="3" presStyleCnt="4"/>
      <dgm:spPr/>
      <dgm:t>
        <a:bodyPr/>
        <a:lstStyle/>
        <a:p>
          <a:endParaRPr lang="pt-BR"/>
        </a:p>
      </dgm:t>
    </dgm:pt>
    <dgm:pt modelId="{A205C8F2-C292-4B18-A7E0-2ED130499818}" type="pres">
      <dgm:prSet presAssocID="{165F6A90-46C5-419B-80F3-65CDB7AAFAD1}" presName="img" presStyleLbl="fgImgPlace1" presStyleIdx="3" presStyleCnt="4"/>
      <dgm:spPr>
        <a:blipFill rotWithShape="0">
          <a:blip xmlns:r="http://schemas.openxmlformats.org/officeDocument/2006/relationships" r:embed="rId4"/>
          <a:stretch>
            <a:fillRect/>
          </a:stretch>
        </a:blipFill>
      </dgm:spPr>
      <dgm:t>
        <a:bodyPr/>
        <a:lstStyle/>
        <a:p>
          <a:endParaRPr lang="pt-BR"/>
        </a:p>
      </dgm:t>
    </dgm:pt>
    <dgm:pt modelId="{6B7FD660-AF99-4D65-811C-844DB326FDF9}" type="pres">
      <dgm:prSet presAssocID="{165F6A90-46C5-419B-80F3-65CDB7AAFAD1}" presName="text" presStyleLbl="node1" presStyleIdx="3" presStyleCnt="4">
        <dgm:presLayoutVars>
          <dgm:bulletEnabled val="1"/>
        </dgm:presLayoutVars>
      </dgm:prSet>
      <dgm:spPr/>
      <dgm:t>
        <a:bodyPr/>
        <a:lstStyle/>
        <a:p>
          <a:endParaRPr lang="pt-BR"/>
        </a:p>
      </dgm:t>
    </dgm:pt>
  </dgm:ptLst>
  <dgm:cxnLst>
    <dgm:cxn modelId="{6338A287-F690-B749-B37F-E3CB2D156804}" type="presOf" srcId="{96506D73-8E74-4464-A23B-28F14A7A39B4}" destId="{20876C80-7165-420F-9FF5-B6F8126615B2}" srcOrd="1" destOrd="0" presId="urn:microsoft.com/office/officeart/2005/8/layout/vList4#2"/>
    <dgm:cxn modelId="{138DC2B6-C252-4C60-9576-6D55870FD9DC}" srcId="{C8323156-EA0A-4BE5-A61D-8366114B2877}" destId="{165F6A90-46C5-419B-80F3-65CDB7AAFAD1}" srcOrd="3" destOrd="0" parTransId="{83788123-5E88-4AE0-A9E3-6DD5330AAF32}" sibTransId="{5F2BAC2B-3526-441A-B15C-6A253E857610}"/>
    <dgm:cxn modelId="{24AB8973-D323-F245-87CB-224669EE6F62}" type="presOf" srcId="{27EB19AE-9AD5-4FFF-9EF3-4AD68E04D60E}" destId="{56001D54-92B2-476B-9BFC-3644887EF4DA}" srcOrd="1" destOrd="0" presId="urn:microsoft.com/office/officeart/2005/8/layout/vList4#2"/>
    <dgm:cxn modelId="{67485CD1-1B8B-8445-BE4A-2C63DD9B74FC}" type="presOf" srcId="{165F6A90-46C5-419B-80F3-65CDB7AAFAD1}" destId="{DBB53092-5DC8-4E93-95D7-354EA229B861}" srcOrd="0" destOrd="0" presId="urn:microsoft.com/office/officeart/2005/8/layout/vList4#2"/>
    <dgm:cxn modelId="{A4396E69-F9BD-4960-8499-A982B8CAE408}" srcId="{C8323156-EA0A-4BE5-A61D-8366114B2877}" destId="{27EB19AE-9AD5-4FFF-9EF3-4AD68E04D60E}" srcOrd="2" destOrd="0" parTransId="{0E6A39FC-919C-49D1-9535-6D2BAF78285D}" sibTransId="{5BAD4144-EF3F-40F8-9D10-67A35D681790}"/>
    <dgm:cxn modelId="{F4416E9E-9087-F94D-B376-EB9A49243738}" type="presOf" srcId="{27EB19AE-9AD5-4FFF-9EF3-4AD68E04D60E}" destId="{DF1DC909-40FE-4107-865E-B6FAB36A596F}" srcOrd="0" destOrd="0" presId="urn:microsoft.com/office/officeart/2005/8/layout/vList4#2"/>
    <dgm:cxn modelId="{BAA5A27A-0A4B-4FAF-8829-93C7D0F5B35B}" srcId="{C8323156-EA0A-4BE5-A61D-8366114B2877}" destId="{725EEFC7-EA3C-405C-B84E-0BD9CD2B9C6B}" srcOrd="0" destOrd="0" parTransId="{7002FBA9-1935-4592-B036-1754286AACF3}" sibTransId="{BAD5A31E-2F2C-4F68-9772-D1E398840459}"/>
    <dgm:cxn modelId="{6406B214-02D2-FC4A-BA28-DEC56765079A}" type="presOf" srcId="{96506D73-8E74-4464-A23B-28F14A7A39B4}" destId="{D543E81B-1A72-4F2A-8089-F67409989E54}" srcOrd="0" destOrd="0" presId="urn:microsoft.com/office/officeart/2005/8/layout/vList4#2"/>
    <dgm:cxn modelId="{8B08F437-8B67-354A-A5FB-1E57E7730E16}" type="presOf" srcId="{725EEFC7-EA3C-405C-B84E-0BD9CD2B9C6B}" destId="{DD0C8004-ED46-467F-B4BA-1558F759DC31}" srcOrd="0" destOrd="0" presId="urn:microsoft.com/office/officeart/2005/8/layout/vList4#2"/>
    <dgm:cxn modelId="{F3DF4F72-D635-3D46-BB1E-26C242CE193F}" type="presOf" srcId="{725EEFC7-EA3C-405C-B84E-0BD9CD2B9C6B}" destId="{E9017B8C-2855-4DB8-9786-3D4AC79B91FD}" srcOrd="1" destOrd="0" presId="urn:microsoft.com/office/officeart/2005/8/layout/vList4#2"/>
    <dgm:cxn modelId="{23165C7F-BED0-46AF-B668-D0DF819CD891}" srcId="{C8323156-EA0A-4BE5-A61D-8366114B2877}" destId="{96506D73-8E74-4464-A23B-28F14A7A39B4}" srcOrd="1" destOrd="0" parTransId="{1388A5D7-C3C8-4738-BBB5-FCD9E51741F8}" sibTransId="{866D54D3-43C0-4C9B-A6D5-8C27AF72675C}"/>
    <dgm:cxn modelId="{FD4ADB33-F460-8B4B-B552-247AA01AD363}" type="presOf" srcId="{165F6A90-46C5-419B-80F3-65CDB7AAFAD1}" destId="{6B7FD660-AF99-4D65-811C-844DB326FDF9}" srcOrd="1" destOrd="0" presId="urn:microsoft.com/office/officeart/2005/8/layout/vList4#2"/>
    <dgm:cxn modelId="{E1E85516-5955-1649-B3E2-C96FBE15B08D}" type="presOf" srcId="{C8323156-EA0A-4BE5-A61D-8366114B2877}" destId="{70C5410E-4A05-41C5-9D83-F702C943E782}" srcOrd="0" destOrd="0" presId="urn:microsoft.com/office/officeart/2005/8/layout/vList4#2"/>
    <dgm:cxn modelId="{7A64D587-CF64-DB4E-9619-A839F77CF214}" type="presParOf" srcId="{70C5410E-4A05-41C5-9D83-F702C943E782}" destId="{D6416C5D-1567-43C9-A345-98A5AA7FCF52}" srcOrd="0" destOrd="0" presId="urn:microsoft.com/office/officeart/2005/8/layout/vList4#2"/>
    <dgm:cxn modelId="{9F4CFB85-255B-2A4E-96BD-1EB60DFD2F89}" type="presParOf" srcId="{D6416C5D-1567-43C9-A345-98A5AA7FCF52}" destId="{DD0C8004-ED46-467F-B4BA-1558F759DC31}" srcOrd="0" destOrd="0" presId="urn:microsoft.com/office/officeart/2005/8/layout/vList4#2"/>
    <dgm:cxn modelId="{5C03BD47-5717-6C46-911B-EAFE20197FB4}" type="presParOf" srcId="{D6416C5D-1567-43C9-A345-98A5AA7FCF52}" destId="{C99F9B7D-FA78-4837-956D-E20D0263DEBC}" srcOrd="1" destOrd="0" presId="urn:microsoft.com/office/officeart/2005/8/layout/vList4#2"/>
    <dgm:cxn modelId="{A9C57277-9879-7241-B61E-8DEB114C3416}" type="presParOf" srcId="{D6416C5D-1567-43C9-A345-98A5AA7FCF52}" destId="{E9017B8C-2855-4DB8-9786-3D4AC79B91FD}" srcOrd="2" destOrd="0" presId="urn:microsoft.com/office/officeart/2005/8/layout/vList4#2"/>
    <dgm:cxn modelId="{EFA84A7B-EDC0-1A49-BC47-A232AC7B4258}" type="presParOf" srcId="{70C5410E-4A05-41C5-9D83-F702C943E782}" destId="{70DEFFAE-E63F-4583-8E84-4840A64AB17B}" srcOrd="1" destOrd="0" presId="urn:microsoft.com/office/officeart/2005/8/layout/vList4#2"/>
    <dgm:cxn modelId="{7D50E936-4A6B-7B42-BAFF-74289CC92ECD}" type="presParOf" srcId="{70C5410E-4A05-41C5-9D83-F702C943E782}" destId="{2F74AB6D-556D-4297-A56F-06B86BFA17D7}" srcOrd="2" destOrd="0" presId="urn:microsoft.com/office/officeart/2005/8/layout/vList4#2"/>
    <dgm:cxn modelId="{ED6D4AF9-1C86-3547-9C54-EF0EAB63EEC1}" type="presParOf" srcId="{2F74AB6D-556D-4297-A56F-06B86BFA17D7}" destId="{D543E81B-1A72-4F2A-8089-F67409989E54}" srcOrd="0" destOrd="0" presId="urn:microsoft.com/office/officeart/2005/8/layout/vList4#2"/>
    <dgm:cxn modelId="{81A6E9F8-E0E1-944A-9DD5-B75BEB9AF371}" type="presParOf" srcId="{2F74AB6D-556D-4297-A56F-06B86BFA17D7}" destId="{9528D126-9D30-4226-9045-B73D68B36013}" srcOrd="1" destOrd="0" presId="urn:microsoft.com/office/officeart/2005/8/layout/vList4#2"/>
    <dgm:cxn modelId="{7BD29D89-8426-D642-BF01-49A89216B78A}" type="presParOf" srcId="{2F74AB6D-556D-4297-A56F-06B86BFA17D7}" destId="{20876C80-7165-420F-9FF5-B6F8126615B2}" srcOrd="2" destOrd="0" presId="urn:microsoft.com/office/officeart/2005/8/layout/vList4#2"/>
    <dgm:cxn modelId="{335A2EBD-E56C-0443-985C-440D42603EED}" type="presParOf" srcId="{70C5410E-4A05-41C5-9D83-F702C943E782}" destId="{32262B39-F743-4CD7-B7AB-1D0F26E76735}" srcOrd="3" destOrd="0" presId="urn:microsoft.com/office/officeart/2005/8/layout/vList4#2"/>
    <dgm:cxn modelId="{B3511943-6CE1-1D4D-B097-0465A9911814}" type="presParOf" srcId="{70C5410E-4A05-41C5-9D83-F702C943E782}" destId="{90B03ED9-3AED-4C6E-AC3E-9601A8545B5F}" srcOrd="4" destOrd="0" presId="urn:microsoft.com/office/officeart/2005/8/layout/vList4#2"/>
    <dgm:cxn modelId="{B00068C6-9651-8D45-B8A4-45D18FE70BF8}" type="presParOf" srcId="{90B03ED9-3AED-4C6E-AC3E-9601A8545B5F}" destId="{DF1DC909-40FE-4107-865E-B6FAB36A596F}" srcOrd="0" destOrd="0" presId="urn:microsoft.com/office/officeart/2005/8/layout/vList4#2"/>
    <dgm:cxn modelId="{FD40C48D-B4FB-CC4E-9438-4E22D17CE382}" type="presParOf" srcId="{90B03ED9-3AED-4C6E-AC3E-9601A8545B5F}" destId="{16EB2F58-7900-4D14-9B94-2465A79A9AB2}" srcOrd="1" destOrd="0" presId="urn:microsoft.com/office/officeart/2005/8/layout/vList4#2"/>
    <dgm:cxn modelId="{87A2FA3B-54A6-F146-A986-65CE4E5B15F3}" type="presParOf" srcId="{90B03ED9-3AED-4C6E-AC3E-9601A8545B5F}" destId="{56001D54-92B2-476B-9BFC-3644887EF4DA}" srcOrd="2" destOrd="0" presId="urn:microsoft.com/office/officeart/2005/8/layout/vList4#2"/>
    <dgm:cxn modelId="{21A17020-C2CA-2B49-9BDB-121E88B6BFE1}" type="presParOf" srcId="{70C5410E-4A05-41C5-9D83-F702C943E782}" destId="{CB06F97C-A8FE-4B4A-BBE0-C4667B949EAE}" srcOrd="5" destOrd="0" presId="urn:microsoft.com/office/officeart/2005/8/layout/vList4#2"/>
    <dgm:cxn modelId="{A0AC3A36-85BB-CE44-A802-DBF7FD747E62}" type="presParOf" srcId="{70C5410E-4A05-41C5-9D83-F702C943E782}" destId="{82CDF9D8-9D02-4167-B884-4A7816F1FE07}" srcOrd="6" destOrd="0" presId="urn:microsoft.com/office/officeart/2005/8/layout/vList4#2"/>
    <dgm:cxn modelId="{2C105940-B4C6-2A4B-84F6-530FCF1FDA69}" type="presParOf" srcId="{82CDF9D8-9D02-4167-B884-4A7816F1FE07}" destId="{DBB53092-5DC8-4E93-95D7-354EA229B861}" srcOrd="0" destOrd="0" presId="urn:microsoft.com/office/officeart/2005/8/layout/vList4#2"/>
    <dgm:cxn modelId="{F4687127-168A-F942-ABA0-0BA449711473}" type="presParOf" srcId="{82CDF9D8-9D02-4167-B884-4A7816F1FE07}" destId="{A205C8F2-C292-4B18-A7E0-2ED130499818}" srcOrd="1" destOrd="0" presId="urn:microsoft.com/office/officeart/2005/8/layout/vList4#2"/>
    <dgm:cxn modelId="{FF424C09-0050-764F-99C3-A812436F3347}" type="presParOf" srcId="{82CDF9D8-9D02-4167-B884-4A7816F1FE07}" destId="{6B7FD660-AF99-4D65-811C-844DB326FDF9}" srcOrd="2" destOrd="0" presId="urn:microsoft.com/office/officeart/2005/8/layout/vList4#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EF06459D-46CA-4F25-AB9C-5C0679A188E9}">
      <dsp:nvSpPr>
        <dsp:cNvPr id="0" name=""/>
        <dsp:cNvSpPr/>
      </dsp:nvSpPr>
      <dsp:spPr>
        <a:xfrm>
          <a:off x="0" y="5"/>
          <a:ext cx="7352160" cy="1428754"/>
        </a:xfrm>
        <a:prstGeom prst="roundRect">
          <a:avLst/>
        </a:prstGeom>
        <a:solidFill>
          <a:schemeClr val="accent1">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pt-BR" sz="1800" b="1" kern="1200" dirty="0" smtClean="0">
              <a:latin typeface="+mn-lt"/>
            </a:rPr>
            <a:t>Unem o trabalho com foco na melhoria da qualidade dos serviços e a transparência na comunicação com o cliente, para trazer visibilidade das ações realizadas, entregas e conquistas.</a:t>
          </a:r>
          <a:endParaRPr lang="pt-BR" sz="1800" b="1" kern="1200" dirty="0">
            <a:latin typeface="+mn-lt"/>
          </a:endParaRPr>
        </a:p>
      </dsp:txBody>
      <dsp:txXfrm>
        <a:off x="0" y="5"/>
        <a:ext cx="7352160" cy="1428754"/>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DD0C8004-ED46-467F-B4BA-1558F759DC31}">
      <dsp:nvSpPr>
        <dsp:cNvPr id="0" name=""/>
        <dsp:cNvSpPr/>
      </dsp:nvSpPr>
      <dsp:spPr>
        <a:xfrm>
          <a:off x="0" y="0"/>
          <a:ext cx="7940303" cy="1079244"/>
        </a:xfrm>
        <a:prstGeom prst="roundRect">
          <a:avLst>
            <a:gd name="adj" fmla="val 10000"/>
          </a:avLst>
        </a:prstGeom>
        <a:solidFill>
          <a:schemeClr val="accent1">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just" defTabSz="711200" rtl="0">
            <a:lnSpc>
              <a:spcPct val="90000"/>
            </a:lnSpc>
            <a:spcBef>
              <a:spcPct val="0"/>
            </a:spcBef>
            <a:spcAft>
              <a:spcPct val="35000"/>
            </a:spcAft>
          </a:pPr>
          <a:r>
            <a:rPr lang="pt-BR" sz="1600" b="1" kern="1200" dirty="0" smtClean="0">
              <a:latin typeface="Candara" pitchFamily="34" charset="0"/>
            </a:rPr>
            <a:t>Modernização das ferramentas de gestão de CRM: </a:t>
          </a:r>
          <a:r>
            <a:rPr lang="pt-BR" sz="1600" kern="1200" dirty="0" smtClean="0">
              <a:latin typeface="Candara" pitchFamily="34" charset="0"/>
            </a:rPr>
            <a:t>Siebel e IPCC, cases de sucessos em outros países, que agilizarão o atendimento das demandas com interfaces mais intuitivas para os consultores.</a:t>
          </a:r>
          <a:endParaRPr lang="pt-BR" sz="1600" kern="1200" dirty="0">
            <a:latin typeface="Candara" pitchFamily="34" charset="0"/>
          </a:endParaRPr>
        </a:p>
      </dsp:txBody>
      <dsp:txXfrm>
        <a:off x="1695985" y="0"/>
        <a:ext cx="6244317" cy="1079244"/>
      </dsp:txXfrm>
    </dsp:sp>
    <dsp:sp modelId="{C99F9B7D-FA78-4837-956D-E20D0263DEBC}">
      <dsp:nvSpPr>
        <dsp:cNvPr id="0" name=""/>
        <dsp:cNvSpPr/>
      </dsp:nvSpPr>
      <dsp:spPr>
        <a:xfrm>
          <a:off x="107924" y="107924"/>
          <a:ext cx="1588060" cy="863395"/>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543E81B-1A72-4F2A-8089-F67409989E54}">
      <dsp:nvSpPr>
        <dsp:cNvPr id="0" name=""/>
        <dsp:cNvSpPr/>
      </dsp:nvSpPr>
      <dsp:spPr>
        <a:xfrm>
          <a:off x="0" y="1187168"/>
          <a:ext cx="7940303" cy="1079244"/>
        </a:xfrm>
        <a:prstGeom prst="roundRect">
          <a:avLst>
            <a:gd name="adj" fmla="val 10000"/>
          </a:avLst>
        </a:prstGeom>
        <a:solidFill>
          <a:schemeClr val="accent1">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just" defTabSz="711200" rtl="0">
            <a:lnSpc>
              <a:spcPct val="90000"/>
            </a:lnSpc>
            <a:spcBef>
              <a:spcPct val="0"/>
            </a:spcBef>
            <a:spcAft>
              <a:spcPct val="35000"/>
            </a:spcAft>
          </a:pPr>
          <a:r>
            <a:rPr lang="pt-BR" sz="1600" b="1" kern="1200" dirty="0" smtClean="0">
              <a:latin typeface="Candara" pitchFamily="34" charset="0"/>
            </a:rPr>
            <a:t>Estratégia de multicanalidade: </a:t>
          </a:r>
          <a:r>
            <a:rPr lang="pt-BR" sz="1600" kern="1200" dirty="0" smtClean="0">
              <a:latin typeface="Candara" pitchFamily="34" charset="0"/>
            </a:rPr>
            <a:t>ampliação dos canais de relacionamento com o cliente para facilitar o contato. </a:t>
          </a:r>
          <a:endParaRPr lang="pt-BR" sz="1600" kern="1200" dirty="0">
            <a:latin typeface="Candara" pitchFamily="34" charset="0"/>
          </a:endParaRPr>
        </a:p>
      </dsp:txBody>
      <dsp:txXfrm>
        <a:off x="1695985" y="1187168"/>
        <a:ext cx="6244317" cy="1079244"/>
      </dsp:txXfrm>
    </dsp:sp>
    <dsp:sp modelId="{9528D126-9D30-4226-9045-B73D68B36013}">
      <dsp:nvSpPr>
        <dsp:cNvPr id="0" name=""/>
        <dsp:cNvSpPr/>
      </dsp:nvSpPr>
      <dsp:spPr>
        <a:xfrm>
          <a:off x="107924" y="1295092"/>
          <a:ext cx="1588060" cy="863395"/>
        </a:xfrm>
        <a:prstGeom prst="roundRect">
          <a:avLst>
            <a:gd name="adj" fmla="val 10000"/>
          </a:avLst>
        </a:prstGeom>
        <a:blipFill rotWithShape="0">
          <a:blip xmlns:r="http://schemas.openxmlformats.org/officeDocument/2006/relationships" r:embed="rId2"/>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F1DC909-40FE-4107-865E-B6FAB36A596F}">
      <dsp:nvSpPr>
        <dsp:cNvPr id="0" name=""/>
        <dsp:cNvSpPr/>
      </dsp:nvSpPr>
      <dsp:spPr>
        <a:xfrm>
          <a:off x="0" y="2374336"/>
          <a:ext cx="7940303" cy="1079244"/>
        </a:xfrm>
        <a:prstGeom prst="roundRect">
          <a:avLst>
            <a:gd name="adj" fmla="val 10000"/>
          </a:avLst>
        </a:prstGeom>
        <a:solidFill>
          <a:schemeClr val="accent1">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just" defTabSz="711200" rtl="0">
            <a:lnSpc>
              <a:spcPct val="90000"/>
            </a:lnSpc>
            <a:spcBef>
              <a:spcPct val="0"/>
            </a:spcBef>
            <a:spcAft>
              <a:spcPct val="35000"/>
            </a:spcAft>
          </a:pPr>
          <a:r>
            <a:rPr lang="pt-BR" sz="1600" b="1" kern="1200" dirty="0" smtClean="0">
              <a:latin typeface="Candara" pitchFamily="34" charset="0"/>
            </a:rPr>
            <a:t>Renovação da URA: </a:t>
          </a:r>
          <a:r>
            <a:rPr lang="pt-BR" sz="1600" kern="1200" dirty="0" smtClean="0">
              <a:latin typeface="Candara" pitchFamily="34" charset="0"/>
            </a:rPr>
            <a:t>novo menu de atendimento no call center, que permite resolução de demandas sem necessidade de falar com atendente. Humanização da URA.</a:t>
          </a:r>
          <a:endParaRPr lang="pt-BR" sz="1600" kern="1200" dirty="0">
            <a:latin typeface="Candara" pitchFamily="34" charset="0"/>
          </a:endParaRPr>
        </a:p>
      </dsp:txBody>
      <dsp:txXfrm>
        <a:off x="1695985" y="2374336"/>
        <a:ext cx="6244317" cy="1079244"/>
      </dsp:txXfrm>
    </dsp:sp>
    <dsp:sp modelId="{16EB2F58-7900-4D14-9B94-2465A79A9AB2}">
      <dsp:nvSpPr>
        <dsp:cNvPr id="0" name=""/>
        <dsp:cNvSpPr/>
      </dsp:nvSpPr>
      <dsp:spPr>
        <a:xfrm>
          <a:off x="107924" y="2482261"/>
          <a:ext cx="1588060" cy="863395"/>
        </a:xfrm>
        <a:prstGeom prst="roundRect">
          <a:avLst>
            <a:gd name="adj" fmla="val 10000"/>
          </a:avLst>
        </a:prstGeom>
        <a:blipFill rotWithShape="0">
          <a:blip xmlns:r="http://schemas.openxmlformats.org/officeDocument/2006/relationships" r:embed="rId3"/>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BB53092-5DC8-4E93-95D7-354EA229B861}">
      <dsp:nvSpPr>
        <dsp:cNvPr id="0" name=""/>
        <dsp:cNvSpPr/>
      </dsp:nvSpPr>
      <dsp:spPr>
        <a:xfrm>
          <a:off x="0" y="3561505"/>
          <a:ext cx="7940303" cy="1079244"/>
        </a:xfrm>
        <a:prstGeom prst="roundRect">
          <a:avLst>
            <a:gd name="adj" fmla="val 10000"/>
          </a:avLst>
        </a:prstGeom>
        <a:solidFill>
          <a:schemeClr val="accent1">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just" defTabSz="711200" rtl="0">
            <a:lnSpc>
              <a:spcPct val="90000"/>
            </a:lnSpc>
            <a:spcBef>
              <a:spcPct val="0"/>
            </a:spcBef>
            <a:spcAft>
              <a:spcPct val="35000"/>
            </a:spcAft>
          </a:pPr>
          <a:r>
            <a:rPr lang="pt-BR" sz="1600" b="1" kern="1200" dirty="0" smtClean="0">
              <a:latin typeface="Candara" pitchFamily="34" charset="0"/>
            </a:rPr>
            <a:t>Atuação preventiva: b</a:t>
          </a:r>
          <a:r>
            <a:rPr lang="pt-BR" sz="1600" kern="1200" dirty="0" smtClean="0"/>
            <a:t>uscar entender as demandas junto aos Procons para aprimorar o atendimento. Canal dedicado aos órgãos (0800 Procon), que garante agilidade ao tratamento das reclamações</a:t>
          </a:r>
          <a:r>
            <a:rPr lang="pt-BR" sz="1600" b="0" kern="1200" dirty="0" smtClean="0">
              <a:latin typeface="Candara" pitchFamily="34" charset="0"/>
            </a:rPr>
            <a:t>. </a:t>
          </a:r>
          <a:endParaRPr lang="pt-BR" sz="1600" kern="1200" dirty="0">
            <a:latin typeface="Candara" pitchFamily="34" charset="0"/>
          </a:endParaRPr>
        </a:p>
      </dsp:txBody>
      <dsp:txXfrm>
        <a:off x="1695985" y="3561505"/>
        <a:ext cx="6244317" cy="1079244"/>
      </dsp:txXfrm>
    </dsp:sp>
    <dsp:sp modelId="{A205C8F2-C292-4B18-A7E0-2ED130499818}">
      <dsp:nvSpPr>
        <dsp:cNvPr id="0" name=""/>
        <dsp:cNvSpPr/>
      </dsp:nvSpPr>
      <dsp:spPr>
        <a:xfrm>
          <a:off x="107924" y="3669429"/>
          <a:ext cx="1588060" cy="863395"/>
        </a:xfrm>
        <a:prstGeom prst="roundRect">
          <a:avLst>
            <a:gd name="adj" fmla="val 10000"/>
          </a:avLst>
        </a:prstGeom>
        <a:blipFill rotWithShape="0">
          <a:blip xmlns:r="http://schemas.openxmlformats.org/officeDocument/2006/relationships" r:embed="rId4"/>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4#2">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5.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5.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5.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5.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769346" name="Rectangle 2"/>
          <p:cNvSpPr>
            <a:spLocks noGrp="1" noChangeArrowheads="1"/>
          </p:cNvSpPr>
          <p:nvPr>
            <p:ph type="hdr" sz="quarter"/>
          </p:nvPr>
        </p:nvSpPr>
        <p:spPr bwMode="auto">
          <a:xfrm>
            <a:off x="1" y="0"/>
            <a:ext cx="2946275" cy="496672"/>
          </a:xfrm>
          <a:prstGeom prst="rect">
            <a:avLst/>
          </a:prstGeom>
          <a:noFill/>
          <a:ln w="9525">
            <a:noFill/>
            <a:miter lim="800000"/>
            <a:headEnd/>
            <a:tailEnd/>
          </a:ln>
        </p:spPr>
        <p:txBody>
          <a:bodyPr vert="horz" wrap="square" lIns="91266" tIns="45636" rIns="91266" bIns="45636" numCol="1" anchor="t" anchorCtr="0" compatLnSpc="1">
            <a:prstTxWarp prst="textNoShape">
              <a:avLst/>
            </a:prstTxWarp>
          </a:bodyPr>
          <a:lstStyle>
            <a:lvl1pPr defTabSz="912813" eaLnBrk="0" hangingPunct="0">
              <a:defRPr sz="1200" b="0" i="1">
                <a:latin typeface="Franklin Gothic Medium" charset="0"/>
              </a:defRPr>
            </a:lvl1pPr>
          </a:lstStyle>
          <a:p>
            <a:pPr>
              <a:defRPr/>
            </a:pPr>
            <a:endParaRPr lang="pt-BR"/>
          </a:p>
        </p:txBody>
      </p:sp>
      <p:sp>
        <p:nvSpPr>
          <p:cNvPr id="3769347" name="Rectangle 3"/>
          <p:cNvSpPr>
            <a:spLocks noGrp="1" noChangeArrowheads="1"/>
          </p:cNvSpPr>
          <p:nvPr>
            <p:ph type="dt" sz="quarter" idx="1"/>
          </p:nvPr>
        </p:nvSpPr>
        <p:spPr bwMode="auto">
          <a:xfrm>
            <a:off x="3851401" y="0"/>
            <a:ext cx="2944736" cy="496672"/>
          </a:xfrm>
          <a:prstGeom prst="rect">
            <a:avLst/>
          </a:prstGeom>
          <a:noFill/>
          <a:ln w="9525">
            <a:noFill/>
            <a:miter lim="800000"/>
            <a:headEnd/>
            <a:tailEnd/>
          </a:ln>
        </p:spPr>
        <p:txBody>
          <a:bodyPr vert="horz" wrap="square" lIns="91266" tIns="45636" rIns="91266" bIns="45636" numCol="1" anchor="t" anchorCtr="0" compatLnSpc="1">
            <a:prstTxWarp prst="textNoShape">
              <a:avLst/>
            </a:prstTxWarp>
          </a:bodyPr>
          <a:lstStyle>
            <a:lvl1pPr algn="r" defTabSz="912813" eaLnBrk="0" hangingPunct="0">
              <a:defRPr sz="1200" b="0" i="1">
                <a:latin typeface="Franklin Gothic Medium" charset="0"/>
              </a:defRPr>
            </a:lvl1pPr>
          </a:lstStyle>
          <a:p>
            <a:pPr>
              <a:defRPr/>
            </a:pPr>
            <a:fld id="{1FFC9378-A6F8-4908-AAEB-5536FA94D4B4}" type="datetime1">
              <a:rPr lang="en-US"/>
              <a:pPr>
                <a:defRPr/>
              </a:pPr>
              <a:t>10/31/2013</a:t>
            </a:fld>
            <a:endParaRPr lang="en-US"/>
          </a:p>
        </p:txBody>
      </p:sp>
      <p:sp>
        <p:nvSpPr>
          <p:cNvPr id="3769348" name="Rectangle 4"/>
          <p:cNvSpPr>
            <a:spLocks noGrp="1" noChangeArrowheads="1"/>
          </p:cNvSpPr>
          <p:nvPr>
            <p:ph type="ftr" sz="quarter" idx="2"/>
          </p:nvPr>
        </p:nvSpPr>
        <p:spPr bwMode="auto">
          <a:xfrm>
            <a:off x="1" y="9428272"/>
            <a:ext cx="2946275" cy="496672"/>
          </a:xfrm>
          <a:prstGeom prst="rect">
            <a:avLst/>
          </a:prstGeom>
          <a:noFill/>
          <a:ln w="9525">
            <a:noFill/>
            <a:miter lim="800000"/>
            <a:headEnd/>
            <a:tailEnd/>
          </a:ln>
        </p:spPr>
        <p:txBody>
          <a:bodyPr vert="horz" wrap="square" lIns="91266" tIns="45636" rIns="91266" bIns="45636" numCol="1" anchor="b" anchorCtr="0" compatLnSpc="1">
            <a:prstTxWarp prst="textNoShape">
              <a:avLst/>
            </a:prstTxWarp>
          </a:bodyPr>
          <a:lstStyle>
            <a:lvl1pPr defTabSz="912813" eaLnBrk="0" hangingPunct="0">
              <a:defRPr sz="1200" b="0" i="1">
                <a:latin typeface="Franklin Gothic Medium" charset="0"/>
              </a:defRPr>
            </a:lvl1pPr>
          </a:lstStyle>
          <a:p>
            <a:pPr>
              <a:defRPr/>
            </a:pPr>
            <a:endParaRPr lang="pt-BR"/>
          </a:p>
        </p:txBody>
      </p:sp>
      <p:sp>
        <p:nvSpPr>
          <p:cNvPr id="3769349" name="Rectangle 5"/>
          <p:cNvSpPr>
            <a:spLocks noGrp="1" noChangeArrowheads="1"/>
          </p:cNvSpPr>
          <p:nvPr>
            <p:ph type="sldNum" sz="quarter" idx="3"/>
          </p:nvPr>
        </p:nvSpPr>
        <p:spPr bwMode="auto">
          <a:xfrm>
            <a:off x="3851401" y="9428272"/>
            <a:ext cx="2944736" cy="496672"/>
          </a:xfrm>
          <a:prstGeom prst="rect">
            <a:avLst/>
          </a:prstGeom>
          <a:noFill/>
          <a:ln w="9525">
            <a:noFill/>
            <a:miter lim="800000"/>
            <a:headEnd/>
            <a:tailEnd/>
          </a:ln>
        </p:spPr>
        <p:txBody>
          <a:bodyPr vert="horz" wrap="square" lIns="91266" tIns="45636" rIns="91266" bIns="45636" numCol="1" anchor="b" anchorCtr="0" compatLnSpc="1">
            <a:prstTxWarp prst="textNoShape">
              <a:avLst/>
            </a:prstTxWarp>
          </a:bodyPr>
          <a:lstStyle>
            <a:lvl1pPr algn="r" defTabSz="912813" eaLnBrk="0" hangingPunct="0">
              <a:defRPr sz="1200" b="0" i="1">
                <a:latin typeface="Franklin Gothic Medium" charset="0"/>
              </a:defRPr>
            </a:lvl1pPr>
          </a:lstStyle>
          <a:p>
            <a:pPr>
              <a:defRPr/>
            </a:pPr>
            <a:fld id="{E7CAB927-6D17-4F02-ACCA-1528BAC45741}" type="slidenum">
              <a:rPr lang="en-US"/>
              <a:pPr>
                <a:defRPr/>
              </a:pPr>
              <a:t>‹nº›</a:t>
            </a:fld>
            <a:endParaRPr lang="en-US"/>
          </a:p>
        </p:txBody>
      </p:sp>
    </p:spTree>
    <p:extLst>
      <p:ext uri="{BB962C8B-B14F-4D97-AF65-F5344CB8AC3E}">
        <p14:creationId xmlns="" xmlns:p14="http://schemas.microsoft.com/office/powerpoint/2010/main" val="3665549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668994" name="Rectangle 2"/>
          <p:cNvSpPr>
            <a:spLocks noGrp="1" noChangeArrowheads="1"/>
          </p:cNvSpPr>
          <p:nvPr>
            <p:ph type="hdr" sz="quarter"/>
          </p:nvPr>
        </p:nvSpPr>
        <p:spPr bwMode="auto">
          <a:xfrm>
            <a:off x="1" y="0"/>
            <a:ext cx="2946275" cy="496672"/>
          </a:xfrm>
          <a:prstGeom prst="rect">
            <a:avLst/>
          </a:prstGeom>
          <a:noFill/>
          <a:ln w="9525">
            <a:noFill/>
            <a:miter lim="800000"/>
            <a:headEnd/>
            <a:tailEnd/>
          </a:ln>
        </p:spPr>
        <p:txBody>
          <a:bodyPr vert="horz" wrap="square" lIns="91266" tIns="45636" rIns="91266" bIns="45636" numCol="1" anchor="t" anchorCtr="0" compatLnSpc="1">
            <a:prstTxWarp prst="textNoShape">
              <a:avLst/>
            </a:prstTxWarp>
          </a:bodyPr>
          <a:lstStyle>
            <a:lvl1pPr defTabSz="912813" eaLnBrk="0" hangingPunct="0">
              <a:defRPr sz="1200" b="0" i="1">
                <a:latin typeface="Franklin Gothic Medium" charset="0"/>
              </a:defRPr>
            </a:lvl1pPr>
          </a:lstStyle>
          <a:p>
            <a:pPr>
              <a:defRPr/>
            </a:pPr>
            <a:endParaRPr lang="pt-BR"/>
          </a:p>
        </p:txBody>
      </p:sp>
      <p:sp>
        <p:nvSpPr>
          <p:cNvPr id="3668995" name="Rectangle 3"/>
          <p:cNvSpPr>
            <a:spLocks noGrp="1" noChangeArrowheads="1"/>
          </p:cNvSpPr>
          <p:nvPr>
            <p:ph type="dt" idx="1"/>
          </p:nvPr>
        </p:nvSpPr>
        <p:spPr bwMode="auto">
          <a:xfrm>
            <a:off x="3851401" y="0"/>
            <a:ext cx="2944736" cy="496672"/>
          </a:xfrm>
          <a:prstGeom prst="rect">
            <a:avLst/>
          </a:prstGeom>
          <a:noFill/>
          <a:ln w="9525">
            <a:noFill/>
            <a:miter lim="800000"/>
            <a:headEnd/>
            <a:tailEnd/>
          </a:ln>
        </p:spPr>
        <p:txBody>
          <a:bodyPr vert="horz" wrap="square" lIns="91266" tIns="45636" rIns="91266" bIns="45636" numCol="1" anchor="t" anchorCtr="0" compatLnSpc="1">
            <a:prstTxWarp prst="textNoShape">
              <a:avLst/>
            </a:prstTxWarp>
          </a:bodyPr>
          <a:lstStyle>
            <a:lvl1pPr algn="r" defTabSz="912813" eaLnBrk="0" hangingPunct="0">
              <a:defRPr sz="1200" b="0" i="1">
                <a:latin typeface="Franklin Gothic Medium" charset="0"/>
              </a:defRPr>
            </a:lvl1pPr>
          </a:lstStyle>
          <a:p>
            <a:pPr>
              <a:defRPr/>
            </a:pPr>
            <a:fld id="{7C28539F-BA2D-4229-8CFB-3FB4C0984583}" type="datetime1">
              <a:rPr lang="en-US"/>
              <a:pPr>
                <a:defRPr/>
              </a:pPr>
              <a:t>10/31/2013</a:t>
            </a:fld>
            <a:endParaRPr lang="en-US"/>
          </a:p>
        </p:txBody>
      </p:sp>
      <p:sp>
        <p:nvSpPr>
          <p:cNvPr id="3668997" name="Rectangle 5"/>
          <p:cNvSpPr>
            <a:spLocks noGrp="1" noChangeArrowheads="1"/>
          </p:cNvSpPr>
          <p:nvPr>
            <p:ph type="body" sz="quarter" idx="3"/>
          </p:nvPr>
        </p:nvSpPr>
        <p:spPr bwMode="auto">
          <a:xfrm>
            <a:off x="680385" y="4715833"/>
            <a:ext cx="5436908" cy="4464953"/>
          </a:xfrm>
          <a:prstGeom prst="rect">
            <a:avLst/>
          </a:prstGeom>
          <a:noFill/>
          <a:ln w="9525">
            <a:noFill/>
            <a:miter lim="800000"/>
            <a:headEnd/>
            <a:tailEnd/>
          </a:ln>
        </p:spPr>
        <p:txBody>
          <a:bodyPr vert="horz" wrap="square" lIns="91266" tIns="45636" rIns="91266" bIns="4563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3668998" name="Rectangle 6"/>
          <p:cNvSpPr>
            <a:spLocks noGrp="1" noChangeArrowheads="1"/>
          </p:cNvSpPr>
          <p:nvPr>
            <p:ph type="ftr" sz="quarter" idx="4"/>
          </p:nvPr>
        </p:nvSpPr>
        <p:spPr bwMode="auto">
          <a:xfrm>
            <a:off x="1" y="9428272"/>
            <a:ext cx="2946275" cy="496672"/>
          </a:xfrm>
          <a:prstGeom prst="rect">
            <a:avLst/>
          </a:prstGeom>
          <a:noFill/>
          <a:ln w="9525">
            <a:noFill/>
            <a:miter lim="800000"/>
            <a:headEnd/>
            <a:tailEnd/>
          </a:ln>
        </p:spPr>
        <p:txBody>
          <a:bodyPr vert="horz" wrap="square" lIns="91266" tIns="45636" rIns="91266" bIns="45636" numCol="1" anchor="b" anchorCtr="0" compatLnSpc="1">
            <a:prstTxWarp prst="textNoShape">
              <a:avLst/>
            </a:prstTxWarp>
          </a:bodyPr>
          <a:lstStyle>
            <a:lvl1pPr defTabSz="912813" eaLnBrk="0" hangingPunct="0">
              <a:defRPr sz="1200" b="0" i="1">
                <a:latin typeface="Franklin Gothic Medium" charset="0"/>
              </a:defRPr>
            </a:lvl1pPr>
          </a:lstStyle>
          <a:p>
            <a:pPr>
              <a:defRPr/>
            </a:pPr>
            <a:endParaRPr lang="pt-BR"/>
          </a:p>
        </p:txBody>
      </p:sp>
      <p:sp>
        <p:nvSpPr>
          <p:cNvPr id="3668999" name="Rectangle 7"/>
          <p:cNvSpPr>
            <a:spLocks noGrp="1" noChangeArrowheads="1"/>
          </p:cNvSpPr>
          <p:nvPr>
            <p:ph type="sldNum" sz="quarter" idx="5"/>
          </p:nvPr>
        </p:nvSpPr>
        <p:spPr bwMode="auto">
          <a:xfrm>
            <a:off x="3851401" y="9428272"/>
            <a:ext cx="2944736" cy="496672"/>
          </a:xfrm>
          <a:prstGeom prst="rect">
            <a:avLst/>
          </a:prstGeom>
          <a:noFill/>
          <a:ln w="9525">
            <a:noFill/>
            <a:miter lim="800000"/>
            <a:headEnd/>
            <a:tailEnd/>
          </a:ln>
        </p:spPr>
        <p:txBody>
          <a:bodyPr vert="horz" wrap="square" lIns="91266" tIns="45636" rIns="91266" bIns="45636" numCol="1" anchor="b" anchorCtr="0" compatLnSpc="1">
            <a:prstTxWarp prst="textNoShape">
              <a:avLst/>
            </a:prstTxWarp>
          </a:bodyPr>
          <a:lstStyle>
            <a:lvl1pPr algn="r" defTabSz="912813" eaLnBrk="0" hangingPunct="0">
              <a:defRPr sz="1200" b="0" i="1">
                <a:latin typeface="Franklin Gothic Medium" charset="0"/>
              </a:defRPr>
            </a:lvl1pPr>
          </a:lstStyle>
          <a:p>
            <a:pPr>
              <a:defRPr/>
            </a:pPr>
            <a:fld id="{8400F4A0-681F-4A17-B1FD-605D3AD41D6D}" type="slidenum">
              <a:rPr lang="en-US"/>
              <a:pPr>
                <a:defRPr/>
              </a:pPr>
              <a:t>‹nº›</a:t>
            </a:fld>
            <a:endParaRPr lang="en-US"/>
          </a:p>
        </p:txBody>
      </p:sp>
    </p:spTree>
    <p:extLst>
      <p:ext uri="{BB962C8B-B14F-4D97-AF65-F5344CB8AC3E}">
        <p14:creationId xmlns="" xmlns:p14="http://schemas.microsoft.com/office/powerpoint/2010/main" val="3503469967"/>
      </p:ext>
    </p:extLst>
  </p:cSld>
  <p:clrMap bg1="lt1" tx1="dk1" bg2="lt2" tx2="dk2" accent1="accent1" accent2="accent2" accent3="accent3" accent4="accent4" accent5="accent5" accent6="accent6" hlink="hlink" folHlink="folHlink"/>
  <p:notesStyle>
    <a:lvl1pPr algn="l" defTabSz="933450" rtl="0" eaLnBrk="0" fontAlgn="base" hangingPunct="0">
      <a:spcBef>
        <a:spcPct val="30000"/>
      </a:spcBef>
      <a:spcAft>
        <a:spcPct val="0"/>
      </a:spcAft>
      <a:defRPr kumimoji="1" sz="1200" kern="1200">
        <a:solidFill>
          <a:schemeClr val="tx1"/>
        </a:solidFill>
        <a:latin typeface="Franklin Gothic Medium" pitchFamily="34" charset="0"/>
        <a:ea typeface="ＭＳ Ｐゴシック" charset="-128"/>
        <a:cs typeface="ＭＳ Ｐゴシック"/>
      </a:defRPr>
    </a:lvl1pPr>
    <a:lvl2pPr marL="461963" indent="-4763" algn="l" defTabSz="933450" rtl="0" eaLnBrk="0" fontAlgn="base" hangingPunct="0">
      <a:spcBef>
        <a:spcPct val="30000"/>
      </a:spcBef>
      <a:spcAft>
        <a:spcPct val="0"/>
      </a:spcAft>
      <a:defRPr kumimoji="1" sz="1200" kern="1200">
        <a:solidFill>
          <a:schemeClr val="tx1"/>
        </a:solidFill>
        <a:latin typeface="Franklin Gothic Medium" pitchFamily="34" charset="0"/>
        <a:ea typeface="ＭＳ Ｐゴシック" charset="-128"/>
        <a:cs typeface="ＭＳ Ｐゴシック"/>
      </a:defRPr>
    </a:lvl2pPr>
    <a:lvl3pPr marL="923925" indent="-9525" algn="l" defTabSz="933450" rtl="0" eaLnBrk="0" fontAlgn="base" hangingPunct="0">
      <a:spcBef>
        <a:spcPct val="30000"/>
      </a:spcBef>
      <a:spcAft>
        <a:spcPct val="0"/>
      </a:spcAft>
      <a:defRPr kumimoji="1" sz="1200" kern="1200">
        <a:solidFill>
          <a:schemeClr val="tx1"/>
        </a:solidFill>
        <a:latin typeface="Franklin Gothic Medium" pitchFamily="34" charset="0"/>
        <a:ea typeface="ＭＳ Ｐゴシック" charset="-128"/>
        <a:cs typeface="ＭＳ Ｐゴシック"/>
      </a:defRPr>
    </a:lvl3pPr>
    <a:lvl4pPr marL="1387475" indent="-15875" algn="l" defTabSz="933450" rtl="0" eaLnBrk="0" fontAlgn="base" hangingPunct="0">
      <a:spcBef>
        <a:spcPct val="30000"/>
      </a:spcBef>
      <a:spcAft>
        <a:spcPct val="0"/>
      </a:spcAft>
      <a:defRPr kumimoji="1" sz="1200" kern="1200">
        <a:solidFill>
          <a:schemeClr val="tx1"/>
        </a:solidFill>
        <a:latin typeface="Franklin Gothic Medium" pitchFamily="34" charset="0"/>
        <a:ea typeface="ＭＳ Ｐゴシック" charset="-128"/>
        <a:cs typeface="ＭＳ Ｐゴシック"/>
      </a:defRPr>
    </a:lvl4pPr>
    <a:lvl5pPr marL="1849438" indent="-20638" algn="l" defTabSz="933450" rtl="0" eaLnBrk="0" fontAlgn="base" hangingPunct="0">
      <a:spcBef>
        <a:spcPct val="30000"/>
      </a:spcBef>
      <a:spcAft>
        <a:spcPct val="0"/>
      </a:spcAft>
      <a:defRPr kumimoji="1" sz="1200" kern="1200">
        <a:solidFill>
          <a:schemeClr val="tx1"/>
        </a:solidFill>
        <a:latin typeface="Franklin Gothic Medium" pitchFamily="34" charset="0"/>
        <a:ea typeface="ＭＳ Ｐゴシック" charset="-128"/>
        <a:cs typeface="ＭＳ Ｐゴシック"/>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Rot="1" noChangeAspect="1" noChangeArrowheads="1" noTextEdit="1"/>
          </p:cNvSpPr>
          <p:nvPr>
            <p:ph type="sldImg"/>
          </p:nvPr>
        </p:nvSpPr>
        <p:spPr>
          <a:xfrm>
            <a:off x="711200" y="744538"/>
            <a:ext cx="5375275" cy="3722687"/>
          </a:xfrm>
          <a:prstGeom prst="rect">
            <a:avLst/>
          </a:prstGeom>
          <a:ln/>
        </p:spPr>
      </p:sp>
      <p:sp>
        <p:nvSpPr>
          <p:cNvPr id="27651" name="Rectangle 3"/>
          <p:cNvSpPr>
            <a:spLocks noGrp="1" noChangeArrowheads="1"/>
          </p:cNvSpPr>
          <p:nvPr>
            <p:ph type="body" idx="1"/>
          </p:nvPr>
        </p:nvSpPr>
        <p:spPr>
          <a:noFill/>
          <a:ln/>
        </p:spPr>
        <p:txBody>
          <a:bodyPr/>
          <a:lstStyle/>
          <a:p>
            <a:pPr eaLnBrk="1" hangingPunct="1"/>
            <a:endParaRPr lang="pt-BR" dirty="0" smtClean="0">
              <a:latin typeface="Calibri" pitchFamily="34" charset="0"/>
              <a:ea typeface="ＭＳ Ｐゴシック" pitchFamily="-84" charset="-128"/>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6863" cy="3722687"/>
          </a:xfrm>
          <a:prstGeom prst="rect">
            <a:avLst/>
          </a:prstGeom>
        </p:spPr>
      </p:sp>
      <p:sp>
        <p:nvSpPr>
          <p:cNvPr id="3" name="Notes Placeholder 2"/>
          <p:cNvSpPr>
            <a:spLocks noGrp="1"/>
          </p:cNvSpPr>
          <p:nvPr>
            <p:ph type="body" idx="1"/>
          </p:nvPr>
        </p:nvSpPr>
        <p:spPr/>
        <p:txBody>
          <a:bodyPr/>
          <a:lstStyle/>
          <a:p>
            <a:r>
              <a:rPr lang="pt-BR" noProof="0" dirty="0" smtClean="0"/>
              <a:t>Evolução</a:t>
            </a:r>
            <a:r>
              <a:rPr lang="pt-BR" baseline="0" noProof="0" dirty="0" smtClean="0"/>
              <a:t> da resiliência da rede LD, tendo como objetivo nos principais centro mais de duas vias.</a:t>
            </a:r>
            <a:endParaRPr lang="pt-BR" noProof="0" dirty="0"/>
          </a:p>
        </p:txBody>
      </p:sp>
      <p:sp>
        <p:nvSpPr>
          <p:cNvPr id="4" name="Slide Number Placeholder 3"/>
          <p:cNvSpPr>
            <a:spLocks noGrp="1"/>
          </p:cNvSpPr>
          <p:nvPr>
            <p:ph type="sldNum" sz="quarter" idx="10"/>
          </p:nvPr>
        </p:nvSpPr>
        <p:spPr/>
        <p:txBody>
          <a:bodyPr/>
          <a:lstStyle/>
          <a:p>
            <a:pPr>
              <a:defRPr/>
            </a:pPr>
            <a:fld id="{8400F4A0-681F-4A17-B1FD-605D3AD41D6D}" type="slidenum">
              <a:rPr lang="en-US" smtClean="0"/>
              <a:pPr>
                <a:defRPr/>
              </a:pPr>
              <a:t>15</a:t>
            </a:fld>
            <a:endParaRPr lang="en-US" dirty="0"/>
          </a:p>
        </p:txBody>
      </p:sp>
    </p:spTree>
    <p:extLst>
      <p:ext uri="{BB962C8B-B14F-4D97-AF65-F5344CB8AC3E}">
        <p14:creationId xmlns="" xmlns:p14="http://schemas.microsoft.com/office/powerpoint/2010/main" val="28547751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6125"/>
            <a:ext cx="5373687" cy="3721100"/>
          </a:xfrm>
          <a:prstGeom prst="rect">
            <a:avLst/>
          </a:prstGeo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400F4A0-681F-4A17-B1FD-605D3AD41D6D}" type="slidenum">
              <a:rPr lang="en-US" smtClean="0"/>
              <a:pPr>
                <a:defRPr/>
              </a:pPr>
              <a:t>16</a:t>
            </a:fld>
            <a:endParaRPr lang="en-US"/>
          </a:p>
        </p:txBody>
      </p:sp>
    </p:spTree>
    <p:extLst>
      <p:ext uri="{BB962C8B-B14F-4D97-AF65-F5344CB8AC3E}">
        <p14:creationId xmlns="" xmlns:p14="http://schemas.microsoft.com/office/powerpoint/2010/main" val="28547751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6125"/>
            <a:ext cx="5373687" cy="3721100"/>
          </a:xfrm>
          <a:prstGeom prst="rect">
            <a:avLst/>
          </a:prstGeo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400F4A0-681F-4A17-B1FD-605D3AD41D6D}" type="slidenum">
              <a:rPr lang="en-US" smtClean="0"/>
              <a:pPr>
                <a:defRPr/>
              </a:pPr>
              <a:t>22</a:t>
            </a:fld>
            <a:endParaRPr lang="en-US"/>
          </a:p>
        </p:txBody>
      </p:sp>
    </p:spTree>
    <p:extLst>
      <p:ext uri="{BB962C8B-B14F-4D97-AF65-F5344CB8AC3E}">
        <p14:creationId xmlns="" xmlns:p14="http://schemas.microsoft.com/office/powerpoint/2010/main" val="28547751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6125"/>
            <a:ext cx="5373687" cy="3721100"/>
          </a:xfrm>
          <a:prstGeom prst="rect">
            <a:avLst/>
          </a:prstGeom>
        </p:spPr>
      </p:sp>
      <p:sp>
        <p:nvSpPr>
          <p:cNvPr id="3" name="Notes Placeholder 2"/>
          <p:cNvSpPr>
            <a:spLocks noGrp="1"/>
          </p:cNvSpPr>
          <p:nvPr>
            <p:ph type="body" idx="1"/>
          </p:nvPr>
        </p:nvSpPr>
        <p:spPr/>
        <p:txBody>
          <a:bodyPr/>
          <a:lstStyle/>
          <a:p>
            <a:r>
              <a:rPr lang="pt-BR" noProof="0" dirty="0" smtClean="0"/>
              <a:t>Evolução da rede </a:t>
            </a:r>
            <a:r>
              <a:rPr lang="pt-BR" noProof="0" dirty="0" err="1" smtClean="0"/>
              <a:t>backhauling</a:t>
            </a:r>
            <a:r>
              <a:rPr lang="pt-BR" noProof="0" dirty="0" smtClean="0"/>
              <a:t>, sendo a primeira onde somente MW e a segunda com anéis ópticos agregando</a:t>
            </a:r>
            <a:r>
              <a:rPr lang="pt-BR" baseline="0" noProof="0" dirty="0" smtClean="0"/>
              <a:t> cadeias de enlaces MW, com isso aumentando a capacidade da cadeia de MW</a:t>
            </a:r>
          </a:p>
          <a:p>
            <a:r>
              <a:rPr lang="pt-BR" noProof="0" dirty="0" smtClean="0"/>
              <a:t>Implementação da rede PTN</a:t>
            </a:r>
            <a:r>
              <a:rPr lang="pt-BR" baseline="0" noProof="0" dirty="0" smtClean="0"/>
              <a:t> com tecnologia MPLS-TP, possibilitando agregar em uma única rede o controle, gerenciamento e rápida comutação das redes SDH e a otimização de tráfego e flexibilidade da redes de dados.</a:t>
            </a:r>
          </a:p>
          <a:p>
            <a:r>
              <a:rPr lang="pt-BR" baseline="0" noProof="0" dirty="0" smtClean="0"/>
              <a:t>Implementação nas duas principais cidades do Brasil (RJO/SPO) de CORE DWDM em MESH, sendo estas preparadas para a implementação do </a:t>
            </a:r>
            <a:r>
              <a:rPr lang="pt-BR" i="0" baseline="0" noProof="0" dirty="0" smtClean="0"/>
              <a:t>ASON (</a:t>
            </a:r>
            <a:r>
              <a:rPr lang="pt-BR" i="0" dirty="0" err="1" smtClean="0"/>
              <a:t>Automatic</a:t>
            </a:r>
            <a:r>
              <a:rPr lang="pt-BR" i="0" dirty="0" smtClean="0"/>
              <a:t> </a:t>
            </a:r>
            <a:r>
              <a:rPr lang="pt-BR" i="0" dirty="0" err="1" smtClean="0"/>
              <a:t>Switched</a:t>
            </a:r>
            <a:r>
              <a:rPr lang="pt-BR" i="0" dirty="0" smtClean="0"/>
              <a:t> </a:t>
            </a:r>
            <a:r>
              <a:rPr lang="pt-BR" i="0" dirty="0" err="1" smtClean="0"/>
              <a:t>Optical</a:t>
            </a:r>
            <a:r>
              <a:rPr lang="pt-BR" i="0" dirty="0" smtClean="0"/>
              <a:t> Network) que consiste a comutação da rede óptica através de um plano de controle, possibilitando que</a:t>
            </a:r>
            <a:r>
              <a:rPr lang="pt-BR" i="0" baseline="0" dirty="0" smtClean="0"/>
              <a:t> a</a:t>
            </a:r>
            <a:r>
              <a:rPr lang="pt-BR" i="0" dirty="0" smtClean="0"/>
              <a:t> rede possa buscar sempre uma nova via para a proteção dos links em caso de falha.</a:t>
            </a:r>
            <a:endParaRPr lang="pt-BR" i="0" noProof="0" dirty="0"/>
          </a:p>
        </p:txBody>
      </p:sp>
      <p:sp>
        <p:nvSpPr>
          <p:cNvPr id="4" name="Slide Number Placeholder 3"/>
          <p:cNvSpPr>
            <a:spLocks noGrp="1"/>
          </p:cNvSpPr>
          <p:nvPr>
            <p:ph type="sldNum" sz="quarter" idx="10"/>
          </p:nvPr>
        </p:nvSpPr>
        <p:spPr/>
        <p:txBody>
          <a:bodyPr/>
          <a:lstStyle/>
          <a:p>
            <a:pPr>
              <a:defRPr/>
            </a:pPr>
            <a:fld id="{8400F4A0-681F-4A17-B1FD-605D3AD41D6D}" type="slidenum">
              <a:rPr lang="en-US" smtClean="0"/>
              <a:pPr>
                <a:defRPr/>
              </a:pPr>
              <a:t>23</a:t>
            </a:fld>
            <a:endParaRPr lang="en-US"/>
          </a:p>
        </p:txBody>
      </p:sp>
    </p:spTree>
    <p:extLst>
      <p:ext uri="{BB962C8B-B14F-4D97-AF65-F5344CB8AC3E}">
        <p14:creationId xmlns="" xmlns:p14="http://schemas.microsoft.com/office/powerpoint/2010/main" val="28547751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txBox="1">
            <a:spLocks noGrp="1" noChangeArrowheads="1"/>
          </p:cNvSpPr>
          <p:nvPr/>
        </p:nvSpPr>
        <p:spPr bwMode="auto">
          <a:xfrm>
            <a:off x="3849899" y="9428402"/>
            <a:ext cx="2946189" cy="496649"/>
          </a:xfrm>
          <a:prstGeom prst="rect">
            <a:avLst/>
          </a:prstGeom>
          <a:noFill/>
          <a:ln w="9525">
            <a:noFill/>
            <a:miter lim="800000"/>
            <a:headEnd/>
            <a:tailEnd/>
          </a:ln>
        </p:spPr>
        <p:txBody>
          <a:bodyPr lIns="91312" tIns="45657" rIns="91312" bIns="45657" anchor="b"/>
          <a:lstStyle/>
          <a:p>
            <a:pPr defTabSz="912813" eaLnBrk="1" hangingPunct="1"/>
            <a:fld id="{34658F23-7A8E-4ECF-A22C-8F84C8A782AB}" type="slidenum">
              <a:rPr lang="pt-BR" sz="1200"/>
              <a:pPr defTabSz="912813" eaLnBrk="1" hangingPunct="1"/>
              <a:t>24</a:t>
            </a:fld>
            <a:endParaRPr lang="pt-BR" sz="1200"/>
          </a:p>
        </p:txBody>
      </p:sp>
      <p:sp>
        <p:nvSpPr>
          <p:cNvPr id="51203" name="Rectangle 2"/>
          <p:cNvSpPr>
            <a:spLocks noGrp="1" noRot="1" noChangeAspect="1" noChangeArrowheads="1" noTextEdit="1"/>
          </p:cNvSpPr>
          <p:nvPr>
            <p:ph type="sldImg"/>
          </p:nvPr>
        </p:nvSpPr>
        <p:spPr>
          <a:xfrm>
            <a:off x="712788" y="746125"/>
            <a:ext cx="5373687" cy="3721100"/>
          </a:xfrm>
          <a:prstGeom prst="rect">
            <a:avLst/>
          </a:prstGeom>
          <a:ln/>
        </p:spPr>
      </p:sp>
      <p:sp>
        <p:nvSpPr>
          <p:cNvPr id="51204" name="Rectangle 3"/>
          <p:cNvSpPr>
            <a:spLocks noGrp="1" noChangeArrowheads="1"/>
          </p:cNvSpPr>
          <p:nvPr>
            <p:ph type="body" idx="1"/>
          </p:nvPr>
        </p:nvSpPr>
        <p:spPr bwMode="auto">
          <a:xfrm>
            <a:off x="679768" y="4715789"/>
            <a:ext cx="5438140" cy="4465083"/>
          </a:xfrm>
          <a:prstGeom prst="rect">
            <a:avLst/>
          </a:prstGeom>
          <a:noFill/>
          <a:ln>
            <a:solidFill>
              <a:srgbClr val="000000"/>
            </a:solidFill>
            <a:miter lim="800000"/>
            <a:headEnd/>
            <a:tailEnd/>
          </a:ln>
        </p:spPr>
        <p:txBody>
          <a:bodyPr lIns="91312" tIns="45657" rIns="91312" bIns="45657"/>
          <a:lstStyle/>
          <a:p>
            <a:pPr defTabSz="914400"/>
            <a:r>
              <a:rPr lang="pt-BR" dirty="0" smtClean="0"/>
              <a:t>Evolução</a:t>
            </a:r>
            <a:r>
              <a:rPr lang="pt-BR" baseline="0" dirty="0" smtClean="0"/>
              <a:t> do </a:t>
            </a:r>
            <a:r>
              <a:rPr lang="pt-BR" baseline="0" dirty="0" err="1" smtClean="0"/>
              <a:t>backhauling</a:t>
            </a:r>
            <a:r>
              <a:rPr lang="pt-BR" baseline="0" dirty="0" smtClean="0"/>
              <a:t> da segunda onda para a terceira, sendo esta implementa com FO diretamente no site, possibilitado alta capacidade ao mesmo.</a:t>
            </a:r>
            <a:endParaRPr lang="pt-BR" dirty="0"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txBox="1">
            <a:spLocks noGrp="1" noChangeArrowheads="1"/>
          </p:cNvSpPr>
          <p:nvPr/>
        </p:nvSpPr>
        <p:spPr bwMode="auto">
          <a:xfrm>
            <a:off x="3849899" y="9428402"/>
            <a:ext cx="2946189" cy="496649"/>
          </a:xfrm>
          <a:prstGeom prst="rect">
            <a:avLst/>
          </a:prstGeom>
          <a:noFill/>
          <a:ln w="9525">
            <a:noFill/>
            <a:miter lim="800000"/>
            <a:headEnd/>
            <a:tailEnd/>
          </a:ln>
        </p:spPr>
        <p:txBody>
          <a:bodyPr lIns="91312" tIns="45657" rIns="91312" bIns="45657" anchor="b"/>
          <a:lstStyle/>
          <a:p>
            <a:pPr defTabSz="912813" eaLnBrk="1" hangingPunct="1"/>
            <a:fld id="{34658F23-7A8E-4ECF-A22C-8F84C8A782AB}" type="slidenum">
              <a:rPr lang="pt-BR" sz="1200"/>
              <a:pPr defTabSz="912813" eaLnBrk="1" hangingPunct="1"/>
              <a:t>25</a:t>
            </a:fld>
            <a:endParaRPr lang="pt-BR" sz="1200"/>
          </a:p>
        </p:txBody>
      </p:sp>
      <p:sp>
        <p:nvSpPr>
          <p:cNvPr id="51203" name="Rectangle 2"/>
          <p:cNvSpPr>
            <a:spLocks noGrp="1" noRot="1" noChangeAspect="1" noChangeArrowheads="1" noTextEdit="1"/>
          </p:cNvSpPr>
          <p:nvPr>
            <p:ph type="sldImg"/>
          </p:nvPr>
        </p:nvSpPr>
        <p:spPr>
          <a:xfrm>
            <a:off x="712788" y="746125"/>
            <a:ext cx="5373687" cy="3721100"/>
          </a:xfrm>
          <a:prstGeom prst="rect">
            <a:avLst/>
          </a:prstGeom>
          <a:ln/>
        </p:spPr>
      </p:sp>
      <p:sp>
        <p:nvSpPr>
          <p:cNvPr id="51204" name="Rectangle 3"/>
          <p:cNvSpPr>
            <a:spLocks noGrp="1" noChangeArrowheads="1"/>
          </p:cNvSpPr>
          <p:nvPr>
            <p:ph type="body" idx="1"/>
          </p:nvPr>
        </p:nvSpPr>
        <p:spPr bwMode="auto">
          <a:xfrm>
            <a:off x="679768" y="4715789"/>
            <a:ext cx="5438140" cy="4465083"/>
          </a:xfrm>
          <a:prstGeom prst="rect">
            <a:avLst/>
          </a:prstGeom>
          <a:noFill/>
          <a:ln>
            <a:solidFill>
              <a:srgbClr val="000000"/>
            </a:solidFill>
            <a:miter lim="800000"/>
            <a:headEnd/>
            <a:tailEnd/>
          </a:ln>
        </p:spPr>
        <p:txBody>
          <a:bodyPr lIns="91312" tIns="45657" rIns="91312" bIns="45657"/>
          <a:lstStyle/>
          <a:p>
            <a:pPr defTabSz="914400"/>
            <a:r>
              <a:rPr lang="pt-BR" dirty="0" smtClean="0"/>
              <a:t>Evolução</a:t>
            </a:r>
            <a:r>
              <a:rPr lang="pt-BR" baseline="0" dirty="0" smtClean="0"/>
              <a:t> do </a:t>
            </a:r>
            <a:r>
              <a:rPr lang="pt-BR" baseline="0" dirty="0" err="1" smtClean="0"/>
              <a:t>backhauling</a:t>
            </a:r>
            <a:r>
              <a:rPr lang="pt-BR" baseline="0" dirty="0" smtClean="0"/>
              <a:t> da segunda onda para a terceira, sendo esta implementa com FO diretamente no site, possibilitado alta capacidade ao mesmo.</a:t>
            </a:r>
            <a:endParaRPr lang="pt-BR" dirty="0"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6125"/>
            <a:ext cx="5373687" cy="3721100"/>
          </a:xfrm>
          <a:prstGeom prst="rect">
            <a:avLst/>
          </a:prstGeo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400F4A0-681F-4A17-B1FD-605D3AD41D6D}" type="slidenum">
              <a:rPr lang="en-US" smtClean="0"/>
              <a:pPr>
                <a:defRPr/>
              </a:pPr>
              <a:t>26</a:t>
            </a:fld>
            <a:endParaRPr lang="en-US"/>
          </a:p>
        </p:txBody>
      </p:sp>
    </p:spTree>
    <p:extLst>
      <p:ext uri="{BB962C8B-B14F-4D97-AF65-F5344CB8AC3E}">
        <p14:creationId xmlns="" xmlns:p14="http://schemas.microsoft.com/office/powerpoint/2010/main" val="28547751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txBox="1">
            <a:spLocks noGrp="1" noChangeArrowheads="1"/>
          </p:cNvSpPr>
          <p:nvPr/>
        </p:nvSpPr>
        <p:spPr bwMode="auto">
          <a:xfrm>
            <a:off x="3849899" y="9428402"/>
            <a:ext cx="2946189" cy="496649"/>
          </a:xfrm>
          <a:prstGeom prst="rect">
            <a:avLst/>
          </a:prstGeom>
          <a:noFill/>
          <a:ln w="9525">
            <a:noFill/>
            <a:miter lim="800000"/>
            <a:headEnd/>
            <a:tailEnd/>
          </a:ln>
        </p:spPr>
        <p:txBody>
          <a:bodyPr lIns="91312" tIns="45657" rIns="91312" bIns="45657" anchor="b"/>
          <a:lstStyle/>
          <a:p>
            <a:pPr defTabSz="912813" eaLnBrk="1" hangingPunct="1"/>
            <a:fld id="{34658F23-7A8E-4ECF-A22C-8F84C8A782AB}" type="slidenum">
              <a:rPr lang="pt-BR" sz="1200"/>
              <a:pPr defTabSz="912813" eaLnBrk="1" hangingPunct="1"/>
              <a:t>27</a:t>
            </a:fld>
            <a:endParaRPr lang="pt-BR" sz="1200"/>
          </a:p>
        </p:txBody>
      </p:sp>
      <p:sp>
        <p:nvSpPr>
          <p:cNvPr id="51203" name="Rectangle 2"/>
          <p:cNvSpPr>
            <a:spLocks noGrp="1" noRot="1" noChangeAspect="1" noChangeArrowheads="1" noTextEdit="1"/>
          </p:cNvSpPr>
          <p:nvPr>
            <p:ph type="sldImg"/>
          </p:nvPr>
        </p:nvSpPr>
        <p:spPr>
          <a:xfrm>
            <a:off x="712788" y="746125"/>
            <a:ext cx="5373687" cy="3721100"/>
          </a:xfrm>
          <a:prstGeom prst="rect">
            <a:avLst/>
          </a:prstGeom>
          <a:ln/>
        </p:spPr>
      </p:sp>
      <p:sp>
        <p:nvSpPr>
          <p:cNvPr id="51204" name="Rectangle 3"/>
          <p:cNvSpPr>
            <a:spLocks noGrp="1" noChangeArrowheads="1"/>
          </p:cNvSpPr>
          <p:nvPr>
            <p:ph type="body" idx="1"/>
          </p:nvPr>
        </p:nvSpPr>
        <p:spPr bwMode="auto">
          <a:xfrm>
            <a:off x="679768" y="4715789"/>
            <a:ext cx="5438140" cy="4465083"/>
          </a:xfrm>
          <a:prstGeom prst="rect">
            <a:avLst/>
          </a:prstGeom>
          <a:noFill/>
          <a:ln>
            <a:solidFill>
              <a:srgbClr val="000000"/>
            </a:solidFill>
            <a:miter lim="800000"/>
            <a:headEnd/>
            <a:tailEnd/>
          </a:ln>
        </p:spPr>
        <p:txBody>
          <a:bodyPr lIns="91312" tIns="45657" rIns="91312" bIns="45657"/>
          <a:lstStyle/>
          <a:p>
            <a:pPr defTabSz="914400"/>
            <a:r>
              <a:rPr lang="pt-BR" dirty="0" smtClean="0"/>
              <a:t>Evolução</a:t>
            </a:r>
            <a:r>
              <a:rPr lang="pt-BR" baseline="0" dirty="0" smtClean="0"/>
              <a:t> do </a:t>
            </a:r>
            <a:r>
              <a:rPr lang="pt-BR" baseline="0" dirty="0" err="1" smtClean="0"/>
              <a:t>backhauling</a:t>
            </a:r>
            <a:r>
              <a:rPr lang="pt-BR" baseline="0" dirty="0" smtClean="0"/>
              <a:t> da segunda onda para a terceira, sendo esta implementa com FO diretamente no site, possibilitado alta capacidade ao mesmo.</a:t>
            </a:r>
            <a:endParaRPr lang="pt-BR" dirty="0"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txBox="1">
            <a:spLocks noGrp="1" noChangeArrowheads="1"/>
          </p:cNvSpPr>
          <p:nvPr/>
        </p:nvSpPr>
        <p:spPr bwMode="auto">
          <a:xfrm>
            <a:off x="3849899" y="9428402"/>
            <a:ext cx="2946189" cy="496649"/>
          </a:xfrm>
          <a:prstGeom prst="rect">
            <a:avLst/>
          </a:prstGeom>
          <a:noFill/>
          <a:ln w="9525">
            <a:noFill/>
            <a:miter lim="800000"/>
            <a:headEnd/>
            <a:tailEnd/>
          </a:ln>
        </p:spPr>
        <p:txBody>
          <a:bodyPr lIns="91312" tIns="45657" rIns="91312" bIns="45657" anchor="b"/>
          <a:lstStyle/>
          <a:p>
            <a:pPr defTabSz="912813" eaLnBrk="1" hangingPunct="1"/>
            <a:fld id="{34658F23-7A8E-4ECF-A22C-8F84C8A782AB}" type="slidenum">
              <a:rPr lang="pt-BR" sz="1200"/>
              <a:pPr defTabSz="912813" eaLnBrk="1" hangingPunct="1"/>
              <a:t>28</a:t>
            </a:fld>
            <a:endParaRPr lang="pt-BR" sz="1200"/>
          </a:p>
        </p:txBody>
      </p:sp>
      <p:sp>
        <p:nvSpPr>
          <p:cNvPr id="51203" name="Rectangle 2"/>
          <p:cNvSpPr>
            <a:spLocks noGrp="1" noRot="1" noChangeAspect="1" noChangeArrowheads="1" noTextEdit="1"/>
          </p:cNvSpPr>
          <p:nvPr>
            <p:ph type="sldImg"/>
          </p:nvPr>
        </p:nvSpPr>
        <p:spPr>
          <a:xfrm>
            <a:off x="712788" y="746125"/>
            <a:ext cx="5373687" cy="3721100"/>
          </a:xfrm>
          <a:prstGeom prst="rect">
            <a:avLst/>
          </a:prstGeom>
          <a:ln/>
        </p:spPr>
      </p:sp>
      <p:sp>
        <p:nvSpPr>
          <p:cNvPr id="51204" name="Rectangle 3"/>
          <p:cNvSpPr>
            <a:spLocks noGrp="1" noChangeArrowheads="1"/>
          </p:cNvSpPr>
          <p:nvPr>
            <p:ph type="body" idx="1"/>
          </p:nvPr>
        </p:nvSpPr>
        <p:spPr bwMode="auto">
          <a:xfrm>
            <a:off x="679768" y="4715789"/>
            <a:ext cx="5438140" cy="4465083"/>
          </a:xfrm>
          <a:prstGeom prst="rect">
            <a:avLst/>
          </a:prstGeom>
          <a:noFill/>
          <a:ln>
            <a:solidFill>
              <a:srgbClr val="000000"/>
            </a:solidFill>
            <a:miter lim="800000"/>
            <a:headEnd/>
            <a:tailEnd/>
          </a:ln>
        </p:spPr>
        <p:txBody>
          <a:bodyPr lIns="91312" tIns="45657" rIns="91312" bIns="45657"/>
          <a:lstStyle/>
          <a:p>
            <a:pPr defTabSz="914400"/>
            <a:r>
              <a:rPr lang="pt-BR" dirty="0" smtClean="0"/>
              <a:t>Evolução</a:t>
            </a:r>
            <a:r>
              <a:rPr lang="pt-BR" baseline="0" dirty="0" smtClean="0"/>
              <a:t> do </a:t>
            </a:r>
            <a:r>
              <a:rPr lang="pt-BR" baseline="0" dirty="0" err="1" smtClean="0"/>
              <a:t>backhauling</a:t>
            </a:r>
            <a:r>
              <a:rPr lang="pt-BR" baseline="0" dirty="0" smtClean="0"/>
              <a:t> da segunda onda para a terceira, sendo esta implementa com FO diretamente no site, possibilitado alta capacidade ao mesmo.</a:t>
            </a:r>
            <a:endParaRPr lang="pt-BR" dirty="0"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6125"/>
            <a:ext cx="5373687" cy="3721100"/>
          </a:xfrm>
          <a:prstGeom prst="rect">
            <a:avLst/>
          </a:prstGeo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400F4A0-681F-4A17-B1FD-605D3AD41D6D}" type="slidenum">
              <a:rPr lang="en-US" smtClean="0"/>
              <a:pPr>
                <a:defRPr/>
              </a:pPr>
              <a:t>29</a:t>
            </a:fld>
            <a:endParaRPr lang="en-US"/>
          </a:p>
        </p:txBody>
      </p:sp>
    </p:spTree>
    <p:extLst>
      <p:ext uri="{BB962C8B-B14F-4D97-AF65-F5344CB8AC3E}">
        <p14:creationId xmlns="" xmlns:p14="http://schemas.microsoft.com/office/powerpoint/2010/main" val="28547751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Rot="1" noChangeAspect="1" noChangeArrowheads="1" noTextEdit="1"/>
          </p:cNvSpPr>
          <p:nvPr>
            <p:ph type="sldImg"/>
          </p:nvPr>
        </p:nvSpPr>
        <p:spPr>
          <a:xfrm>
            <a:off x="711200" y="744538"/>
            <a:ext cx="5375275" cy="3722687"/>
          </a:xfrm>
          <a:prstGeom prst="rect">
            <a:avLst/>
          </a:prstGeom>
          <a:ln/>
        </p:spPr>
      </p:sp>
      <p:sp>
        <p:nvSpPr>
          <p:cNvPr id="28675" name="Rectangle 3"/>
          <p:cNvSpPr>
            <a:spLocks noGrp="1" noChangeArrowheads="1"/>
          </p:cNvSpPr>
          <p:nvPr>
            <p:ph type="body" idx="1"/>
          </p:nvPr>
        </p:nvSpPr>
        <p:spPr>
          <a:noFill/>
          <a:ln/>
        </p:spPr>
        <p:txBody>
          <a:bodyPr/>
          <a:lstStyle/>
          <a:p>
            <a:pPr eaLnBrk="1" hangingPunct="1"/>
            <a:endParaRPr lang="pt-BR" dirty="0" smtClean="0">
              <a:latin typeface="Calibri" pitchFamily="34" charset="0"/>
              <a:ea typeface="ＭＳ Ｐゴシック" pitchFamily="-84" charset="-128"/>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txBox="1">
            <a:spLocks noGrp="1" noChangeArrowheads="1"/>
          </p:cNvSpPr>
          <p:nvPr/>
        </p:nvSpPr>
        <p:spPr bwMode="auto">
          <a:xfrm>
            <a:off x="3849899" y="9428402"/>
            <a:ext cx="2946189" cy="496649"/>
          </a:xfrm>
          <a:prstGeom prst="rect">
            <a:avLst/>
          </a:prstGeom>
          <a:noFill/>
          <a:ln w="9525">
            <a:noFill/>
            <a:miter lim="800000"/>
            <a:headEnd/>
            <a:tailEnd/>
          </a:ln>
        </p:spPr>
        <p:txBody>
          <a:bodyPr lIns="91312" tIns="45657" rIns="91312" bIns="45657" anchor="b"/>
          <a:lstStyle/>
          <a:p>
            <a:pPr defTabSz="912813" eaLnBrk="1" hangingPunct="1"/>
            <a:fld id="{34658F23-7A8E-4ECF-A22C-8F84C8A782AB}" type="slidenum">
              <a:rPr lang="pt-BR" sz="1200"/>
              <a:pPr defTabSz="912813" eaLnBrk="1" hangingPunct="1"/>
              <a:t>30</a:t>
            </a:fld>
            <a:endParaRPr lang="pt-BR" sz="1200"/>
          </a:p>
        </p:txBody>
      </p:sp>
      <p:sp>
        <p:nvSpPr>
          <p:cNvPr id="51203" name="Rectangle 2"/>
          <p:cNvSpPr>
            <a:spLocks noGrp="1" noRot="1" noChangeAspect="1" noChangeArrowheads="1" noTextEdit="1"/>
          </p:cNvSpPr>
          <p:nvPr>
            <p:ph type="sldImg"/>
          </p:nvPr>
        </p:nvSpPr>
        <p:spPr>
          <a:xfrm>
            <a:off x="712788" y="746125"/>
            <a:ext cx="5373687" cy="3721100"/>
          </a:xfrm>
          <a:prstGeom prst="rect">
            <a:avLst/>
          </a:prstGeom>
          <a:ln/>
        </p:spPr>
      </p:sp>
      <p:sp>
        <p:nvSpPr>
          <p:cNvPr id="51204" name="Rectangle 3"/>
          <p:cNvSpPr>
            <a:spLocks noGrp="1" noChangeArrowheads="1"/>
          </p:cNvSpPr>
          <p:nvPr>
            <p:ph type="body" idx="1"/>
          </p:nvPr>
        </p:nvSpPr>
        <p:spPr bwMode="auto">
          <a:xfrm>
            <a:off x="679768" y="4715789"/>
            <a:ext cx="5438140" cy="4465083"/>
          </a:xfrm>
          <a:prstGeom prst="rect">
            <a:avLst/>
          </a:prstGeom>
          <a:noFill/>
          <a:ln>
            <a:solidFill>
              <a:srgbClr val="000000"/>
            </a:solidFill>
            <a:miter lim="800000"/>
            <a:headEnd/>
            <a:tailEnd/>
          </a:ln>
        </p:spPr>
        <p:txBody>
          <a:bodyPr lIns="91312" tIns="45657" rIns="91312" bIns="45657"/>
          <a:lstStyle/>
          <a:p>
            <a:pPr defTabSz="914400"/>
            <a:r>
              <a:rPr lang="pt-BR" dirty="0" smtClean="0"/>
              <a:t>Evolução</a:t>
            </a:r>
            <a:r>
              <a:rPr lang="pt-BR" baseline="0" dirty="0" smtClean="0"/>
              <a:t> do </a:t>
            </a:r>
            <a:r>
              <a:rPr lang="pt-BR" baseline="0" dirty="0" err="1" smtClean="0"/>
              <a:t>backhauling</a:t>
            </a:r>
            <a:r>
              <a:rPr lang="pt-BR" baseline="0" dirty="0" smtClean="0"/>
              <a:t> da segunda onda para a terceira, sendo esta implementa com FO diretamente no site, possibilitado alta capacidade ao mesmo.</a:t>
            </a:r>
            <a:endParaRPr lang="pt-BR" dirty="0" smtClean="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Rot="1" noChangeAspect="1" noChangeArrowheads="1" noTextEdit="1"/>
          </p:cNvSpPr>
          <p:nvPr>
            <p:ph type="sldImg"/>
          </p:nvPr>
        </p:nvSpPr>
        <p:spPr>
          <a:xfrm>
            <a:off x="711200" y="744538"/>
            <a:ext cx="5375275" cy="3722687"/>
          </a:xfrm>
          <a:prstGeom prst="rect">
            <a:avLst/>
          </a:prstGeom>
          <a:ln/>
        </p:spPr>
      </p:sp>
      <p:sp>
        <p:nvSpPr>
          <p:cNvPr id="28675" name="Rectangle 3"/>
          <p:cNvSpPr>
            <a:spLocks noGrp="1" noChangeArrowheads="1"/>
          </p:cNvSpPr>
          <p:nvPr>
            <p:ph type="body" idx="1"/>
          </p:nvPr>
        </p:nvSpPr>
        <p:spPr>
          <a:noFill/>
          <a:ln/>
        </p:spPr>
        <p:txBody>
          <a:bodyPr/>
          <a:lstStyle/>
          <a:p>
            <a:pPr eaLnBrk="1" hangingPunct="1"/>
            <a:endParaRPr lang="pt-BR" dirty="0" smtClean="0">
              <a:latin typeface="Calibri" pitchFamily="34" charset="0"/>
              <a:ea typeface="ＭＳ Ｐゴシック" pitchFamily="-84" charset="-128"/>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Rot="1" noChangeAspect="1" noChangeArrowheads="1" noTextEdit="1"/>
          </p:cNvSpPr>
          <p:nvPr>
            <p:ph type="sldImg"/>
          </p:nvPr>
        </p:nvSpPr>
        <p:spPr>
          <a:xfrm>
            <a:off x="711200" y="744538"/>
            <a:ext cx="5375275" cy="3722687"/>
          </a:xfrm>
          <a:prstGeom prst="rect">
            <a:avLst/>
          </a:prstGeom>
          <a:ln/>
        </p:spPr>
      </p:sp>
      <p:sp>
        <p:nvSpPr>
          <p:cNvPr id="46083" name="Rectangle 3"/>
          <p:cNvSpPr>
            <a:spLocks noGrp="1" noChangeArrowheads="1"/>
          </p:cNvSpPr>
          <p:nvPr>
            <p:ph type="body" idx="1"/>
          </p:nvPr>
        </p:nvSpPr>
        <p:spPr>
          <a:noFill/>
          <a:ln/>
        </p:spPr>
        <p:txBody>
          <a:bodyPr/>
          <a:lstStyle/>
          <a:p>
            <a:endParaRPr lang="en-GB" dirty="0" smtClean="0">
              <a:latin typeface="Calibri" pitchFamily="34" charset="0"/>
              <a:ea typeface="ＭＳ Ｐゴシック" pitchFamily="-84" charset="-128"/>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Rot="1" noChangeAspect="1" noChangeArrowheads="1" noTextEdit="1"/>
          </p:cNvSpPr>
          <p:nvPr>
            <p:ph type="sldImg"/>
          </p:nvPr>
        </p:nvSpPr>
        <p:spPr>
          <a:xfrm>
            <a:off x="711200" y="744538"/>
            <a:ext cx="5375275" cy="3722687"/>
          </a:xfrm>
          <a:prstGeom prst="rect">
            <a:avLst/>
          </a:prstGeom>
          <a:ln/>
        </p:spPr>
      </p:sp>
      <p:sp>
        <p:nvSpPr>
          <p:cNvPr id="28675" name="Rectangle 3"/>
          <p:cNvSpPr>
            <a:spLocks noGrp="1" noChangeArrowheads="1"/>
          </p:cNvSpPr>
          <p:nvPr>
            <p:ph type="body" idx="1"/>
          </p:nvPr>
        </p:nvSpPr>
        <p:spPr>
          <a:noFill/>
          <a:ln/>
        </p:spPr>
        <p:txBody>
          <a:bodyPr/>
          <a:lstStyle/>
          <a:p>
            <a:pPr eaLnBrk="1" hangingPunct="1"/>
            <a:endParaRPr lang="pt-BR" dirty="0" smtClean="0">
              <a:latin typeface="Calibri" pitchFamily="34" charset="0"/>
              <a:ea typeface="ＭＳ Ｐゴシック" pitchFamily="-84" charset="-128"/>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Rot="1" noChangeAspect="1" noChangeArrowheads="1" noTextEdit="1"/>
          </p:cNvSpPr>
          <p:nvPr>
            <p:ph type="sldImg"/>
          </p:nvPr>
        </p:nvSpPr>
        <p:spPr>
          <a:xfrm>
            <a:off x="711200" y="744538"/>
            <a:ext cx="5375275" cy="3722687"/>
          </a:xfrm>
          <a:prstGeom prst="rect">
            <a:avLst/>
          </a:prstGeom>
          <a:ln/>
        </p:spPr>
      </p:sp>
      <p:sp>
        <p:nvSpPr>
          <p:cNvPr id="28675" name="Rectangle 3"/>
          <p:cNvSpPr>
            <a:spLocks noGrp="1" noChangeArrowheads="1"/>
          </p:cNvSpPr>
          <p:nvPr>
            <p:ph type="body" idx="1"/>
          </p:nvPr>
        </p:nvSpPr>
        <p:spPr>
          <a:noFill/>
          <a:ln/>
        </p:spPr>
        <p:txBody>
          <a:bodyPr/>
          <a:lstStyle/>
          <a:p>
            <a:pPr eaLnBrk="1" hangingPunct="1"/>
            <a:endParaRPr lang="pt-BR" dirty="0" smtClean="0">
              <a:latin typeface="Calibri" pitchFamily="34" charset="0"/>
              <a:ea typeface="ＭＳ Ｐゴシック" pitchFamily="-84" charset="-128"/>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6125"/>
            <a:ext cx="5373687" cy="3721100"/>
          </a:xfrm>
          <a:prstGeom prst="rect">
            <a:avLst/>
          </a:prstGeo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400F4A0-681F-4A17-B1FD-605D3AD41D6D}" type="slidenum">
              <a:rPr lang="en-US" smtClean="0"/>
              <a:pPr>
                <a:defRPr/>
              </a:pPr>
              <a:t>11</a:t>
            </a:fld>
            <a:endParaRPr lang="en-US"/>
          </a:p>
        </p:txBody>
      </p:sp>
    </p:spTree>
    <p:extLst>
      <p:ext uri="{BB962C8B-B14F-4D97-AF65-F5344CB8AC3E}">
        <p14:creationId xmlns="" xmlns:p14="http://schemas.microsoft.com/office/powerpoint/2010/main" val="28547751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6125"/>
            <a:ext cx="5373687" cy="3721100"/>
          </a:xfrm>
          <a:prstGeom prst="rect">
            <a:avLst/>
          </a:prstGeo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400F4A0-681F-4A17-B1FD-605D3AD41D6D}" type="slidenum">
              <a:rPr lang="en-US" smtClean="0"/>
              <a:pPr>
                <a:defRPr/>
              </a:pPr>
              <a:t>12</a:t>
            </a:fld>
            <a:endParaRPr lang="en-US"/>
          </a:p>
        </p:txBody>
      </p:sp>
    </p:spTree>
    <p:extLst>
      <p:ext uri="{BB962C8B-B14F-4D97-AF65-F5344CB8AC3E}">
        <p14:creationId xmlns="" xmlns:p14="http://schemas.microsoft.com/office/powerpoint/2010/main" val="28547751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6125"/>
            <a:ext cx="5373687" cy="3721100"/>
          </a:xfrm>
          <a:prstGeom prst="rect">
            <a:avLst/>
          </a:prstGeom>
        </p:spPr>
      </p:sp>
      <p:sp>
        <p:nvSpPr>
          <p:cNvPr id="3" name="Notes Placeholder 2"/>
          <p:cNvSpPr>
            <a:spLocks noGrp="1"/>
          </p:cNvSpPr>
          <p:nvPr>
            <p:ph type="body" idx="1"/>
          </p:nvPr>
        </p:nvSpPr>
        <p:spPr/>
        <p:txBody>
          <a:bodyPr/>
          <a:lstStyle/>
          <a:p>
            <a:r>
              <a:rPr lang="pt-BR" noProof="0" dirty="0" smtClean="0"/>
              <a:t>Evolução do</a:t>
            </a:r>
            <a:r>
              <a:rPr lang="pt-BR" baseline="0" noProof="0" dirty="0" smtClean="0"/>
              <a:t> BB LD até 2015</a:t>
            </a:r>
            <a:endParaRPr lang="pt-BR" noProof="0" dirty="0"/>
          </a:p>
        </p:txBody>
      </p:sp>
      <p:sp>
        <p:nvSpPr>
          <p:cNvPr id="4" name="Slide Number Placeholder 3"/>
          <p:cNvSpPr>
            <a:spLocks noGrp="1"/>
          </p:cNvSpPr>
          <p:nvPr>
            <p:ph type="sldNum" sz="quarter" idx="10"/>
          </p:nvPr>
        </p:nvSpPr>
        <p:spPr/>
        <p:txBody>
          <a:bodyPr/>
          <a:lstStyle/>
          <a:p>
            <a:pPr>
              <a:defRPr/>
            </a:pPr>
            <a:fld id="{8400F4A0-681F-4A17-B1FD-605D3AD41D6D}" type="slidenum">
              <a:rPr lang="en-US" smtClean="0"/>
              <a:pPr>
                <a:defRPr/>
              </a:pPr>
              <a:t>13</a:t>
            </a:fld>
            <a:endParaRPr lang="en-US"/>
          </a:p>
        </p:txBody>
      </p:sp>
    </p:spTree>
    <p:extLst>
      <p:ext uri="{BB962C8B-B14F-4D97-AF65-F5344CB8AC3E}">
        <p14:creationId xmlns="" xmlns:p14="http://schemas.microsoft.com/office/powerpoint/2010/main" val="2854775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6125"/>
            <a:ext cx="5373687" cy="3721100"/>
          </a:xfrm>
          <a:prstGeom prst="rect">
            <a:avLst/>
          </a:prstGeom>
        </p:spPr>
      </p:sp>
      <p:sp>
        <p:nvSpPr>
          <p:cNvPr id="3" name="Notes Placeholder 2"/>
          <p:cNvSpPr>
            <a:spLocks noGrp="1"/>
          </p:cNvSpPr>
          <p:nvPr>
            <p:ph type="body" idx="1"/>
          </p:nvPr>
        </p:nvSpPr>
        <p:spPr/>
        <p:txBody>
          <a:bodyPr/>
          <a:lstStyle/>
          <a:p>
            <a:r>
              <a:rPr lang="pt-BR" noProof="0" dirty="0" smtClean="0"/>
              <a:t>Evolução do</a:t>
            </a:r>
            <a:r>
              <a:rPr lang="pt-BR" baseline="0" noProof="0" dirty="0" smtClean="0"/>
              <a:t> BB LD até 2015</a:t>
            </a:r>
            <a:endParaRPr lang="pt-BR" noProof="0" dirty="0"/>
          </a:p>
        </p:txBody>
      </p:sp>
      <p:sp>
        <p:nvSpPr>
          <p:cNvPr id="4" name="Slide Number Placeholder 3"/>
          <p:cNvSpPr>
            <a:spLocks noGrp="1"/>
          </p:cNvSpPr>
          <p:nvPr>
            <p:ph type="sldNum" sz="quarter" idx="10"/>
          </p:nvPr>
        </p:nvSpPr>
        <p:spPr/>
        <p:txBody>
          <a:bodyPr/>
          <a:lstStyle/>
          <a:p>
            <a:pPr>
              <a:defRPr/>
            </a:pPr>
            <a:fld id="{8400F4A0-681F-4A17-B1FD-605D3AD41D6D}" type="slidenum">
              <a:rPr lang="en-US" smtClean="0"/>
              <a:pPr>
                <a:defRPr/>
              </a:pPr>
              <a:t>14</a:t>
            </a:fld>
            <a:endParaRPr lang="en-US"/>
          </a:p>
        </p:txBody>
      </p:sp>
    </p:spTree>
    <p:extLst>
      <p:ext uri="{BB962C8B-B14F-4D97-AF65-F5344CB8AC3E}">
        <p14:creationId xmlns="" xmlns:p14="http://schemas.microsoft.com/office/powerpoint/2010/main" val="28547751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742950" y="2130507"/>
            <a:ext cx="8420100" cy="1470025"/>
          </a:xfrm>
          <a:prstGeom prst="rect">
            <a:avLst/>
          </a:prstGeom>
        </p:spPr>
        <p:txBody>
          <a:bodyPr/>
          <a:lstStyle/>
          <a:p>
            <a:r>
              <a:rPr lang="pt-BR" smtClean="0"/>
              <a:t>Clique para editar o estilo do título mestre</a:t>
            </a:r>
            <a:endParaRPr lang="pt-BR"/>
          </a:p>
        </p:txBody>
      </p:sp>
      <p:sp>
        <p:nvSpPr>
          <p:cNvPr id="3" name="Subtítulo 2"/>
          <p:cNvSpPr>
            <a:spLocks noGrp="1"/>
          </p:cNvSpPr>
          <p:nvPr>
            <p:ph type="subTitle" idx="1"/>
          </p:nvPr>
        </p:nvSpPr>
        <p:spPr>
          <a:xfrm>
            <a:off x="1485900" y="3886200"/>
            <a:ext cx="69342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pt-BR" smtClean="0"/>
              <a:t>Clique para editar o estilo do subtítulo mestre</a:t>
            </a:r>
            <a:endParaRPr lang="pt-B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a:xfrm>
            <a:off x="495300" y="274638"/>
            <a:ext cx="8915400" cy="1143000"/>
          </a:xfrm>
          <a:prstGeom prst="rect">
            <a:avLst/>
          </a:prstGeom>
        </p:spPr>
        <p:txBody>
          <a:bodyPr/>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a:xfrm>
            <a:off x="495300" y="1600206"/>
            <a:ext cx="8915400" cy="4525963"/>
          </a:xfrm>
          <a:prstGeom prst="rect">
            <a:avLst/>
          </a:prstGeom>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smtClean="0"/>
              <a:t>Click to edit Master title style</a:t>
            </a:r>
            <a:endParaRPr lang="pt-BR"/>
          </a:p>
        </p:txBody>
      </p:sp>
      <p:sp>
        <p:nvSpPr>
          <p:cNvPr id="3" name="Text Placeholder 2"/>
          <p:cNvSpPr>
            <a:spLocks noGrp="1"/>
          </p:cNvSpPr>
          <p:nvPr>
            <p:ph type="body" idx="1"/>
          </p:nvPr>
        </p:nvSpPr>
        <p:spPr>
          <a:xfrm>
            <a:off x="495300" y="1535113"/>
            <a:ext cx="437673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73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5" name="Text Placeholder 4"/>
          <p:cNvSpPr>
            <a:spLocks noGrp="1"/>
          </p:cNvSpPr>
          <p:nvPr>
            <p:ph type="body" sz="quarter" idx="3"/>
          </p:nvPr>
        </p:nvSpPr>
        <p:spPr>
          <a:xfrm>
            <a:off x="5032415" y="1535113"/>
            <a:ext cx="437832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415" y="2174875"/>
            <a:ext cx="437832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5" y="273050"/>
            <a:ext cx="3259138" cy="1162050"/>
          </a:xfrm>
        </p:spPr>
        <p:txBody>
          <a:bodyPr anchor="b"/>
          <a:lstStyle>
            <a:lvl1pPr algn="l">
              <a:defRPr sz="2000" b="1"/>
            </a:lvl1pPr>
          </a:lstStyle>
          <a:p>
            <a:r>
              <a:rPr lang="en-US" smtClean="0"/>
              <a:t>Click to edit Master title style</a:t>
            </a:r>
            <a:endParaRPr lang="pt-BR"/>
          </a:p>
        </p:txBody>
      </p:sp>
      <p:sp>
        <p:nvSpPr>
          <p:cNvPr id="3" name="Content Placeholder 2"/>
          <p:cNvSpPr>
            <a:spLocks noGrp="1"/>
          </p:cNvSpPr>
          <p:nvPr>
            <p:ph idx="1"/>
          </p:nvPr>
        </p:nvSpPr>
        <p:spPr>
          <a:xfrm>
            <a:off x="3873499" y="273058"/>
            <a:ext cx="5537201"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4" name="Text Placeholder 3"/>
          <p:cNvSpPr>
            <a:spLocks noGrp="1"/>
          </p:cNvSpPr>
          <p:nvPr>
            <p:ph type="body" sz="half" idx="2"/>
          </p:nvPr>
        </p:nvSpPr>
        <p:spPr>
          <a:xfrm>
            <a:off x="495305" y="1435103"/>
            <a:ext cx="3259138"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3600" cy="566738"/>
          </a:xfrm>
        </p:spPr>
        <p:txBody>
          <a:bodyPr anchor="b"/>
          <a:lstStyle>
            <a:lvl1pPr algn="l">
              <a:defRPr sz="2000" b="1"/>
            </a:lvl1pPr>
          </a:lstStyle>
          <a:p>
            <a:r>
              <a:rPr lang="en-US" smtClean="0"/>
              <a:t>Click to edit Master title style</a:t>
            </a:r>
            <a:endParaRPr lang="pt-BR"/>
          </a:p>
        </p:txBody>
      </p:sp>
      <p:sp>
        <p:nvSpPr>
          <p:cNvPr id="3" name="Picture Placeholder 2"/>
          <p:cNvSpPr>
            <a:spLocks noGrp="1"/>
          </p:cNvSpPr>
          <p:nvPr>
            <p:ph type="pic" idx="1"/>
          </p:nvPr>
        </p:nvSpPr>
        <p:spPr>
          <a:xfrm>
            <a:off x="1941513" y="612775"/>
            <a:ext cx="59436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pt-BR" noProof="0" smtClean="0"/>
          </a:p>
        </p:txBody>
      </p:sp>
      <p:sp>
        <p:nvSpPr>
          <p:cNvPr id="4" name="Text Placeholder 3"/>
          <p:cNvSpPr>
            <a:spLocks noGrp="1"/>
          </p:cNvSpPr>
          <p:nvPr>
            <p:ph type="body" sz="half" idx="2"/>
          </p:nvPr>
        </p:nvSpPr>
        <p:spPr>
          <a:xfrm>
            <a:off x="1941513" y="5367338"/>
            <a:ext cx="59436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
        <p:nvSpPr>
          <p:cNvPr id="3" name="Vertical Text Placeholder 2"/>
          <p:cNvSpPr>
            <a:spLocks noGrp="1"/>
          </p:cNvSpPr>
          <p:nvPr>
            <p:ph type="body" orient="vert" idx="1"/>
          </p:nvPr>
        </p:nvSpPr>
        <p:spPr>
          <a:xfrm>
            <a:off x="495300" y="1600206"/>
            <a:ext cx="89154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35815" y="227013"/>
            <a:ext cx="2274887" cy="5899150"/>
          </a:xfrm>
        </p:spPr>
        <p:txBody>
          <a:bodyPr vert="eaVert"/>
          <a:lstStyle/>
          <a:p>
            <a:r>
              <a:rPr lang="en-US" smtClean="0"/>
              <a:t>Click to edit Master title style</a:t>
            </a:r>
            <a:endParaRPr lang="pt-BR"/>
          </a:p>
        </p:txBody>
      </p:sp>
      <p:sp>
        <p:nvSpPr>
          <p:cNvPr id="3" name="Vertical Text Placeholder 2"/>
          <p:cNvSpPr>
            <a:spLocks noGrp="1"/>
          </p:cNvSpPr>
          <p:nvPr>
            <p:ph type="body" orient="vert" idx="1"/>
          </p:nvPr>
        </p:nvSpPr>
        <p:spPr>
          <a:xfrm>
            <a:off x="307976" y="227013"/>
            <a:ext cx="6675438" cy="5899150"/>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08014" y="227013"/>
            <a:ext cx="7980363" cy="457200"/>
          </a:xfrm>
        </p:spPr>
        <p:txBody>
          <a:bodyPr/>
          <a:lstStyle/>
          <a:p>
            <a:r>
              <a:rPr lang="en-US" smtClean="0"/>
              <a:t>Click to edit Master title style</a:t>
            </a:r>
            <a:endParaRPr lang="pt-BR"/>
          </a:p>
        </p:txBody>
      </p:sp>
      <p:sp>
        <p:nvSpPr>
          <p:cNvPr id="3" name="Chart Placeholder 2"/>
          <p:cNvSpPr>
            <a:spLocks noGrp="1"/>
          </p:cNvSpPr>
          <p:nvPr>
            <p:ph type="chart" idx="1"/>
          </p:nvPr>
        </p:nvSpPr>
        <p:spPr>
          <a:xfrm>
            <a:off x="495300" y="1600206"/>
            <a:ext cx="8915400" cy="4525963"/>
          </a:xfrm>
          <a:prstGeom prst="rect">
            <a:avLst/>
          </a:prstGeom>
        </p:spPr>
        <p:txBody>
          <a:bodyPr/>
          <a:lstStyle/>
          <a:p>
            <a:pPr lvl="0"/>
            <a:endParaRPr lang="pt-BR" noProof="0" smtClean="0"/>
          </a:p>
        </p:txBody>
      </p:sp>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742950" y="2130507"/>
            <a:ext cx="8420100" cy="1470025"/>
          </a:xfrm>
        </p:spPr>
        <p:txBody>
          <a:bodyPr/>
          <a:lstStyle/>
          <a:p>
            <a:r>
              <a:rPr lang="pt-BR" smtClean="0"/>
              <a:t>Clique para editar o estilo do título mestre</a:t>
            </a:r>
            <a:endParaRPr lang="pt-BR"/>
          </a:p>
        </p:txBody>
      </p:sp>
      <p:sp>
        <p:nvSpPr>
          <p:cNvPr id="3" name="Subtítulo 2"/>
          <p:cNvSpPr>
            <a:spLocks noGrp="1"/>
          </p:cNvSpPr>
          <p:nvPr>
            <p:ph type="subTitle" idx="1"/>
          </p:nvPr>
        </p:nvSpPr>
        <p:spPr>
          <a:xfrm>
            <a:off x="1485900" y="3886200"/>
            <a:ext cx="69342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pt-BR" smtClean="0"/>
              <a:t>Clique para editar o estilo do subtítulo mestre</a:t>
            </a:r>
            <a:endParaRPr lang="pt-BR"/>
          </a:p>
        </p:txBody>
      </p:sp>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Conteúdo 2"/>
          <p:cNvSpPr>
            <a:spLocks noGrp="1"/>
          </p:cNvSpPr>
          <p:nvPr>
            <p:ph idx="1"/>
          </p:nvPr>
        </p:nvSpPr>
        <p:spPr/>
        <p:txBody>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7181850" y="274645"/>
            <a:ext cx="2228850" cy="5851525"/>
          </a:xfrm>
          <a:prstGeom prst="rect">
            <a:avLst/>
          </a:prstGeom>
        </p:spPr>
        <p:txBody>
          <a:bodyPr vert="eaVert"/>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a:xfrm>
            <a:off x="495308" y="274645"/>
            <a:ext cx="6534150" cy="5851525"/>
          </a:xfrm>
          <a:prstGeom prst="rect">
            <a:avLst/>
          </a:prstGeom>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p:cNvSpPr>
            <a:spLocks noGrp="1"/>
          </p:cNvSpPr>
          <p:nvPr>
            <p:ph type="title"/>
          </p:nvPr>
        </p:nvSpPr>
        <p:spPr>
          <a:xfrm>
            <a:off x="782638" y="4406982"/>
            <a:ext cx="8420100" cy="1362075"/>
          </a:xfrm>
        </p:spPr>
        <p:txBody>
          <a:bodyPr anchor="t"/>
          <a:lstStyle>
            <a:lvl1pPr algn="l">
              <a:defRPr sz="4000" b="1" cap="all"/>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782638"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pt-BR" smtClean="0"/>
              <a:t>Clique para editar os estilos do texto mestre</a:t>
            </a:r>
          </a:p>
        </p:txBody>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Conteúdo 2"/>
          <p:cNvSpPr>
            <a:spLocks noGrp="1"/>
          </p:cNvSpPr>
          <p:nvPr>
            <p:ph sz="half" idx="1"/>
          </p:nvPr>
        </p:nvSpPr>
        <p:spPr>
          <a:xfrm>
            <a:off x="496888" y="1746250"/>
            <a:ext cx="4373562" cy="42497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Conteúdo 3"/>
          <p:cNvSpPr>
            <a:spLocks noGrp="1"/>
          </p:cNvSpPr>
          <p:nvPr>
            <p:ph sz="half" idx="2"/>
          </p:nvPr>
        </p:nvSpPr>
        <p:spPr>
          <a:xfrm>
            <a:off x="5022850" y="1746250"/>
            <a:ext cx="4375150" cy="42497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a:xfrm>
            <a:off x="495300" y="274638"/>
            <a:ext cx="8915400" cy="1143000"/>
          </a:xfrm>
        </p:spPr>
        <p:txBody>
          <a:bodyPr/>
          <a:lstStyle>
            <a:lvl1pPr>
              <a:defRPr/>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495300" y="1535113"/>
            <a:ext cx="437673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4" name="Espaço Reservado para Conteúdo 3"/>
          <p:cNvSpPr>
            <a:spLocks noGrp="1"/>
          </p:cNvSpPr>
          <p:nvPr>
            <p:ph sz="half" idx="2"/>
          </p:nvPr>
        </p:nvSpPr>
        <p:spPr>
          <a:xfrm>
            <a:off x="495300" y="2174875"/>
            <a:ext cx="43767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Texto 4"/>
          <p:cNvSpPr>
            <a:spLocks noGrp="1"/>
          </p:cNvSpPr>
          <p:nvPr>
            <p:ph type="body" sz="quarter" idx="3"/>
          </p:nvPr>
        </p:nvSpPr>
        <p:spPr>
          <a:xfrm>
            <a:off x="5032415" y="1535113"/>
            <a:ext cx="43783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6" name="Espaço Reservado para Conteúdo 5"/>
          <p:cNvSpPr>
            <a:spLocks noGrp="1"/>
          </p:cNvSpPr>
          <p:nvPr>
            <p:ph sz="quarter" idx="4"/>
          </p:nvPr>
        </p:nvSpPr>
        <p:spPr>
          <a:xfrm>
            <a:off x="5032415" y="2174875"/>
            <a:ext cx="43783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Tree>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495305" y="273050"/>
            <a:ext cx="3259138" cy="1162050"/>
          </a:xfrm>
        </p:spPr>
        <p:txBody>
          <a:bodyPr anchor="b"/>
          <a:lstStyle>
            <a:lvl1pPr algn="l">
              <a:defRPr sz="2000" b="1"/>
            </a:lvl1pPr>
          </a:lstStyle>
          <a:p>
            <a:r>
              <a:rPr lang="pt-BR" smtClean="0"/>
              <a:t>Clique para editar o estilo do título mestre</a:t>
            </a:r>
            <a:endParaRPr lang="pt-BR"/>
          </a:p>
        </p:txBody>
      </p:sp>
      <p:sp>
        <p:nvSpPr>
          <p:cNvPr id="3" name="Espaço Reservado para Conteúdo 2"/>
          <p:cNvSpPr>
            <a:spLocks noGrp="1"/>
          </p:cNvSpPr>
          <p:nvPr>
            <p:ph idx="1"/>
          </p:nvPr>
        </p:nvSpPr>
        <p:spPr>
          <a:xfrm>
            <a:off x="3873499" y="273058"/>
            <a:ext cx="553720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Texto 3"/>
          <p:cNvSpPr>
            <a:spLocks noGrp="1"/>
          </p:cNvSpPr>
          <p:nvPr>
            <p:ph type="body" sz="half" idx="2"/>
          </p:nvPr>
        </p:nvSpPr>
        <p:spPr>
          <a:xfrm>
            <a:off x="495305" y="1435103"/>
            <a:ext cx="3259138"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1941513" y="4800600"/>
            <a:ext cx="5943600" cy="566738"/>
          </a:xfrm>
        </p:spPr>
        <p:txBody>
          <a:bodyPr anchor="b"/>
          <a:lstStyle>
            <a:lvl1pPr algn="l">
              <a:defRPr sz="2000" b="1"/>
            </a:lvl1pPr>
          </a:lstStyle>
          <a:p>
            <a:r>
              <a:rPr lang="pt-BR" smtClean="0"/>
              <a:t>Clique para editar o estilo do título mestre</a:t>
            </a:r>
            <a:endParaRPr lang="pt-BR"/>
          </a:p>
        </p:txBody>
      </p:sp>
      <p:sp>
        <p:nvSpPr>
          <p:cNvPr id="3" name="Espaço Reservado para Imagem 2"/>
          <p:cNvSpPr>
            <a:spLocks noGrp="1"/>
          </p:cNvSpPr>
          <p:nvPr>
            <p:ph type="pic" idx="1"/>
          </p:nvPr>
        </p:nvSpPr>
        <p:spPr>
          <a:xfrm>
            <a:off x="1941513" y="612775"/>
            <a:ext cx="5943600" cy="4114800"/>
          </a:xfrm>
        </p:spPr>
        <p:txBody>
          <a:bodyPr vert="horz" wrap="square" lIns="0" tIns="0" rIns="0" bIns="0" numCol="1" anchor="t" anchorCtr="0" compatLnSpc="1">
            <a:prstTxWarp prst="textNoShape">
              <a:avLst/>
            </a:prstTxWarp>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pt-BR" noProof="0" smtClean="0"/>
          </a:p>
        </p:txBody>
      </p:sp>
      <p:sp>
        <p:nvSpPr>
          <p:cNvPr id="4" name="Espaço Reservado para Texto 3"/>
          <p:cNvSpPr>
            <a:spLocks noGrp="1"/>
          </p:cNvSpPr>
          <p:nvPr>
            <p:ph type="body" sz="half" idx="2"/>
          </p:nvPr>
        </p:nvSpPr>
        <p:spPr>
          <a:xfrm>
            <a:off x="1941513"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Tree>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7173957" y="944567"/>
            <a:ext cx="2224087" cy="5051425"/>
          </a:xfrm>
        </p:spPr>
        <p:txBody>
          <a:bodyPr vert="eaVert"/>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a:xfrm>
            <a:off x="496897" y="944567"/>
            <a:ext cx="6524625" cy="5051425"/>
          </a:xfrm>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08014" y="227013"/>
            <a:ext cx="7980363" cy="457200"/>
          </a:xfrm>
        </p:spPr>
        <p:txBody>
          <a:bodyPr/>
          <a:lstStyle/>
          <a:p>
            <a:r>
              <a:rPr lang="en-US" smtClean="0"/>
              <a:t>Click to edit Master title style</a:t>
            </a:r>
            <a:endParaRPr lang="pt-BR"/>
          </a:p>
        </p:txBody>
      </p:sp>
      <p:sp>
        <p:nvSpPr>
          <p:cNvPr id="3" name="Table Placeholder 2"/>
          <p:cNvSpPr>
            <a:spLocks noGrp="1"/>
          </p:cNvSpPr>
          <p:nvPr>
            <p:ph type="tbl" idx="1"/>
          </p:nvPr>
        </p:nvSpPr>
        <p:spPr>
          <a:xfrm>
            <a:off x="495300" y="1600206"/>
            <a:ext cx="8915400" cy="4525963"/>
          </a:xfrm>
          <a:prstGeom prst="rect">
            <a:avLst/>
          </a:prstGeom>
        </p:spPr>
        <p:txBody>
          <a:bodyPr/>
          <a:lstStyle/>
          <a:p>
            <a:pPr lvl="0"/>
            <a:endParaRPr lang="pt-BR" noProof="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742950" y="2130507"/>
            <a:ext cx="8420100" cy="1470025"/>
          </a:xfrm>
        </p:spPr>
        <p:txBody>
          <a:bodyPr/>
          <a:lstStyle/>
          <a:p>
            <a:r>
              <a:rPr lang="pt-BR" smtClean="0"/>
              <a:t>Clique para editar o estilo do título mestre</a:t>
            </a:r>
            <a:endParaRPr lang="pt-BR"/>
          </a:p>
        </p:txBody>
      </p:sp>
      <p:sp>
        <p:nvSpPr>
          <p:cNvPr id="3" name="Subtítulo 2"/>
          <p:cNvSpPr>
            <a:spLocks noGrp="1"/>
          </p:cNvSpPr>
          <p:nvPr>
            <p:ph type="subTitle" idx="1"/>
          </p:nvPr>
        </p:nvSpPr>
        <p:spPr>
          <a:xfrm>
            <a:off x="1485900" y="3886200"/>
            <a:ext cx="69342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pt-BR" smtClean="0"/>
              <a:t>Clique para editar o estilo do subtítulo mestre</a:t>
            </a:r>
            <a:endParaRPr lang="pt-BR"/>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08014" y="227013"/>
            <a:ext cx="7980363" cy="457200"/>
          </a:xfrm>
        </p:spPr>
        <p:txBody>
          <a:bodyPr/>
          <a:lstStyle/>
          <a:p>
            <a:r>
              <a:rPr lang="en-US" smtClean="0"/>
              <a:t>Click to edit Master title style</a:t>
            </a:r>
            <a:endParaRPr lang="pt-BR"/>
          </a:p>
        </p:txBody>
      </p:sp>
      <p:sp>
        <p:nvSpPr>
          <p:cNvPr id="3" name="Chart Placeholder 2"/>
          <p:cNvSpPr>
            <a:spLocks noGrp="1"/>
          </p:cNvSpPr>
          <p:nvPr>
            <p:ph type="chart" idx="1"/>
          </p:nvPr>
        </p:nvSpPr>
        <p:spPr>
          <a:xfrm>
            <a:off x="495300" y="1600206"/>
            <a:ext cx="8915400" cy="4525963"/>
          </a:xfrm>
          <a:prstGeom prst="rect">
            <a:avLst/>
          </a:prstGeom>
        </p:spPr>
        <p:txBody>
          <a:bodyPr/>
          <a:lstStyle/>
          <a:p>
            <a:pPr lvl="0"/>
            <a:endParaRPr lang="pt-BR" noProof="0"/>
          </a:p>
        </p:txBody>
      </p:sp>
    </p:spTree>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307991" y="227013"/>
            <a:ext cx="9102725" cy="58991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08014" y="227013"/>
            <a:ext cx="7980363" cy="457200"/>
          </a:xfrm>
        </p:spPr>
        <p:txBody>
          <a:bodyPr/>
          <a:lstStyle/>
          <a:p>
            <a:r>
              <a:rPr lang="en-US" smtClean="0"/>
              <a:t>Click to edit Master title style</a:t>
            </a:r>
            <a:endParaRPr lang="pt-BR"/>
          </a:p>
        </p:txBody>
      </p:sp>
      <p:sp>
        <p:nvSpPr>
          <p:cNvPr id="3" name="Content Placeholder 2"/>
          <p:cNvSpPr>
            <a:spLocks noGrp="1"/>
          </p:cNvSpPr>
          <p:nvPr>
            <p:ph sz="half" idx="1"/>
          </p:nvPr>
        </p:nvSpPr>
        <p:spPr>
          <a:xfrm>
            <a:off x="495303" y="1600206"/>
            <a:ext cx="4381501"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4" name="Content Placeholder 3"/>
          <p:cNvSpPr>
            <a:spLocks noGrp="1"/>
          </p:cNvSpPr>
          <p:nvPr>
            <p:ph sz="quarter" idx="2"/>
          </p:nvPr>
        </p:nvSpPr>
        <p:spPr>
          <a:xfrm>
            <a:off x="5029199" y="1600200"/>
            <a:ext cx="4381501" cy="218598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5" name="Content Placeholder 4"/>
          <p:cNvSpPr>
            <a:spLocks noGrp="1"/>
          </p:cNvSpPr>
          <p:nvPr>
            <p:ph sz="quarter" idx="3"/>
          </p:nvPr>
        </p:nvSpPr>
        <p:spPr>
          <a:xfrm>
            <a:off x="5029199" y="3938599"/>
            <a:ext cx="4381501" cy="218757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507"/>
            <a:ext cx="8420100" cy="1470025"/>
          </a:xfrm>
        </p:spPr>
        <p:txBody>
          <a:bodyPr/>
          <a:lstStyle/>
          <a:p>
            <a:r>
              <a:rPr lang="en-US" smtClean="0"/>
              <a:t>Click to edit Master title style</a:t>
            </a:r>
            <a:endParaRPr lang="pt-BR"/>
          </a:p>
        </p:txBody>
      </p:sp>
      <p:sp>
        <p:nvSpPr>
          <p:cNvPr id="3" name="Subtitle 2"/>
          <p:cNvSpPr>
            <a:spLocks noGrp="1"/>
          </p:cNvSpPr>
          <p:nvPr>
            <p:ph type="subTitle" idx="1"/>
          </p:nvPr>
        </p:nvSpPr>
        <p:spPr>
          <a:xfrm>
            <a:off x="1485900" y="3886200"/>
            <a:ext cx="69342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pt-BR"/>
          </a:p>
        </p:txBody>
      </p:sp>
    </p:spTree>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
        <p:nvSpPr>
          <p:cNvPr id="3" name="Content Placeholder 2"/>
          <p:cNvSpPr>
            <a:spLocks noGrp="1"/>
          </p:cNvSpPr>
          <p:nvPr>
            <p:ph idx="1"/>
          </p:nvPr>
        </p:nvSpPr>
        <p:spPr>
          <a:xfrm>
            <a:off x="495300" y="1600206"/>
            <a:ext cx="89154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82"/>
            <a:ext cx="8420100" cy="1362075"/>
          </a:xfrm>
        </p:spPr>
        <p:txBody>
          <a:bodyPr anchor="t"/>
          <a:lstStyle>
            <a:lvl1pPr algn="l">
              <a:defRPr sz="4000" b="1" cap="all"/>
            </a:lvl1pPr>
          </a:lstStyle>
          <a:p>
            <a:r>
              <a:rPr lang="en-US" smtClean="0"/>
              <a:t>Click to edit Master title style</a:t>
            </a:r>
            <a:endParaRPr lang="pt-BR"/>
          </a:p>
        </p:txBody>
      </p:sp>
      <p:sp>
        <p:nvSpPr>
          <p:cNvPr id="3" name="Text Placeholder 2"/>
          <p:cNvSpPr>
            <a:spLocks noGrp="1"/>
          </p:cNvSpPr>
          <p:nvPr>
            <p:ph type="body" idx="1"/>
          </p:nvPr>
        </p:nvSpPr>
        <p:spPr>
          <a:xfrm>
            <a:off x="782638" y="2906713"/>
            <a:ext cx="84201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
        <p:nvSpPr>
          <p:cNvPr id="3" name="Content Placeholder 2"/>
          <p:cNvSpPr>
            <a:spLocks noGrp="1"/>
          </p:cNvSpPr>
          <p:nvPr>
            <p:ph sz="half" idx="1"/>
          </p:nvPr>
        </p:nvSpPr>
        <p:spPr>
          <a:xfrm>
            <a:off x="495303"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4" name="Content Placeholder 3"/>
          <p:cNvSpPr>
            <a:spLocks noGrp="1"/>
          </p:cNvSpPr>
          <p:nvPr>
            <p:ph sz="half" idx="2"/>
          </p:nvPr>
        </p:nvSpPr>
        <p:spPr>
          <a:xfrm>
            <a:off x="5029199"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smtClean="0"/>
              <a:t>Click to edit Master title style</a:t>
            </a:r>
            <a:endParaRPr lang="pt-BR"/>
          </a:p>
        </p:txBody>
      </p:sp>
      <p:sp>
        <p:nvSpPr>
          <p:cNvPr id="3" name="Text Placeholder 2"/>
          <p:cNvSpPr>
            <a:spLocks noGrp="1"/>
          </p:cNvSpPr>
          <p:nvPr>
            <p:ph type="body" idx="1"/>
          </p:nvPr>
        </p:nvSpPr>
        <p:spPr>
          <a:xfrm>
            <a:off x="495300" y="1535113"/>
            <a:ext cx="437673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73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5" name="Text Placeholder 4"/>
          <p:cNvSpPr>
            <a:spLocks noGrp="1"/>
          </p:cNvSpPr>
          <p:nvPr>
            <p:ph type="body" sz="quarter" idx="3"/>
          </p:nvPr>
        </p:nvSpPr>
        <p:spPr>
          <a:xfrm>
            <a:off x="5032415" y="1535113"/>
            <a:ext cx="437832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415" y="2174875"/>
            <a:ext cx="437832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Conteúdo 2"/>
          <p:cNvSpPr>
            <a:spLocks noGrp="1"/>
          </p:cNvSpPr>
          <p:nvPr>
            <p:ph idx="1"/>
          </p:nvPr>
        </p:nvSpPr>
        <p:spPr/>
        <p:txBody>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5" y="273050"/>
            <a:ext cx="3259138" cy="1162050"/>
          </a:xfrm>
        </p:spPr>
        <p:txBody>
          <a:bodyPr anchor="b"/>
          <a:lstStyle>
            <a:lvl1pPr algn="l">
              <a:defRPr sz="2000" b="1"/>
            </a:lvl1pPr>
          </a:lstStyle>
          <a:p>
            <a:r>
              <a:rPr lang="en-US" smtClean="0"/>
              <a:t>Click to edit Master title style</a:t>
            </a:r>
            <a:endParaRPr lang="pt-BR"/>
          </a:p>
        </p:txBody>
      </p:sp>
      <p:sp>
        <p:nvSpPr>
          <p:cNvPr id="3" name="Content Placeholder 2"/>
          <p:cNvSpPr>
            <a:spLocks noGrp="1"/>
          </p:cNvSpPr>
          <p:nvPr>
            <p:ph idx="1"/>
          </p:nvPr>
        </p:nvSpPr>
        <p:spPr>
          <a:xfrm>
            <a:off x="3873499" y="273058"/>
            <a:ext cx="5537201"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4" name="Text Placeholder 3"/>
          <p:cNvSpPr>
            <a:spLocks noGrp="1"/>
          </p:cNvSpPr>
          <p:nvPr>
            <p:ph type="body" sz="half" idx="2"/>
          </p:nvPr>
        </p:nvSpPr>
        <p:spPr>
          <a:xfrm>
            <a:off x="495305" y="1435103"/>
            <a:ext cx="3259138"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3600" cy="566738"/>
          </a:xfrm>
        </p:spPr>
        <p:txBody>
          <a:bodyPr anchor="b"/>
          <a:lstStyle>
            <a:lvl1pPr algn="l">
              <a:defRPr sz="2000" b="1"/>
            </a:lvl1pPr>
          </a:lstStyle>
          <a:p>
            <a:r>
              <a:rPr lang="en-US" smtClean="0"/>
              <a:t>Click to edit Master title style</a:t>
            </a:r>
            <a:endParaRPr lang="pt-BR"/>
          </a:p>
        </p:txBody>
      </p:sp>
      <p:sp>
        <p:nvSpPr>
          <p:cNvPr id="3" name="Picture Placeholder 2"/>
          <p:cNvSpPr>
            <a:spLocks noGrp="1"/>
          </p:cNvSpPr>
          <p:nvPr>
            <p:ph type="pic" idx="1"/>
          </p:nvPr>
        </p:nvSpPr>
        <p:spPr>
          <a:xfrm>
            <a:off x="1941513" y="612775"/>
            <a:ext cx="59436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pt-BR" noProof="0" smtClean="0"/>
          </a:p>
        </p:txBody>
      </p:sp>
      <p:sp>
        <p:nvSpPr>
          <p:cNvPr id="4" name="Text Placeholder 3"/>
          <p:cNvSpPr>
            <a:spLocks noGrp="1"/>
          </p:cNvSpPr>
          <p:nvPr>
            <p:ph type="body" sz="half" idx="2"/>
          </p:nvPr>
        </p:nvSpPr>
        <p:spPr>
          <a:xfrm>
            <a:off x="1941513" y="5367338"/>
            <a:ext cx="59436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
        <p:nvSpPr>
          <p:cNvPr id="3" name="Vertical Text Placeholder 2"/>
          <p:cNvSpPr>
            <a:spLocks noGrp="1"/>
          </p:cNvSpPr>
          <p:nvPr>
            <p:ph type="body" orient="vert" idx="1"/>
          </p:nvPr>
        </p:nvSpPr>
        <p:spPr>
          <a:xfrm>
            <a:off x="495300" y="1600206"/>
            <a:ext cx="89154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35815" y="227013"/>
            <a:ext cx="2274887" cy="5899150"/>
          </a:xfrm>
        </p:spPr>
        <p:txBody>
          <a:bodyPr vert="eaVert"/>
          <a:lstStyle/>
          <a:p>
            <a:r>
              <a:rPr lang="en-US" smtClean="0"/>
              <a:t>Click to edit Master title style</a:t>
            </a:r>
            <a:endParaRPr lang="pt-BR"/>
          </a:p>
        </p:txBody>
      </p:sp>
      <p:sp>
        <p:nvSpPr>
          <p:cNvPr id="3" name="Vertical Text Placeholder 2"/>
          <p:cNvSpPr>
            <a:spLocks noGrp="1"/>
          </p:cNvSpPr>
          <p:nvPr>
            <p:ph type="body" orient="vert" idx="1"/>
          </p:nvPr>
        </p:nvSpPr>
        <p:spPr>
          <a:xfrm>
            <a:off x="307976" y="227013"/>
            <a:ext cx="6675438" cy="5899150"/>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507"/>
            <a:ext cx="84201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485900" y="3886200"/>
            <a:ext cx="69342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495300" y="1600206"/>
            <a:ext cx="89154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82"/>
            <a:ext cx="84201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82638" y="2906713"/>
            <a:ext cx="84201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95303"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029199"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95300" y="1535113"/>
            <a:ext cx="437673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73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5032415" y="1535113"/>
            <a:ext cx="437832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415" y="2174875"/>
            <a:ext cx="437832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p:cNvSpPr>
            <a:spLocks noGrp="1"/>
          </p:cNvSpPr>
          <p:nvPr>
            <p:ph type="title"/>
          </p:nvPr>
        </p:nvSpPr>
        <p:spPr>
          <a:xfrm>
            <a:off x="782638" y="4406982"/>
            <a:ext cx="8420100" cy="1362075"/>
          </a:xfrm>
        </p:spPr>
        <p:txBody>
          <a:bodyPr anchor="t"/>
          <a:lstStyle>
            <a:lvl1pPr algn="l">
              <a:defRPr sz="4000" b="1" cap="all"/>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782638"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pt-BR" smtClean="0"/>
              <a:t>Clique para editar os estilos do texto mestre</a:t>
            </a:r>
          </a:p>
        </p:txBody>
      </p:sp>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5" y="273050"/>
            <a:ext cx="3259138"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873499" y="273058"/>
            <a:ext cx="5537201"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95305" y="1435103"/>
            <a:ext cx="3259138"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36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941513" y="612775"/>
            <a:ext cx="59436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941513" y="5367338"/>
            <a:ext cx="59436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495300" y="1600206"/>
            <a:ext cx="89154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35815" y="227013"/>
            <a:ext cx="2274887" cy="589915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07976" y="227013"/>
            <a:ext cx="6675438" cy="5899150"/>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507"/>
            <a:ext cx="8420100" cy="1470025"/>
          </a:xfrm>
        </p:spPr>
        <p:txBody>
          <a:bodyPr/>
          <a:lstStyle/>
          <a:p>
            <a:r>
              <a:rPr lang="en-US" smtClean="0"/>
              <a:t>Click to edit Master title style</a:t>
            </a:r>
            <a:endParaRPr lang="pt-BR"/>
          </a:p>
        </p:txBody>
      </p:sp>
      <p:sp>
        <p:nvSpPr>
          <p:cNvPr id="3" name="Subtitle 2"/>
          <p:cNvSpPr>
            <a:spLocks noGrp="1"/>
          </p:cNvSpPr>
          <p:nvPr>
            <p:ph type="subTitle" idx="1"/>
          </p:nvPr>
        </p:nvSpPr>
        <p:spPr>
          <a:xfrm>
            <a:off x="1485900" y="3886200"/>
            <a:ext cx="69342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pt-BR"/>
          </a:p>
        </p:txBody>
      </p:sp>
    </p:spTree>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
        <p:nvSpPr>
          <p:cNvPr id="3" name="Content Placeholder 2"/>
          <p:cNvSpPr>
            <a:spLocks noGrp="1"/>
          </p:cNvSpPr>
          <p:nvPr>
            <p:ph idx="1"/>
          </p:nvPr>
        </p:nvSpPr>
        <p:spPr>
          <a:xfrm>
            <a:off x="495300" y="1600206"/>
            <a:ext cx="89154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82"/>
            <a:ext cx="8420100" cy="1362075"/>
          </a:xfrm>
        </p:spPr>
        <p:txBody>
          <a:bodyPr anchor="t"/>
          <a:lstStyle>
            <a:lvl1pPr algn="l">
              <a:defRPr sz="4000" b="1" cap="all"/>
            </a:lvl1pPr>
          </a:lstStyle>
          <a:p>
            <a:r>
              <a:rPr lang="en-US" smtClean="0"/>
              <a:t>Click to edit Master title style</a:t>
            </a:r>
            <a:endParaRPr lang="pt-BR"/>
          </a:p>
        </p:txBody>
      </p:sp>
      <p:sp>
        <p:nvSpPr>
          <p:cNvPr id="3" name="Text Placeholder 2"/>
          <p:cNvSpPr>
            <a:spLocks noGrp="1"/>
          </p:cNvSpPr>
          <p:nvPr>
            <p:ph type="body" idx="1"/>
          </p:nvPr>
        </p:nvSpPr>
        <p:spPr>
          <a:xfrm>
            <a:off x="782638" y="2906713"/>
            <a:ext cx="84201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
        <p:nvSpPr>
          <p:cNvPr id="3" name="Content Placeholder 2"/>
          <p:cNvSpPr>
            <a:spLocks noGrp="1"/>
          </p:cNvSpPr>
          <p:nvPr>
            <p:ph sz="half" idx="1"/>
          </p:nvPr>
        </p:nvSpPr>
        <p:spPr>
          <a:xfrm>
            <a:off x="495303"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4" name="Content Placeholder 3"/>
          <p:cNvSpPr>
            <a:spLocks noGrp="1"/>
          </p:cNvSpPr>
          <p:nvPr>
            <p:ph sz="half" idx="2"/>
          </p:nvPr>
        </p:nvSpPr>
        <p:spPr>
          <a:xfrm>
            <a:off x="5029199"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smtClean="0"/>
              <a:t>Click to edit Master title style</a:t>
            </a:r>
            <a:endParaRPr lang="pt-BR"/>
          </a:p>
        </p:txBody>
      </p:sp>
      <p:sp>
        <p:nvSpPr>
          <p:cNvPr id="3" name="Text Placeholder 2"/>
          <p:cNvSpPr>
            <a:spLocks noGrp="1"/>
          </p:cNvSpPr>
          <p:nvPr>
            <p:ph type="body" idx="1"/>
          </p:nvPr>
        </p:nvSpPr>
        <p:spPr>
          <a:xfrm>
            <a:off x="495300" y="1535113"/>
            <a:ext cx="437673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73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5" name="Text Placeholder 4"/>
          <p:cNvSpPr>
            <a:spLocks noGrp="1"/>
          </p:cNvSpPr>
          <p:nvPr>
            <p:ph type="body" sz="quarter" idx="3"/>
          </p:nvPr>
        </p:nvSpPr>
        <p:spPr>
          <a:xfrm>
            <a:off x="5032415" y="1535113"/>
            <a:ext cx="437832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415" y="2174875"/>
            <a:ext cx="437832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Conteúdo 2"/>
          <p:cNvSpPr>
            <a:spLocks noGrp="1"/>
          </p:cNvSpPr>
          <p:nvPr>
            <p:ph sz="half" idx="1"/>
          </p:nvPr>
        </p:nvSpPr>
        <p:spPr>
          <a:xfrm>
            <a:off x="496888" y="1746250"/>
            <a:ext cx="4373562" cy="42497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Conteúdo 3"/>
          <p:cNvSpPr>
            <a:spLocks noGrp="1"/>
          </p:cNvSpPr>
          <p:nvPr>
            <p:ph sz="half" idx="2"/>
          </p:nvPr>
        </p:nvSpPr>
        <p:spPr>
          <a:xfrm>
            <a:off x="5022850" y="1746250"/>
            <a:ext cx="4375150" cy="42497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Tree>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5" y="273050"/>
            <a:ext cx="3259138" cy="1162050"/>
          </a:xfrm>
        </p:spPr>
        <p:txBody>
          <a:bodyPr anchor="b"/>
          <a:lstStyle>
            <a:lvl1pPr algn="l">
              <a:defRPr sz="2000" b="1"/>
            </a:lvl1pPr>
          </a:lstStyle>
          <a:p>
            <a:r>
              <a:rPr lang="en-US" smtClean="0"/>
              <a:t>Click to edit Master title style</a:t>
            </a:r>
            <a:endParaRPr lang="pt-BR"/>
          </a:p>
        </p:txBody>
      </p:sp>
      <p:sp>
        <p:nvSpPr>
          <p:cNvPr id="3" name="Content Placeholder 2"/>
          <p:cNvSpPr>
            <a:spLocks noGrp="1"/>
          </p:cNvSpPr>
          <p:nvPr>
            <p:ph idx="1"/>
          </p:nvPr>
        </p:nvSpPr>
        <p:spPr>
          <a:xfrm>
            <a:off x="3873499" y="273058"/>
            <a:ext cx="5537201"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4" name="Text Placeholder 3"/>
          <p:cNvSpPr>
            <a:spLocks noGrp="1"/>
          </p:cNvSpPr>
          <p:nvPr>
            <p:ph type="body" sz="half" idx="2"/>
          </p:nvPr>
        </p:nvSpPr>
        <p:spPr>
          <a:xfrm>
            <a:off x="495305" y="1435103"/>
            <a:ext cx="3259138"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3600" cy="566738"/>
          </a:xfrm>
        </p:spPr>
        <p:txBody>
          <a:bodyPr anchor="b"/>
          <a:lstStyle>
            <a:lvl1pPr algn="l">
              <a:defRPr sz="2000" b="1"/>
            </a:lvl1pPr>
          </a:lstStyle>
          <a:p>
            <a:r>
              <a:rPr lang="en-US" smtClean="0"/>
              <a:t>Click to edit Master title style</a:t>
            </a:r>
            <a:endParaRPr lang="pt-BR"/>
          </a:p>
        </p:txBody>
      </p:sp>
      <p:sp>
        <p:nvSpPr>
          <p:cNvPr id="3" name="Picture Placeholder 2"/>
          <p:cNvSpPr>
            <a:spLocks noGrp="1"/>
          </p:cNvSpPr>
          <p:nvPr>
            <p:ph type="pic" idx="1"/>
          </p:nvPr>
        </p:nvSpPr>
        <p:spPr>
          <a:xfrm>
            <a:off x="1941513" y="612775"/>
            <a:ext cx="59436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pt-BR" noProof="0" smtClean="0"/>
          </a:p>
        </p:txBody>
      </p:sp>
      <p:sp>
        <p:nvSpPr>
          <p:cNvPr id="4" name="Text Placeholder 3"/>
          <p:cNvSpPr>
            <a:spLocks noGrp="1"/>
          </p:cNvSpPr>
          <p:nvPr>
            <p:ph type="body" sz="half" idx="2"/>
          </p:nvPr>
        </p:nvSpPr>
        <p:spPr>
          <a:xfrm>
            <a:off x="1941513" y="5367338"/>
            <a:ext cx="59436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
        <p:nvSpPr>
          <p:cNvPr id="3" name="Vertical Text Placeholder 2"/>
          <p:cNvSpPr>
            <a:spLocks noGrp="1"/>
          </p:cNvSpPr>
          <p:nvPr>
            <p:ph type="body" orient="vert" idx="1"/>
          </p:nvPr>
        </p:nvSpPr>
        <p:spPr>
          <a:xfrm>
            <a:off x="495300" y="1600206"/>
            <a:ext cx="89154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35815" y="227013"/>
            <a:ext cx="2274887" cy="5899150"/>
          </a:xfrm>
        </p:spPr>
        <p:txBody>
          <a:bodyPr vert="eaVert"/>
          <a:lstStyle/>
          <a:p>
            <a:r>
              <a:rPr lang="en-US" smtClean="0"/>
              <a:t>Click to edit Master title style</a:t>
            </a:r>
            <a:endParaRPr lang="pt-BR"/>
          </a:p>
        </p:txBody>
      </p:sp>
      <p:sp>
        <p:nvSpPr>
          <p:cNvPr id="3" name="Vertical Text Placeholder 2"/>
          <p:cNvSpPr>
            <a:spLocks noGrp="1"/>
          </p:cNvSpPr>
          <p:nvPr>
            <p:ph type="body" orient="vert" idx="1"/>
          </p:nvPr>
        </p:nvSpPr>
        <p:spPr>
          <a:xfrm>
            <a:off x="307976" y="227013"/>
            <a:ext cx="6675438" cy="5899150"/>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08014" y="227013"/>
            <a:ext cx="7980363" cy="457200"/>
          </a:xfrm>
        </p:spPr>
        <p:txBody>
          <a:bodyPr/>
          <a:lstStyle/>
          <a:p>
            <a:r>
              <a:rPr lang="en-US" smtClean="0"/>
              <a:t>Click to edit Master title style</a:t>
            </a:r>
            <a:endParaRPr lang="pt-BR"/>
          </a:p>
        </p:txBody>
      </p:sp>
      <p:sp>
        <p:nvSpPr>
          <p:cNvPr id="3" name="Chart Placeholder 2"/>
          <p:cNvSpPr>
            <a:spLocks noGrp="1"/>
          </p:cNvSpPr>
          <p:nvPr>
            <p:ph type="chart" idx="1"/>
          </p:nvPr>
        </p:nvSpPr>
        <p:spPr>
          <a:xfrm>
            <a:off x="495300" y="1600206"/>
            <a:ext cx="8915400" cy="4525963"/>
          </a:xfrm>
          <a:prstGeom prst="rect">
            <a:avLst/>
          </a:prstGeom>
        </p:spPr>
        <p:txBody>
          <a:bodyPr/>
          <a:lstStyle/>
          <a:p>
            <a:pPr lvl="0"/>
            <a:endParaRPr lang="pt-BR" noProof="0" smtClean="0"/>
          </a:p>
        </p:txBody>
      </p:sp>
    </p:spTree>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659"/>
            <a:ext cx="8420100" cy="1470025"/>
          </a:xfrm>
        </p:spPr>
        <p:txBody>
          <a:bodyPr/>
          <a:lstStyle/>
          <a:p>
            <a:r>
              <a:rPr lang="en-US" smtClean="0"/>
              <a:t>Click to edit Master title style</a:t>
            </a:r>
            <a:endParaRPr lang="pt-BR"/>
          </a:p>
        </p:txBody>
      </p:sp>
      <p:sp>
        <p:nvSpPr>
          <p:cNvPr id="3" name="Subtitle 2"/>
          <p:cNvSpPr>
            <a:spLocks noGrp="1"/>
          </p:cNvSpPr>
          <p:nvPr>
            <p:ph type="subTitle" idx="1"/>
          </p:nvPr>
        </p:nvSpPr>
        <p:spPr>
          <a:xfrm>
            <a:off x="1485900" y="3886200"/>
            <a:ext cx="69342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pt-BR"/>
          </a:p>
        </p:txBody>
      </p:sp>
    </p:spTree>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
        <p:nvSpPr>
          <p:cNvPr id="3" name="Content Placeholder 2"/>
          <p:cNvSpPr>
            <a:spLocks noGrp="1"/>
          </p:cNvSpPr>
          <p:nvPr>
            <p:ph idx="1"/>
          </p:nvPr>
        </p:nvSpPr>
        <p:spPr>
          <a:xfrm>
            <a:off x="495300" y="1600206"/>
            <a:ext cx="89154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7134"/>
            <a:ext cx="8420100" cy="1362075"/>
          </a:xfrm>
        </p:spPr>
        <p:txBody>
          <a:bodyPr anchor="t"/>
          <a:lstStyle>
            <a:lvl1pPr algn="l">
              <a:defRPr sz="4000" b="1" cap="all"/>
            </a:lvl1pPr>
          </a:lstStyle>
          <a:p>
            <a:r>
              <a:rPr lang="en-US" smtClean="0"/>
              <a:t>Click to edit Master title style</a:t>
            </a:r>
            <a:endParaRPr lang="pt-BR"/>
          </a:p>
        </p:txBody>
      </p:sp>
      <p:sp>
        <p:nvSpPr>
          <p:cNvPr id="3" name="Text Placeholder 2"/>
          <p:cNvSpPr>
            <a:spLocks noGrp="1"/>
          </p:cNvSpPr>
          <p:nvPr>
            <p:ph type="body" idx="1"/>
          </p:nvPr>
        </p:nvSpPr>
        <p:spPr>
          <a:xfrm>
            <a:off x="782638" y="2906713"/>
            <a:ext cx="84201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a:xfrm>
            <a:off x="495300" y="274638"/>
            <a:ext cx="8915400" cy="1143000"/>
          </a:xfrm>
        </p:spPr>
        <p:txBody>
          <a:bodyPr/>
          <a:lstStyle>
            <a:lvl1pPr>
              <a:defRPr/>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495300" y="1535113"/>
            <a:ext cx="437673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4" name="Espaço Reservado para Conteúdo 3"/>
          <p:cNvSpPr>
            <a:spLocks noGrp="1"/>
          </p:cNvSpPr>
          <p:nvPr>
            <p:ph sz="half" idx="2"/>
          </p:nvPr>
        </p:nvSpPr>
        <p:spPr>
          <a:xfrm>
            <a:off x="495300" y="2174875"/>
            <a:ext cx="43767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Texto 4"/>
          <p:cNvSpPr>
            <a:spLocks noGrp="1"/>
          </p:cNvSpPr>
          <p:nvPr>
            <p:ph type="body" sz="quarter" idx="3"/>
          </p:nvPr>
        </p:nvSpPr>
        <p:spPr>
          <a:xfrm>
            <a:off x="5032415" y="1535113"/>
            <a:ext cx="43783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6" name="Espaço Reservado para Conteúdo 5"/>
          <p:cNvSpPr>
            <a:spLocks noGrp="1"/>
          </p:cNvSpPr>
          <p:nvPr>
            <p:ph sz="quarter" idx="4"/>
          </p:nvPr>
        </p:nvSpPr>
        <p:spPr>
          <a:xfrm>
            <a:off x="5032415" y="2174875"/>
            <a:ext cx="43783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
        <p:nvSpPr>
          <p:cNvPr id="3" name="Content Placeholder 2"/>
          <p:cNvSpPr>
            <a:spLocks noGrp="1"/>
          </p:cNvSpPr>
          <p:nvPr>
            <p:ph sz="half" idx="1"/>
          </p:nvPr>
        </p:nvSpPr>
        <p:spPr>
          <a:xfrm>
            <a:off x="495303"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4" name="Content Placeholder 3"/>
          <p:cNvSpPr>
            <a:spLocks noGrp="1"/>
          </p:cNvSpPr>
          <p:nvPr>
            <p:ph sz="half" idx="2"/>
          </p:nvPr>
        </p:nvSpPr>
        <p:spPr>
          <a:xfrm>
            <a:off x="5029199"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smtClean="0"/>
              <a:t>Click to edit Master title style</a:t>
            </a:r>
            <a:endParaRPr lang="pt-BR"/>
          </a:p>
        </p:txBody>
      </p:sp>
      <p:sp>
        <p:nvSpPr>
          <p:cNvPr id="3" name="Text Placeholder 2"/>
          <p:cNvSpPr>
            <a:spLocks noGrp="1"/>
          </p:cNvSpPr>
          <p:nvPr>
            <p:ph type="body" idx="1"/>
          </p:nvPr>
        </p:nvSpPr>
        <p:spPr>
          <a:xfrm>
            <a:off x="495300" y="1535113"/>
            <a:ext cx="437673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73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5" name="Text Placeholder 4"/>
          <p:cNvSpPr>
            <a:spLocks noGrp="1"/>
          </p:cNvSpPr>
          <p:nvPr>
            <p:ph type="body" sz="quarter" idx="3"/>
          </p:nvPr>
        </p:nvSpPr>
        <p:spPr>
          <a:xfrm>
            <a:off x="5032415" y="1535113"/>
            <a:ext cx="437832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415" y="2174875"/>
            <a:ext cx="437832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Tree>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8" y="273050"/>
            <a:ext cx="3259138" cy="1162050"/>
          </a:xfrm>
        </p:spPr>
        <p:txBody>
          <a:bodyPr anchor="b"/>
          <a:lstStyle>
            <a:lvl1pPr algn="l">
              <a:defRPr sz="2000" b="1"/>
            </a:lvl1pPr>
          </a:lstStyle>
          <a:p>
            <a:r>
              <a:rPr lang="en-US" smtClean="0"/>
              <a:t>Click to edit Master title style</a:t>
            </a:r>
            <a:endParaRPr lang="pt-BR"/>
          </a:p>
        </p:txBody>
      </p:sp>
      <p:sp>
        <p:nvSpPr>
          <p:cNvPr id="3" name="Content Placeholder 2"/>
          <p:cNvSpPr>
            <a:spLocks noGrp="1"/>
          </p:cNvSpPr>
          <p:nvPr>
            <p:ph idx="1"/>
          </p:nvPr>
        </p:nvSpPr>
        <p:spPr>
          <a:xfrm>
            <a:off x="3873499" y="273058"/>
            <a:ext cx="5537201"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4" name="Text Placeholder 3"/>
          <p:cNvSpPr>
            <a:spLocks noGrp="1"/>
          </p:cNvSpPr>
          <p:nvPr>
            <p:ph type="body" sz="half" idx="2"/>
          </p:nvPr>
        </p:nvSpPr>
        <p:spPr>
          <a:xfrm>
            <a:off x="495308" y="1435103"/>
            <a:ext cx="3259138"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3600" cy="566738"/>
          </a:xfrm>
        </p:spPr>
        <p:txBody>
          <a:bodyPr anchor="b"/>
          <a:lstStyle>
            <a:lvl1pPr algn="l">
              <a:defRPr sz="2000" b="1"/>
            </a:lvl1pPr>
          </a:lstStyle>
          <a:p>
            <a:r>
              <a:rPr lang="en-US" smtClean="0"/>
              <a:t>Click to edit Master title style</a:t>
            </a:r>
            <a:endParaRPr lang="pt-BR"/>
          </a:p>
        </p:txBody>
      </p:sp>
      <p:sp>
        <p:nvSpPr>
          <p:cNvPr id="3" name="Picture Placeholder 2"/>
          <p:cNvSpPr>
            <a:spLocks noGrp="1"/>
          </p:cNvSpPr>
          <p:nvPr>
            <p:ph type="pic" idx="1"/>
          </p:nvPr>
        </p:nvSpPr>
        <p:spPr>
          <a:xfrm>
            <a:off x="1941513" y="612775"/>
            <a:ext cx="59436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pt-BR" noProof="0" smtClean="0"/>
          </a:p>
        </p:txBody>
      </p:sp>
      <p:sp>
        <p:nvSpPr>
          <p:cNvPr id="4" name="Text Placeholder 3"/>
          <p:cNvSpPr>
            <a:spLocks noGrp="1"/>
          </p:cNvSpPr>
          <p:nvPr>
            <p:ph type="body" sz="half" idx="2"/>
          </p:nvPr>
        </p:nvSpPr>
        <p:spPr>
          <a:xfrm>
            <a:off x="1941513" y="5367338"/>
            <a:ext cx="59436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
        <p:nvSpPr>
          <p:cNvPr id="3" name="Vertical Text Placeholder 2"/>
          <p:cNvSpPr>
            <a:spLocks noGrp="1"/>
          </p:cNvSpPr>
          <p:nvPr>
            <p:ph type="body" orient="vert" idx="1"/>
          </p:nvPr>
        </p:nvSpPr>
        <p:spPr>
          <a:xfrm>
            <a:off x="495300" y="1600206"/>
            <a:ext cx="89154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35815" y="227013"/>
            <a:ext cx="2274887" cy="5899150"/>
          </a:xfrm>
        </p:spPr>
        <p:txBody>
          <a:bodyPr vert="eaVert"/>
          <a:lstStyle/>
          <a:p>
            <a:r>
              <a:rPr lang="en-US" smtClean="0"/>
              <a:t>Click to edit Master title style</a:t>
            </a:r>
            <a:endParaRPr lang="pt-BR"/>
          </a:p>
        </p:txBody>
      </p:sp>
      <p:sp>
        <p:nvSpPr>
          <p:cNvPr id="3" name="Vertical Text Placeholder 2"/>
          <p:cNvSpPr>
            <a:spLocks noGrp="1"/>
          </p:cNvSpPr>
          <p:nvPr>
            <p:ph type="body" orient="vert" idx="1"/>
          </p:nvPr>
        </p:nvSpPr>
        <p:spPr>
          <a:xfrm>
            <a:off x="307976" y="227013"/>
            <a:ext cx="6675438" cy="5899150"/>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08014" y="227013"/>
            <a:ext cx="7980363" cy="457200"/>
          </a:xfrm>
        </p:spPr>
        <p:txBody>
          <a:bodyPr/>
          <a:lstStyle/>
          <a:p>
            <a:r>
              <a:rPr lang="en-US" smtClean="0"/>
              <a:t>Click to edit Master title style</a:t>
            </a:r>
            <a:endParaRPr lang="pt-BR"/>
          </a:p>
        </p:txBody>
      </p:sp>
      <p:sp>
        <p:nvSpPr>
          <p:cNvPr id="3" name="Table Placeholder 2"/>
          <p:cNvSpPr>
            <a:spLocks noGrp="1"/>
          </p:cNvSpPr>
          <p:nvPr>
            <p:ph type="tbl" idx="1"/>
          </p:nvPr>
        </p:nvSpPr>
        <p:spPr>
          <a:xfrm>
            <a:off x="495300" y="1600206"/>
            <a:ext cx="8915400" cy="4525963"/>
          </a:xfrm>
          <a:prstGeom prst="rect">
            <a:avLst/>
          </a:prstGeom>
        </p:spPr>
        <p:txBody>
          <a:bodyPr/>
          <a:lstStyle/>
          <a:p>
            <a:pPr lvl="0"/>
            <a:endParaRPr lang="pt-BR" noProof="0" smtClean="0"/>
          </a:p>
        </p:txBody>
      </p:sp>
    </p:spTree>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08014" y="227013"/>
            <a:ext cx="7980363" cy="457200"/>
          </a:xfrm>
        </p:spPr>
        <p:txBody>
          <a:bodyPr/>
          <a:lstStyle/>
          <a:p>
            <a:r>
              <a:rPr lang="en-US" smtClean="0"/>
              <a:t>Click to edit Master title style</a:t>
            </a:r>
            <a:endParaRPr lang="pt-BR"/>
          </a:p>
        </p:txBody>
      </p:sp>
      <p:sp>
        <p:nvSpPr>
          <p:cNvPr id="3" name="Chart Placeholder 2"/>
          <p:cNvSpPr>
            <a:spLocks noGrp="1"/>
          </p:cNvSpPr>
          <p:nvPr>
            <p:ph type="chart" idx="1"/>
          </p:nvPr>
        </p:nvSpPr>
        <p:spPr>
          <a:xfrm>
            <a:off x="495300" y="1600206"/>
            <a:ext cx="8915400" cy="4525963"/>
          </a:xfrm>
          <a:prstGeom prst="rect">
            <a:avLst/>
          </a:prstGeom>
        </p:spPr>
        <p:txBody>
          <a:bodyPr/>
          <a:lstStyle/>
          <a:p>
            <a:pPr lvl="0"/>
            <a:endParaRPr lang="pt-BR" noProof="0" smtClean="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507"/>
            <a:ext cx="8420100" cy="1470025"/>
          </a:xfrm>
        </p:spPr>
        <p:txBody>
          <a:bodyPr/>
          <a:lstStyle/>
          <a:p>
            <a:r>
              <a:rPr lang="en-US" smtClean="0"/>
              <a:t>Click to edit Master title style</a:t>
            </a:r>
            <a:endParaRPr lang="pt-BR"/>
          </a:p>
        </p:txBody>
      </p:sp>
      <p:sp>
        <p:nvSpPr>
          <p:cNvPr id="3" name="Subtitle 2"/>
          <p:cNvSpPr>
            <a:spLocks noGrp="1"/>
          </p:cNvSpPr>
          <p:nvPr>
            <p:ph type="subTitle" idx="1"/>
          </p:nvPr>
        </p:nvSpPr>
        <p:spPr>
          <a:xfrm>
            <a:off x="1485900" y="3886200"/>
            <a:ext cx="69342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pt-BR"/>
          </a:p>
        </p:txBody>
      </p:sp>
    </p:spTree>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
        <p:nvSpPr>
          <p:cNvPr id="3" name="Content Placeholder 2"/>
          <p:cNvSpPr>
            <a:spLocks noGrp="1"/>
          </p:cNvSpPr>
          <p:nvPr>
            <p:ph idx="1"/>
          </p:nvPr>
        </p:nvSpPr>
        <p:spPr>
          <a:xfrm>
            <a:off x="495300" y="1600206"/>
            <a:ext cx="89154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82"/>
            <a:ext cx="8420100" cy="1362075"/>
          </a:xfrm>
        </p:spPr>
        <p:txBody>
          <a:bodyPr anchor="t"/>
          <a:lstStyle>
            <a:lvl1pPr algn="l">
              <a:defRPr sz="4000" b="1" cap="all"/>
            </a:lvl1pPr>
          </a:lstStyle>
          <a:p>
            <a:r>
              <a:rPr lang="en-US" smtClean="0"/>
              <a:t>Click to edit Master title style</a:t>
            </a:r>
            <a:endParaRPr lang="pt-BR"/>
          </a:p>
        </p:txBody>
      </p:sp>
      <p:sp>
        <p:nvSpPr>
          <p:cNvPr id="3" name="Text Placeholder 2"/>
          <p:cNvSpPr>
            <a:spLocks noGrp="1"/>
          </p:cNvSpPr>
          <p:nvPr>
            <p:ph type="body" idx="1"/>
          </p:nvPr>
        </p:nvSpPr>
        <p:spPr>
          <a:xfrm>
            <a:off x="782638" y="2906713"/>
            <a:ext cx="84201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
        <p:nvSpPr>
          <p:cNvPr id="3" name="Content Placeholder 2"/>
          <p:cNvSpPr>
            <a:spLocks noGrp="1"/>
          </p:cNvSpPr>
          <p:nvPr>
            <p:ph sz="half" idx="1"/>
          </p:nvPr>
        </p:nvSpPr>
        <p:spPr>
          <a:xfrm>
            <a:off x="495303"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4" name="Content Placeholder 3"/>
          <p:cNvSpPr>
            <a:spLocks noGrp="1"/>
          </p:cNvSpPr>
          <p:nvPr>
            <p:ph sz="half" idx="2"/>
          </p:nvPr>
        </p:nvSpPr>
        <p:spPr>
          <a:xfrm>
            <a:off x="5029199"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smtClean="0"/>
              <a:t>Click to edit Master title style</a:t>
            </a:r>
            <a:endParaRPr lang="pt-BR"/>
          </a:p>
        </p:txBody>
      </p:sp>
      <p:sp>
        <p:nvSpPr>
          <p:cNvPr id="3" name="Text Placeholder 2"/>
          <p:cNvSpPr>
            <a:spLocks noGrp="1"/>
          </p:cNvSpPr>
          <p:nvPr>
            <p:ph type="body" idx="1"/>
          </p:nvPr>
        </p:nvSpPr>
        <p:spPr>
          <a:xfrm>
            <a:off x="495300" y="1535113"/>
            <a:ext cx="437673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73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5" name="Text Placeholder 4"/>
          <p:cNvSpPr>
            <a:spLocks noGrp="1"/>
          </p:cNvSpPr>
          <p:nvPr>
            <p:ph type="body" sz="quarter" idx="3"/>
          </p:nvPr>
        </p:nvSpPr>
        <p:spPr>
          <a:xfrm>
            <a:off x="5032415" y="1535113"/>
            <a:ext cx="437832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415" y="2174875"/>
            <a:ext cx="437832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Tree>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5" y="273050"/>
            <a:ext cx="3259138" cy="1162050"/>
          </a:xfrm>
        </p:spPr>
        <p:txBody>
          <a:bodyPr anchor="b"/>
          <a:lstStyle>
            <a:lvl1pPr algn="l">
              <a:defRPr sz="2000" b="1"/>
            </a:lvl1pPr>
          </a:lstStyle>
          <a:p>
            <a:r>
              <a:rPr lang="en-US" smtClean="0"/>
              <a:t>Click to edit Master title style</a:t>
            </a:r>
            <a:endParaRPr lang="pt-BR"/>
          </a:p>
        </p:txBody>
      </p:sp>
      <p:sp>
        <p:nvSpPr>
          <p:cNvPr id="3" name="Content Placeholder 2"/>
          <p:cNvSpPr>
            <a:spLocks noGrp="1"/>
          </p:cNvSpPr>
          <p:nvPr>
            <p:ph idx="1"/>
          </p:nvPr>
        </p:nvSpPr>
        <p:spPr>
          <a:xfrm>
            <a:off x="3873499" y="273058"/>
            <a:ext cx="5537201"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4" name="Text Placeholder 3"/>
          <p:cNvSpPr>
            <a:spLocks noGrp="1"/>
          </p:cNvSpPr>
          <p:nvPr>
            <p:ph type="body" sz="half" idx="2"/>
          </p:nvPr>
        </p:nvSpPr>
        <p:spPr>
          <a:xfrm>
            <a:off x="495305" y="1435103"/>
            <a:ext cx="3259138"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3600" cy="566738"/>
          </a:xfrm>
        </p:spPr>
        <p:txBody>
          <a:bodyPr anchor="b"/>
          <a:lstStyle>
            <a:lvl1pPr algn="l">
              <a:defRPr sz="2000" b="1"/>
            </a:lvl1pPr>
          </a:lstStyle>
          <a:p>
            <a:r>
              <a:rPr lang="en-US" smtClean="0"/>
              <a:t>Click to edit Master title style</a:t>
            </a:r>
            <a:endParaRPr lang="pt-BR"/>
          </a:p>
        </p:txBody>
      </p:sp>
      <p:sp>
        <p:nvSpPr>
          <p:cNvPr id="3" name="Picture Placeholder 2"/>
          <p:cNvSpPr>
            <a:spLocks noGrp="1"/>
          </p:cNvSpPr>
          <p:nvPr>
            <p:ph type="pic" idx="1"/>
          </p:nvPr>
        </p:nvSpPr>
        <p:spPr>
          <a:xfrm>
            <a:off x="1941513" y="612775"/>
            <a:ext cx="59436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pt-BR" noProof="0" smtClean="0"/>
          </a:p>
        </p:txBody>
      </p:sp>
      <p:sp>
        <p:nvSpPr>
          <p:cNvPr id="4" name="Text Placeholder 3"/>
          <p:cNvSpPr>
            <a:spLocks noGrp="1"/>
          </p:cNvSpPr>
          <p:nvPr>
            <p:ph type="body" sz="half" idx="2"/>
          </p:nvPr>
        </p:nvSpPr>
        <p:spPr>
          <a:xfrm>
            <a:off x="1941513" y="5367338"/>
            <a:ext cx="59436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
        <p:nvSpPr>
          <p:cNvPr id="3" name="Vertical Text Placeholder 2"/>
          <p:cNvSpPr>
            <a:spLocks noGrp="1"/>
          </p:cNvSpPr>
          <p:nvPr>
            <p:ph type="body" orient="vert" idx="1"/>
          </p:nvPr>
        </p:nvSpPr>
        <p:spPr>
          <a:xfrm>
            <a:off x="495300" y="1600206"/>
            <a:ext cx="89154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35815" y="227013"/>
            <a:ext cx="2274887" cy="5899150"/>
          </a:xfrm>
        </p:spPr>
        <p:txBody>
          <a:bodyPr vert="eaVert"/>
          <a:lstStyle/>
          <a:p>
            <a:r>
              <a:rPr lang="en-US" smtClean="0"/>
              <a:t>Click to edit Master title style</a:t>
            </a:r>
            <a:endParaRPr lang="pt-BR"/>
          </a:p>
        </p:txBody>
      </p:sp>
      <p:sp>
        <p:nvSpPr>
          <p:cNvPr id="3" name="Vertical Text Placeholder 2"/>
          <p:cNvSpPr>
            <a:spLocks noGrp="1"/>
          </p:cNvSpPr>
          <p:nvPr>
            <p:ph type="body" orient="vert" idx="1"/>
          </p:nvPr>
        </p:nvSpPr>
        <p:spPr>
          <a:xfrm>
            <a:off x="307976" y="227013"/>
            <a:ext cx="6675438" cy="5899150"/>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08014" y="227013"/>
            <a:ext cx="7980363" cy="457200"/>
          </a:xfrm>
        </p:spPr>
        <p:txBody>
          <a:bodyPr/>
          <a:lstStyle/>
          <a:p>
            <a:r>
              <a:rPr lang="en-US" smtClean="0"/>
              <a:t>Click to edit Master title style</a:t>
            </a:r>
            <a:endParaRPr lang="pt-BR"/>
          </a:p>
        </p:txBody>
      </p:sp>
      <p:sp>
        <p:nvSpPr>
          <p:cNvPr id="3" name="Table Placeholder 2"/>
          <p:cNvSpPr>
            <a:spLocks noGrp="1"/>
          </p:cNvSpPr>
          <p:nvPr>
            <p:ph type="tbl" idx="1"/>
          </p:nvPr>
        </p:nvSpPr>
        <p:spPr>
          <a:xfrm>
            <a:off x="495300" y="1600206"/>
            <a:ext cx="8915400" cy="4525963"/>
          </a:xfrm>
          <a:prstGeom prst="rect">
            <a:avLst/>
          </a:prstGeom>
        </p:spPr>
        <p:txBody>
          <a:bodyPr/>
          <a:lstStyle/>
          <a:p>
            <a:pPr lvl="0"/>
            <a:endParaRPr lang="pt-BR" noProof="0" smtClean="0"/>
          </a:p>
        </p:txBody>
      </p:sp>
    </p:spTree>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08014" y="227013"/>
            <a:ext cx="7980363" cy="457200"/>
          </a:xfrm>
        </p:spPr>
        <p:txBody>
          <a:bodyPr/>
          <a:lstStyle/>
          <a:p>
            <a:r>
              <a:rPr lang="en-US" smtClean="0"/>
              <a:t>Click to edit Master title style</a:t>
            </a:r>
            <a:endParaRPr lang="pt-BR"/>
          </a:p>
        </p:txBody>
      </p:sp>
      <p:sp>
        <p:nvSpPr>
          <p:cNvPr id="3" name="Chart Placeholder 2"/>
          <p:cNvSpPr>
            <a:spLocks noGrp="1"/>
          </p:cNvSpPr>
          <p:nvPr>
            <p:ph type="chart" idx="1"/>
          </p:nvPr>
        </p:nvSpPr>
        <p:spPr>
          <a:xfrm>
            <a:off x="495300" y="1600206"/>
            <a:ext cx="8915400" cy="4525963"/>
          </a:xfrm>
          <a:prstGeom prst="rect">
            <a:avLst/>
          </a:prstGeom>
        </p:spPr>
        <p:txBody>
          <a:bodyPr/>
          <a:lstStyle/>
          <a:p>
            <a:pPr lvl="0"/>
            <a:endParaRPr lang="pt-BR" noProof="0" smtClean="0"/>
          </a:p>
        </p:txBody>
      </p:sp>
    </p:spTree>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507"/>
            <a:ext cx="8420100" cy="1470025"/>
          </a:xfrm>
        </p:spPr>
        <p:txBody>
          <a:bodyPr/>
          <a:lstStyle/>
          <a:p>
            <a:r>
              <a:rPr lang="en-US" smtClean="0"/>
              <a:t>Click to edit Master title style</a:t>
            </a:r>
            <a:endParaRPr lang="pt-BR"/>
          </a:p>
        </p:txBody>
      </p:sp>
      <p:sp>
        <p:nvSpPr>
          <p:cNvPr id="3" name="Subtitle 2"/>
          <p:cNvSpPr>
            <a:spLocks noGrp="1"/>
          </p:cNvSpPr>
          <p:nvPr>
            <p:ph type="subTitle" idx="1"/>
          </p:nvPr>
        </p:nvSpPr>
        <p:spPr>
          <a:xfrm>
            <a:off x="1485900" y="3886200"/>
            <a:ext cx="69342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pt-BR"/>
          </a:p>
        </p:txBody>
      </p:sp>
    </p:spTree>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
        <p:nvSpPr>
          <p:cNvPr id="3" name="Content Placeholder 2"/>
          <p:cNvSpPr>
            <a:spLocks noGrp="1"/>
          </p:cNvSpPr>
          <p:nvPr>
            <p:ph idx="1"/>
          </p:nvPr>
        </p:nvSpPr>
        <p:spPr>
          <a:xfrm>
            <a:off x="495300" y="1600206"/>
            <a:ext cx="89154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82"/>
            <a:ext cx="8420100" cy="1362075"/>
          </a:xfrm>
        </p:spPr>
        <p:txBody>
          <a:bodyPr anchor="t"/>
          <a:lstStyle>
            <a:lvl1pPr algn="l">
              <a:defRPr sz="4000" b="1" cap="all"/>
            </a:lvl1pPr>
          </a:lstStyle>
          <a:p>
            <a:r>
              <a:rPr lang="en-US" smtClean="0"/>
              <a:t>Click to edit Master title style</a:t>
            </a:r>
            <a:endParaRPr lang="pt-BR"/>
          </a:p>
        </p:txBody>
      </p:sp>
      <p:sp>
        <p:nvSpPr>
          <p:cNvPr id="3" name="Text Placeholder 2"/>
          <p:cNvSpPr>
            <a:spLocks noGrp="1"/>
          </p:cNvSpPr>
          <p:nvPr>
            <p:ph type="body" idx="1"/>
          </p:nvPr>
        </p:nvSpPr>
        <p:spPr>
          <a:xfrm>
            <a:off x="782638" y="2906713"/>
            <a:ext cx="84201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
        <p:nvSpPr>
          <p:cNvPr id="3" name="Content Placeholder 2"/>
          <p:cNvSpPr>
            <a:spLocks noGrp="1"/>
          </p:cNvSpPr>
          <p:nvPr>
            <p:ph sz="half" idx="1"/>
          </p:nvPr>
        </p:nvSpPr>
        <p:spPr>
          <a:xfrm>
            <a:off x="495303"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4" name="Content Placeholder 3"/>
          <p:cNvSpPr>
            <a:spLocks noGrp="1"/>
          </p:cNvSpPr>
          <p:nvPr>
            <p:ph sz="half" idx="2"/>
          </p:nvPr>
        </p:nvSpPr>
        <p:spPr>
          <a:xfrm>
            <a:off x="5029199"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smtClean="0"/>
              <a:t>Click to edit Master title style</a:t>
            </a:r>
            <a:endParaRPr lang="pt-BR"/>
          </a:p>
        </p:txBody>
      </p:sp>
      <p:sp>
        <p:nvSpPr>
          <p:cNvPr id="3" name="Text Placeholder 2"/>
          <p:cNvSpPr>
            <a:spLocks noGrp="1"/>
          </p:cNvSpPr>
          <p:nvPr>
            <p:ph type="body" idx="1"/>
          </p:nvPr>
        </p:nvSpPr>
        <p:spPr>
          <a:xfrm>
            <a:off x="495300" y="1535113"/>
            <a:ext cx="437673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73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5" name="Text Placeholder 4"/>
          <p:cNvSpPr>
            <a:spLocks noGrp="1"/>
          </p:cNvSpPr>
          <p:nvPr>
            <p:ph type="body" sz="quarter" idx="3"/>
          </p:nvPr>
        </p:nvSpPr>
        <p:spPr>
          <a:xfrm>
            <a:off x="5032415" y="1535113"/>
            <a:ext cx="437832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415" y="2174875"/>
            <a:ext cx="437832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Tree>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495305" y="273050"/>
            <a:ext cx="3259138" cy="1162050"/>
          </a:xfrm>
        </p:spPr>
        <p:txBody>
          <a:bodyPr anchor="b"/>
          <a:lstStyle>
            <a:lvl1pPr algn="l">
              <a:defRPr sz="2000" b="1"/>
            </a:lvl1pPr>
          </a:lstStyle>
          <a:p>
            <a:r>
              <a:rPr lang="pt-BR" smtClean="0"/>
              <a:t>Clique para editar o estilo do título mestre</a:t>
            </a:r>
            <a:endParaRPr lang="pt-BR"/>
          </a:p>
        </p:txBody>
      </p:sp>
      <p:sp>
        <p:nvSpPr>
          <p:cNvPr id="3" name="Espaço Reservado para Conteúdo 2"/>
          <p:cNvSpPr>
            <a:spLocks noGrp="1"/>
          </p:cNvSpPr>
          <p:nvPr>
            <p:ph idx="1"/>
          </p:nvPr>
        </p:nvSpPr>
        <p:spPr>
          <a:xfrm>
            <a:off x="3873499" y="273058"/>
            <a:ext cx="553720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Texto 3"/>
          <p:cNvSpPr>
            <a:spLocks noGrp="1"/>
          </p:cNvSpPr>
          <p:nvPr>
            <p:ph type="body" sz="half" idx="2"/>
          </p:nvPr>
        </p:nvSpPr>
        <p:spPr>
          <a:xfrm>
            <a:off x="495305" y="1435103"/>
            <a:ext cx="3259138"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5" y="273050"/>
            <a:ext cx="3259138" cy="1162050"/>
          </a:xfrm>
        </p:spPr>
        <p:txBody>
          <a:bodyPr anchor="b"/>
          <a:lstStyle>
            <a:lvl1pPr algn="l">
              <a:defRPr sz="2000" b="1"/>
            </a:lvl1pPr>
          </a:lstStyle>
          <a:p>
            <a:r>
              <a:rPr lang="en-US" smtClean="0"/>
              <a:t>Click to edit Master title style</a:t>
            </a:r>
            <a:endParaRPr lang="pt-BR"/>
          </a:p>
        </p:txBody>
      </p:sp>
      <p:sp>
        <p:nvSpPr>
          <p:cNvPr id="3" name="Content Placeholder 2"/>
          <p:cNvSpPr>
            <a:spLocks noGrp="1"/>
          </p:cNvSpPr>
          <p:nvPr>
            <p:ph idx="1"/>
          </p:nvPr>
        </p:nvSpPr>
        <p:spPr>
          <a:xfrm>
            <a:off x="3873499" y="273058"/>
            <a:ext cx="5537201"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4" name="Text Placeholder 3"/>
          <p:cNvSpPr>
            <a:spLocks noGrp="1"/>
          </p:cNvSpPr>
          <p:nvPr>
            <p:ph type="body" sz="half" idx="2"/>
          </p:nvPr>
        </p:nvSpPr>
        <p:spPr>
          <a:xfrm>
            <a:off x="495305" y="1435103"/>
            <a:ext cx="3259138"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3600" cy="566738"/>
          </a:xfrm>
        </p:spPr>
        <p:txBody>
          <a:bodyPr anchor="b"/>
          <a:lstStyle>
            <a:lvl1pPr algn="l">
              <a:defRPr sz="2000" b="1"/>
            </a:lvl1pPr>
          </a:lstStyle>
          <a:p>
            <a:r>
              <a:rPr lang="en-US" smtClean="0"/>
              <a:t>Click to edit Master title style</a:t>
            </a:r>
            <a:endParaRPr lang="pt-BR"/>
          </a:p>
        </p:txBody>
      </p:sp>
      <p:sp>
        <p:nvSpPr>
          <p:cNvPr id="3" name="Picture Placeholder 2"/>
          <p:cNvSpPr>
            <a:spLocks noGrp="1"/>
          </p:cNvSpPr>
          <p:nvPr>
            <p:ph type="pic" idx="1"/>
          </p:nvPr>
        </p:nvSpPr>
        <p:spPr>
          <a:xfrm>
            <a:off x="1941513" y="612775"/>
            <a:ext cx="59436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pt-BR" noProof="0" smtClean="0"/>
          </a:p>
        </p:txBody>
      </p:sp>
      <p:sp>
        <p:nvSpPr>
          <p:cNvPr id="4" name="Text Placeholder 3"/>
          <p:cNvSpPr>
            <a:spLocks noGrp="1"/>
          </p:cNvSpPr>
          <p:nvPr>
            <p:ph type="body" sz="half" idx="2"/>
          </p:nvPr>
        </p:nvSpPr>
        <p:spPr>
          <a:xfrm>
            <a:off x="1941513" y="5367338"/>
            <a:ext cx="59436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
        <p:nvSpPr>
          <p:cNvPr id="3" name="Vertical Text Placeholder 2"/>
          <p:cNvSpPr>
            <a:spLocks noGrp="1"/>
          </p:cNvSpPr>
          <p:nvPr>
            <p:ph type="body" orient="vert" idx="1"/>
          </p:nvPr>
        </p:nvSpPr>
        <p:spPr>
          <a:xfrm>
            <a:off x="495300" y="1600206"/>
            <a:ext cx="89154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35815" y="227013"/>
            <a:ext cx="2274887" cy="5899150"/>
          </a:xfrm>
        </p:spPr>
        <p:txBody>
          <a:bodyPr vert="eaVert"/>
          <a:lstStyle/>
          <a:p>
            <a:r>
              <a:rPr lang="en-US" smtClean="0"/>
              <a:t>Click to edit Master title style</a:t>
            </a:r>
            <a:endParaRPr lang="pt-BR"/>
          </a:p>
        </p:txBody>
      </p:sp>
      <p:sp>
        <p:nvSpPr>
          <p:cNvPr id="3" name="Vertical Text Placeholder 2"/>
          <p:cNvSpPr>
            <a:spLocks noGrp="1"/>
          </p:cNvSpPr>
          <p:nvPr>
            <p:ph type="body" orient="vert" idx="1"/>
          </p:nvPr>
        </p:nvSpPr>
        <p:spPr>
          <a:xfrm>
            <a:off x="307976" y="227013"/>
            <a:ext cx="6675438" cy="5899150"/>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08014" y="227013"/>
            <a:ext cx="7980363" cy="457200"/>
          </a:xfrm>
        </p:spPr>
        <p:txBody>
          <a:bodyPr/>
          <a:lstStyle/>
          <a:p>
            <a:r>
              <a:rPr lang="en-US" smtClean="0"/>
              <a:t>Click to edit Master title style</a:t>
            </a:r>
            <a:endParaRPr lang="pt-BR"/>
          </a:p>
        </p:txBody>
      </p:sp>
      <p:sp>
        <p:nvSpPr>
          <p:cNvPr id="3" name="Table Placeholder 2"/>
          <p:cNvSpPr>
            <a:spLocks noGrp="1"/>
          </p:cNvSpPr>
          <p:nvPr>
            <p:ph type="tbl" idx="1"/>
          </p:nvPr>
        </p:nvSpPr>
        <p:spPr>
          <a:xfrm>
            <a:off x="495300" y="1600206"/>
            <a:ext cx="8915400" cy="4525963"/>
          </a:xfrm>
          <a:prstGeom prst="rect">
            <a:avLst/>
          </a:prstGeom>
        </p:spPr>
        <p:txBody>
          <a:bodyPr/>
          <a:lstStyle/>
          <a:p>
            <a:pPr lvl="0"/>
            <a:endParaRPr lang="pt-BR" noProof="0" smtClean="0"/>
          </a:p>
        </p:txBody>
      </p:sp>
    </p:spTree>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08014" y="227013"/>
            <a:ext cx="7980363" cy="457200"/>
          </a:xfrm>
        </p:spPr>
        <p:txBody>
          <a:bodyPr/>
          <a:lstStyle/>
          <a:p>
            <a:r>
              <a:rPr lang="en-US" smtClean="0"/>
              <a:t>Click to edit Master title style</a:t>
            </a:r>
            <a:endParaRPr lang="pt-BR"/>
          </a:p>
        </p:txBody>
      </p:sp>
      <p:sp>
        <p:nvSpPr>
          <p:cNvPr id="3" name="Chart Placeholder 2"/>
          <p:cNvSpPr>
            <a:spLocks noGrp="1"/>
          </p:cNvSpPr>
          <p:nvPr>
            <p:ph type="chart" idx="1"/>
          </p:nvPr>
        </p:nvSpPr>
        <p:spPr>
          <a:xfrm>
            <a:off x="495300" y="1600206"/>
            <a:ext cx="8915400" cy="4525963"/>
          </a:xfrm>
          <a:prstGeom prst="rect">
            <a:avLst/>
          </a:prstGeom>
        </p:spPr>
        <p:txBody>
          <a:bodyPr/>
          <a:lstStyle/>
          <a:p>
            <a:pPr lvl="0"/>
            <a:endParaRPr lang="pt-BR" noProof="0" smtClean="0"/>
          </a:p>
        </p:txBody>
      </p:sp>
    </p:spTree>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659"/>
            <a:ext cx="8420100" cy="1470025"/>
          </a:xfrm>
        </p:spPr>
        <p:txBody>
          <a:bodyPr/>
          <a:lstStyle/>
          <a:p>
            <a:r>
              <a:rPr lang="en-US" smtClean="0"/>
              <a:t>Click to edit Master title style</a:t>
            </a:r>
            <a:endParaRPr lang="pt-BR"/>
          </a:p>
        </p:txBody>
      </p:sp>
      <p:sp>
        <p:nvSpPr>
          <p:cNvPr id="3" name="Subtitle 2"/>
          <p:cNvSpPr>
            <a:spLocks noGrp="1"/>
          </p:cNvSpPr>
          <p:nvPr>
            <p:ph type="subTitle" idx="1"/>
          </p:nvPr>
        </p:nvSpPr>
        <p:spPr>
          <a:xfrm>
            <a:off x="1485900" y="3886200"/>
            <a:ext cx="69342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pt-BR"/>
          </a:p>
        </p:txBody>
      </p:sp>
    </p:spTree>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
        <p:nvSpPr>
          <p:cNvPr id="3" name="Content Placeholder 2"/>
          <p:cNvSpPr>
            <a:spLocks noGrp="1"/>
          </p:cNvSpPr>
          <p:nvPr>
            <p:ph idx="1"/>
          </p:nvPr>
        </p:nvSpPr>
        <p:spPr>
          <a:xfrm>
            <a:off x="495300" y="1600206"/>
            <a:ext cx="89154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7134"/>
            <a:ext cx="8420100" cy="1362075"/>
          </a:xfrm>
        </p:spPr>
        <p:txBody>
          <a:bodyPr anchor="t"/>
          <a:lstStyle>
            <a:lvl1pPr algn="l">
              <a:defRPr sz="4000" b="1" cap="all"/>
            </a:lvl1pPr>
          </a:lstStyle>
          <a:p>
            <a:r>
              <a:rPr lang="en-US" smtClean="0"/>
              <a:t>Click to edit Master title style</a:t>
            </a:r>
            <a:endParaRPr lang="pt-BR"/>
          </a:p>
        </p:txBody>
      </p:sp>
      <p:sp>
        <p:nvSpPr>
          <p:cNvPr id="3" name="Text Placeholder 2"/>
          <p:cNvSpPr>
            <a:spLocks noGrp="1"/>
          </p:cNvSpPr>
          <p:nvPr>
            <p:ph type="body" idx="1"/>
          </p:nvPr>
        </p:nvSpPr>
        <p:spPr>
          <a:xfrm>
            <a:off x="782638" y="2906713"/>
            <a:ext cx="84201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
        <p:nvSpPr>
          <p:cNvPr id="3" name="Content Placeholder 2"/>
          <p:cNvSpPr>
            <a:spLocks noGrp="1"/>
          </p:cNvSpPr>
          <p:nvPr>
            <p:ph sz="half" idx="1"/>
          </p:nvPr>
        </p:nvSpPr>
        <p:spPr>
          <a:xfrm>
            <a:off x="495303"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4" name="Content Placeholder 3"/>
          <p:cNvSpPr>
            <a:spLocks noGrp="1"/>
          </p:cNvSpPr>
          <p:nvPr>
            <p:ph sz="half" idx="2"/>
          </p:nvPr>
        </p:nvSpPr>
        <p:spPr>
          <a:xfrm>
            <a:off x="5029199"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a:xfrm>
            <a:off x="495300" y="274638"/>
            <a:ext cx="8915400" cy="1143000"/>
          </a:xfrm>
          <a:prstGeom prst="rect">
            <a:avLst/>
          </a:prstGeom>
        </p:spPr>
        <p:txBody>
          <a:bodyPr/>
          <a:lstStyle/>
          <a:p>
            <a:r>
              <a:rPr lang="pt-BR" smtClean="0"/>
              <a:t>Clique para editar o estilo do título mestre</a:t>
            </a:r>
            <a:endParaRPr lang="pt-BR"/>
          </a:p>
        </p:txBody>
      </p:sp>
      <p:sp>
        <p:nvSpPr>
          <p:cNvPr id="3" name="Espaço Reservado para Conteúdo 2"/>
          <p:cNvSpPr>
            <a:spLocks noGrp="1"/>
          </p:cNvSpPr>
          <p:nvPr>
            <p:ph idx="1"/>
          </p:nvPr>
        </p:nvSpPr>
        <p:spPr>
          <a:xfrm>
            <a:off x="495300" y="1600206"/>
            <a:ext cx="8915400" cy="4525963"/>
          </a:xfrm>
          <a:prstGeom prst="rect">
            <a:avLst/>
          </a:prstGeom>
        </p:spPr>
        <p:txBody>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1941513" y="4800600"/>
            <a:ext cx="5943600" cy="566738"/>
          </a:xfrm>
        </p:spPr>
        <p:txBody>
          <a:bodyPr anchor="b"/>
          <a:lstStyle>
            <a:lvl1pPr algn="l">
              <a:defRPr sz="2000" b="1"/>
            </a:lvl1pPr>
          </a:lstStyle>
          <a:p>
            <a:r>
              <a:rPr lang="pt-BR" smtClean="0"/>
              <a:t>Clique para editar o estilo do título mestre</a:t>
            </a:r>
            <a:endParaRPr lang="pt-BR"/>
          </a:p>
        </p:txBody>
      </p:sp>
      <p:sp>
        <p:nvSpPr>
          <p:cNvPr id="3" name="Espaço Reservado para Imagem 2"/>
          <p:cNvSpPr>
            <a:spLocks noGrp="1"/>
          </p:cNvSpPr>
          <p:nvPr>
            <p:ph type="pic" idx="1"/>
          </p:nvPr>
        </p:nvSpPr>
        <p:spPr>
          <a:xfrm>
            <a:off x="1941513" y="612775"/>
            <a:ext cx="5943600" cy="4114800"/>
          </a:xfrm>
        </p:spPr>
        <p:txBody>
          <a:bodyPr vert="horz" wrap="square" lIns="0" tIns="0" rIns="0" bIns="0" numCol="1" anchor="t" anchorCtr="0" compatLnSpc="1">
            <a:prstTxWarp prst="textNoShape">
              <a:avLst/>
            </a:prstTxWarp>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pt-BR" noProof="0" smtClean="0"/>
          </a:p>
        </p:txBody>
      </p:sp>
      <p:sp>
        <p:nvSpPr>
          <p:cNvPr id="4" name="Espaço Reservado para Texto 3"/>
          <p:cNvSpPr>
            <a:spLocks noGrp="1"/>
          </p:cNvSpPr>
          <p:nvPr>
            <p:ph type="body" sz="half" idx="2"/>
          </p:nvPr>
        </p:nvSpPr>
        <p:spPr>
          <a:xfrm>
            <a:off x="1941513"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smtClean="0"/>
              <a:t>Click to edit Master title style</a:t>
            </a:r>
            <a:endParaRPr lang="pt-BR"/>
          </a:p>
        </p:txBody>
      </p:sp>
      <p:sp>
        <p:nvSpPr>
          <p:cNvPr id="3" name="Text Placeholder 2"/>
          <p:cNvSpPr>
            <a:spLocks noGrp="1"/>
          </p:cNvSpPr>
          <p:nvPr>
            <p:ph type="body" idx="1"/>
          </p:nvPr>
        </p:nvSpPr>
        <p:spPr>
          <a:xfrm>
            <a:off x="495300" y="1535113"/>
            <a:ext cx="437673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73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5" name="Text Placeholder 4"/>
          <p:cNvSpPr>
            <a:spLocks noGrp="1"/>
          </p:cNvSpPr>
          <p:nvPr>
            <p:ph type="body" sz="quarter" idx="3"/>
          </p:nvPr>
        </p:nvSpPr>
        <p:spPr>
          <a:xfrm>
            <a:off x="5032415" y="1535113"/>
            <a:ext cx="437832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415" y="2174875"/>
            <a:ext cx="437832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Tree>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8" y="273050"/>
            <a:ext cx="3259138" cy="1162050"/>
          </a:xfrm>
        </p:spPr>
        <p:txBody>
          <a:bodyPr anchor="b"/>
          <a:lstStyle>
            <a:lvl1pPr algn="l">
              <a:defRPr sz="2000" b="1"/>
            </a:lvl1pPr>
          </a:lstStyle>
          <a:p>
            <a:r>
              <a:rPr lang="en-US" smtClean="0"/>
              <a:t>Click to edit Master title style</a:t>
            </a:r>
            <a:endParaRPr lang="pt-BR"/>
          </a:p>
        </p:txBody>
      </p:sp>
      <p:sp>
        <p:nvSpPr>
          <p:cNvPr id="3" name="Content Placeholder 2"/>
          <p:cNvSpPr>
            <a:spLocks noGrp="1"/>
          </p:cNvSpPr>
          <p:nvPr>
            <p:ph idx="1"/>
          </p:nvPr>
        </p:nvSpPr>
        <p:spPr>
          <a:xfrm>
            <a:off x="3873499" y="273058"/>
            <a:ext cx="5537201"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4" name="Text Placeholder 3"/>
          <p:cNvSpPr>
            <a:spLocks noGrp="1"/>
          </p:cNvSpPr>
          <p:nvPr>
            <p:ph type="body" sz="half" idx="2"/>
          </p:nvPr>
        </p:nvSpPr>
        <p:spPr>
          <a:xfrm>
            <a:off x="495308" y="1435103"/>
            <a:ext cx="3259138"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3600" cy="566738"/>
          </a:xfrm>
        </p:spPr>
        <p:txBody>
          <a:bodyPr anchor="b"/>
          <a:lstStyle>
            <a:lvl1pPr algn="l">
              <a:defRPr sz="2000" b="1"/>
            </a:lvl1pPr>
          </a:lstStyle>
          <a:p>
            <a:r>
              <a:rPr lang="en-US" smtClean="0"/>
              <a:t>Click to edit Master title style</a:t>
            </a:r>
            <a:endParaRPr lang="pt-BR"/>
          </a:p>
        </p:txBody>
      </p:sp>
      <p:sp>
        <p:nvSpPr>
          <p:cNvPr id="3" name="Picture Placeholder 2"/>
          <p:cNvSpPr>
            <a:spLocks noGrp="1"/>
          </p:cNvSpPr>
          <p:nvPr>
            <p:ph type="pic" idx="1"/>
          </p:nvPr>
        </p:nvSpPr>
        <p:spPr>
          <a:xfrm>
            <a:off x="1941513" y="612775"/>
            <a:ext cx="59436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pt-BR" noProof="0" smtClean="0"/>
          </a:p>
        </p:txBody>
      </p:sp>
      <p:sp>
        <p:nvSpPr>
          <p:cNvPr id="4" name="Text Placeholder 3"/>
          <p:cNvSpPr>
            <a:spLocks noGrp="1"/>
          </p:cNvSpPr>
          <p:nvPr>
            <p:ph type="body" sz="half" idx="2"/>
          </p:nvPr>
        </p:nvSpPr>
        <p:spPr>
          <a:xfrm>
            <a:off x="1941513" y="5367338"/>
            <a:ext cx="59436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
        <p:nvSpPr>
          <p:cNvPr id="3" name="Vertical Text Placeholder 2"/>
          <p:cNvSpPr>
            <a:spLocks noGrp="1"/>
          </p:cNvSpPr>
          <p:nvPr>
            <p:ph type="body" orient="vert" idx="1"/>
          </p:nvPr>
        </p:nvSpPr>
        <p:spPr>
          <a:xfrm>
            <a:off x="495300" y="1600206"/>
            <a:ext cx="89154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35815" y="227013"/>
            <a:ext cx="2274887" cy="5899150"/>
          </a:xfrm>
        </p:spPr>
        <p:txBody>
          <a:bodyPr vert="eaVert"/>
          <a:lstStyle/>
          <a:p>
            <a:r>
              <a:rPr lang="en-US" smtClean="0"/>
              <a:t>Click to edit Master title style</a:t>
            </a:r>
            <a:endParaRPr lang="pt-BR"/>
          </a:p>
        </p:txBody>
      </p:sp>
      <p:sp>
        <p:nvSpPr>
          <p:cNvPr id="3" name="Vertical Text Placeholder 2"/>
          <p:cNvSpPr>
            <a:spLocks noGrp="1"/>
          </p:cNvSpPr>
          <p:nvPr>
            <p:ph type="body" orient="vert" idx="1"/>
          </p:nvPr>
        </p:nvSpPr>
        <p:spPr>
          <a:xfrm>
            <a:off x="307976" y="227013"/>
            <a:ext cx="6675438" cy="5899150"/>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08014" y="227013"/>
            <a:ext cx="7980363" cy="457200"/>
          </a:xfrm>
        </p:spPr>
        <p:txBody>
          <a:bodyPr/>
          <a:lstStyle/>
          <a:p>
            <a:r>
              <a:rPr lang="en-US" smtClean="0"/>
              <a:t>Click to edit Master title style</a:t>
            </a:r>
            <a:endParaRPr lang="pt-BR"/>
          </a:p>
        </p:txBody>
      </p:sp>
      <p:sp>
        <p:nvSpPr>
          <p:cNvPr id="3" name="Table Placeholder 2"/>
          <p:cNvSpPr>
            <a:spLocks noGrp="1"/>
          </p:cNvSpPr>
          <p:nvPr>
            <p:ph type="tbl" idx="1"/>
          </p:nvPr>
        </p:nvSpPr>
        <p:spPr>
          <a:xfrm>
            <a:off x="495300" y="1600206"/>
            <a:ext cx="8915400" cy="4525963"/>
          </a:xfrm>
          <a:prstGeom prst="rect">
            <a:avLst/>
          </a:prstGeom>
        </p:spPr>
        <p:txBody>
          <a:bodyPr/>
          <a:lstStyle/>
          <a:p>
            <a:pPr lvl="0"/>
            <a:endParaRPr lang="pt-BR" noProof="0" smtClean="0"/>
          </a:p>
        </p:txBody>
      </p:sp>
    </p:spTree>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08014" y="227013"/>
            <a:ext cx="7980363" cy="457200"/>
          </a:xfrm>
        </p:spPr>
        <p:txBody>
          <a:bodyPr/>
          <a:lstStyle/>
          <a:p>
            <a:r>
              <a:rPr lang="en-US" smtClean="0"/>
              <a:t>Click to edit Master title style</a:t>
            </a:r>
            <a:endParaRPr lang="pt-BR"/>
          </a:p>
        </p:txBody>
      </p:sp>
      <p:sp>
        <p:nvSpPr>
          <p:cNvPr id="3" name="Chart Placeholder 2"/>
          <p:cNvSpPr>
            <a:spLocks noGrp="1"/>
          </p:cNvSpPr>
          <p:nvPr>
            <p:ph type="chart" idx="1"/>
          </p:nvPr>
        </p:nvSpPr>
        <p:spPr>
          <a:xfrm>
            <a:off x="495300" y="1600206"/>
            <a:ext cx="8915400" cy="4525963"/>
          </a:xfrm>
          <a:prstGeom prst="rect">
            <a:avLst/>
          </a:prstGeom>
        </p:spPr>
        <p:txBody>
          <a:bodyPr/>
          <a:lstStyle/>
          <a:p>
            <a:pPr lvl="0"/>
            <a:endParaRPr lang="pt-BR" noProof="0" smtClean="0"/>
          </a:p>
        </p:txBody>
      </p:sp>
    </p:spTree>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507"/>
            <a:ext cx="8420100" cy="1470025"/>
          </a:xfrm>
        </p:spPr>
        <p:txBody>
          <a:bodyPr/>
          <a:lstStyle/>
          <a:p>
            <a:r>
              <a:rPr lang="en-US" smtClean="0"/>
              <a:t>Click to edit Master title style</a:t>
            </a:r>
            <a:endParaRPr lang="pt-BR"/>
          </a:p>
        </p:txBody>
      </p:sp>
      <p:sp>
        <p:nvSpPr>
          <p:cNvPr id="3" name="Subtitle 2"/>
          <p:cNvSpPr>
            <a:spLocks noGrp="1"/>
          </p:cNvSpPr>
          <p:nvPr>
            <p:ph type="subTitle" idx="1"/>
          </p:nvPr>
        </p:nvSpPr>
        <p:spPr>
          <a:xfrm>
            <a:off x="1485900" y="3886200"/>
            <a:ext cx="69342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pt-B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
        <p:nvSpPr>
          <p:cNvPr id="3" name="Content Placeholder 2"/>
          <p:cNvSpPr>
            <a:spLocks noGrp="1"/>
          </p:cNvSpPr>
          <p:nvPr>
            <p:ph idx="1"/>
          </p:nvPr>
        </p:nvSpPr>
        <p:spPr>
          <a:xfrm>
            <a:off x="495300" y="1600206"/>
            <a:ext cx="89154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82"/>
            <a:ext cx="8420100" cy="1362075"/>
          </a:xfrm>
        </p:spPr>
        <p:txBody>
          <a:bodyPr anchor="t"/>
          <a:lstStyle>
            <a:lvl1pPr algn="l">
              <a:defRPr sz="4000" b="1" cap="all"/>
            </a:lvl1pPr>
          </a:lstStyle>
          <a:p>
            <a:r>
              <a:rPr lang="en-US" smtClean="0"/>
              <a:t>Click to edit Master title style</a:t>
            </a:r>
            <a:endParaRPr lang="pt-BR"/>
          </a:p>
        </p:txBody>
      </p:sp>
      <p:sp>
        <p:nvSpPr>
          <p:cNvPr id="3" name="Text Placeholder 2"/>
          <p:cNvSpPr>
            <a:spLocks noGrp="1"/>
          </p:cNvSpPr>
          <p:nvPr>
            <p:ph type="body" idx="1"/>
          </p:nvPr>
        </p:nvSpPr>
        <p:spPr>
          <a:xfrm>
            <a:off x="782638" y="2906713"/>
            <a:ext cx="84201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
        <p:nvSpPr>
          <p:cNvPr id="3" name="Content Placeholder 2"/>
          <p:cNvSpPr>
            <a:spLocks noGrp="1"/>
          </p:cNvSpPr>
          <p:nvPr>
            <p:ph sz="half" idx="1"/>
          </p:nvPr>
        </p:nvSpPr>
        <p:spPr>
          <a:xfrm>
            <a:off x="495303"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4" name="Content Placeholder 3"/>
          <p:cNvSpPr>
            <a:spLocks noGrp="1"/>
          </p:cNvSpPr>
          <p:nvPr>
            <p:ph sz="half" idx="2"/>
          </p:nvPr>
        </p:nvSpPr>
        <p:spPr>
          <a:xfrm>
            <a:off x="5029199"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smtClean="0"/>
              <a:t>Click to edit Master title style</a:t>
            </a:r>
            <a:endParaRPr lang="pt-BR"/>
          </a:p>
        </p:txBody>
      </p:sp>
      <p:sp>
        <p:nvSpPr>
          <p:cNvPr id="3" name="Text Placeholder 2"/>
          <p:cNvSpPr>
            <a:spLocks noGrp="1"/>
          </p:cNvSpPr>
          <p:nvPr>
            <p:ph type="body" idx="1"/>
          </p:nvPr>
        </p:nvSpPr>
        <p:spPr>
          <a:xfrm>
            <a:off x="495300" y="1535113"/>
            <a:ext cx="437673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73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5" name="Text Placeholder 4"/>
          <p:cNvSpPr>
            <a:spLocks noGrp="1"/>
          </p:cNvSpPr>
          <p:nvPr>
            <p:ph type="body" sz="quarter" idx="3"/>
          </p:nvPr>
        </p:nvSpPr>
        <p:spPr>
          <a:xfrm>
            <a:off x="5032415" y="1535113"/>
            <a:ext cx="437832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415" y="2174875"/>
            <a:ext cx="437832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Tree>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5" y="273050"/>
            <a:ext cx="3259138" cy="1162050"/>
          </a:xfrm>
        </p:spPr>
        <p:txBody>
          <a:bodyPr anchor="b"/>
          <a:lstStyle>
            <a:lvl1pPr algn="l">
              <a:defRPr sz="2000" b="1"/>
            </a:lvl1pPr>
          </a:lstStyle>
          <a:p>
            <a:r>
              <a:rPr lang="en-US" smtClean="0"/>
              <a:t>Click to edit Master title style</a:t>
            </a:r>
            <a:endParaRPr lang="pt-BR"/>
          </a:p>
        </p:txBody>
      </p:sp>
      <p:sp>
        <p:nvSpPr>
          <p:cNvPr id="3" name="Content Placeholder 2"/>
          <p:cNvSpPr>
            <a:spLocks noGrp="1"/>
          </p:cNvSpPr>
          <p:nvPr>
            <p:ph idx="1"/>
          </p:nvPr>
        </p:nvSpPr>
        <p:spPr>
          <a:xfrm>
            <a:off x="3873499" y="273058"/>
            <a:ext cx="5537201"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4" name="Text Placeholder 3"/>
          <p:cNvSpPr>
            <a:spLocks noGrp="1"/>
          </p:cNvSpPr>
          <p:nvPr>
            <p:ph type="body" sz="half" idx="2"/>
          </p:nvPr>
        </p:nvSpPr>
        <p:spPr>
          <a:xfrm>
            <a:off x="495305" y="1435103"/>
            <a:ext cx="3259138"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3600" cy="566738"/>
          </a:xfrm>
        </p:spPr>
        <p:txBody>
          <a:bodyPr anchor="b"/>
          <a:lstStyle>
            <a:lvl1pPr algn="l">
              <a:defRPr sz="2000" b="1"/>
            </a:lvl1pPr>
          </a:lstStyle>
          <a:p>
            <a:r>
              <a:rPr lang="en-US" smtClean="0"/>
              <a:t>Click to edit Master title style</a:t>
            </a:r>
            <a:endParaRPr lang="pt-BR"/>
          </a:p>
        </p:txBody>
      </p:sp>
      <p:sp>
        <p:nvSpPr>
          <p:cNvPr id="3" name="Picture Placeholder 2"/>
          <p:cNvSpPr>
            <a:spLocks noGrp="1"/>
          </p:cNvSpPr>
          <p:nvPr>
            <p:ph type="pic" idx="1"/>
          </p:nvPr>
        </p:nvSpPr>
        <p:spPr>
          <a:xfrm>
            <a:off x="1941513" y="612775"/>
            <a:ext cx="59436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pt-BR" noProof="0" smtClean="0"/>
          </a:p>
        </p:txBody>
      </p:sp>
      <p:sp>
        <p:nvSpPr>
          <p:cNvPr id="4" name="Text Placeholder 3"/>
          <p:cNvSpPr>
            <a:spLocks noGrp="1"/>
          </p:cNvSpPr>
          <p:nvPr>
            <p:ph type="body" sz="half" idx="2"/>
          </p:nvPr>
        </p:nvSpPr>
        <p:spPr>
          <a:xfrm>
            <a:off x="1941513" y="5367338"/>
            <a:ext cx="59436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
        <p:nvSpPr>
          <p:cNvPr id="3" name="Vertical Text Placeholder 2"/>
          <p:cNvSpPr>
            <a:spLocks noGrp="1"/>
          </p:cNvSpPr>
          <p:nvPr>
            <p:ph type="body" orient="vert" idx="1"/>
          </p:nvPr>
        </p:nvSpPr>
        <p:spPr>
          <a:xfrm>
            <a:off x="495300" y="1600206"/>
            <a:ext cx="89154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35815" y="227013"/>
            <a:ext cx="2274887" cy="5899150"/>
          </a:xfrm>
        </p:spPr>
        <p:txBody>
          <a:bodyPr vert="eaVert"/>
          <a:lstStyle/>
          <a:p>
            <a:r>
              <a:rPr lang="en-US" smtClean="0"/>
              <a:t>Click to edit Master title style</a:t>
            </a:r>
            <a:endParaRPr lang="pt-BR"/>
          </a:p>
        </p:txBody>
      </p:sp>
      <p:sp>
        <p:nvSpPr>
          <p:cNvPr id="3" name="Vertical Text Placeholder 2"/>
          <p:cNvSpPr>
            <a:spLocks noGrp="1"/>
          </p:cNvSpPr>
          <p:nvPr>
            <p:ph type="body" orient="vert" idx="1"/>
          </p:nvPr>
        </p:nvSpPr>
        <p:spPr>
          <a:xfrm>
            <a:off x="307976" y="227013"/>
            <a:ext cx="6675438" cy="5899150"/>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7173957" y="944567"/>
            <a:ext cx="2224087" cy="5051425"/>
          </a:xfrm>
        </p:spPr>
        <p:txBody>
          <a:bodyPr vert="eaVert"/>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a:xfrm>
            <a:off x="496897" y="944567"/>
            <a:ext cx="6524625" cy="5051425"/>
          </a:xfrm>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08014" y="227013"/>
            <a:ext cx="7980363" cy="457200"/>
          </a:xfrm>
        </p:spPr>
        <p:txBody>
          <a:bodyPr/>
          <a:lstStyle/>
          <a:p>
            <a:r>
              <a:rPr lang="en-US" smtClean="0"/>
              <a:t>Click to edit Master title style</a:t>
            </a:r>
            <a:endParaRPr lang="pt-BR"/>
          </a:p>
        </p:txBody>
      </p:sp>
      <p:sp>
        <p:nvSpPr>
          <p:cNvPr id="3" name="Table Placeholder 2"/>
          <p:cNvSpPr>
            <a:spLocks noGrp="1"/>
          </p:cNvSpPr>
          <p:nvPr>
            <p:ph type="tbl" idx="1"/>
          </p:nvPr>
        </p:nvSpPr>
        <p:spPr>
          <a:xfrm>
            <a:off x="495300" y="1600206"/>
            <a:ext cx="8915400" cy="4525963"/>
          </a:xfrm>
          <a:prstGeom prst="rect">
            <a:avLst/>
          </a:prstGeom>
        </p:spPr>
        <p:txBody>
          <a:bodyPr/>
          <a:lstStyle/>
          <a:p>
            <a:pPr lvl="0"/>
            <a:endParaRPr lang="pt-BR" noProof="0" smtClean="0"/>
          </a:p>
        </p:txBody>
      </p:sp>
    </p:spTree>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08014" y="227013"/>
            <a:ext cx="7980363" cy="457200"/>
          </a:xfrm>
        </p:spPr>
        <p:txBody>
          <a:bodyPr/>
          <a:lstStyle/>
          <a:p>
            <a:r>
              <a:rPr lang="en-US" smtClean="0"/>
              <a:t>Click to edit Master title style</a:t>
            </a:r>
            <a:endParaRPr lang="pt-BR"/>
          </a:p>
        </p:txBody>
      </p:sp>
      <p:sp>
        <p:nvSpPr>
          <p:cNvPr id="3" name="Chart Placeholder 2"/>
          <p:cNvSpPr>
            <a:spLocks noGrp="1"/>
          </p:cNvSpPr>
          <p:nvPr>
            <p:ph type="chart" idx="1"/>
          </p:nvPr>
        </p:nvSpPr>
        <p:spPr>
          <a:xfrm>
            <a:off x="495300" y="1600206"/>
            <a:ext cx="8915400" cy="4525963"/>
          </a:xfrm>
          <a:prstGeom prst="rect">
            <a:avLst/>
          </a:prstGeom>
        </p:spPr>
        <p:txBody>
          <a:bodyPr/>
          <a:lstStyle/>
          <a:p>
            <a:pPr lvl="0"/>
            <a:endParaRPr lang="pt-BR" noProof="0" smtClean="0"/>
          </a:p>
        </p:txBody>
      </p:sp>
    </p:spTree>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41"/>
            <a:ext cx="8420100" cy="1470025"/>
          </a:xfrm>
        </p:spPr>
        <p:txBody>
          <a:bodyPr/>
          <a:lstStyle/>
          <a:p>
            <a:r>
              <a:rPr lang="en-US" smtClean="0"/>
              <a:t>Click to edit Master title style</a:t>
            </a:r>
            <a:endParaRPr lang="pt-BR"/>
          </a:p>
        </p:txBody>
      </p:sp>
      <p:sp>
        <p:nvSpPr>
          <p:cNvPr id="3" name="Subtitle 2"/>
          <p:cNvSpPr>
            <a:spLocks noGrp="1"/>
          </p:cNvSpPr>
          <p:nvPr>
            <p:ph type="subTitle" idx="1"/>
          </p:nvPr>
        </p:nvSpPr>
        <p:spPr>
          <a:xfrm>
            <a:off x="1485900" y="3886200"/>
            <a:ext cx="69342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pt-BR"/>
          </a:p>
        </p:txBody>
      </p:sp>
    </p:spTree>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
        <p:nvSpPr>
          <p:cNvPr id="3" name="Content Placeholder 2"/>
          <p:cNvSpPr>
            <a:spLocks noGrp="1"/>
          </p:cNvSpPr>
          <p:nvPr>
            <p:ph idx="1"/>
          </p:nvPr>
        </p:nvSpPr>
        <p:spPr>
          <a:xfrm>
            <a:off x="495300" y="1600206"/>
            <a:ext cx="89154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16"/>
            <a:ext cx="8420100" cy="1362075"/>
          </a:xfrm>
        </p:spPr>
        <p:txBody>
          <a:bodyPr anchor="t"/>
          <a:lstStyle>
            <a:lvl1pPr algn="l">
              <a:defRPr sz="4000" b="1" cap="all"/>
            </a:lvl1pPr>
          </a:lstStyle>
          <a:p>
            <a:r>
              <a:rPr lang="en-US" smtClean="0"/>
              <a:t>Click to edit Master title style</a:t>
            </a:r>
            <a:endParaRPr lang="pt-BR"/>
          </a:p>
        </p:txBody>
      </p:sp>
      <p:sp>
        <p:nvSpPr>
          <p:cNvPr id="3" name="Text Placeholder 2"/>
          <p:cNvSpPr>
            <a:spLocks noGrp="1"/>
          </p:cNvSpPr>
          <p:nvPr>
            <p:ph type="body" idx="1"/>
          </p:nvPr>
        </p:nvSpPr>
        <p:spPr>
          <a:xfrm>
            <a:off x="782638" y="2906713"/>
            <a:ext cx="84201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
        <p:nvSpPr>
          <p:cNvPr id="3" name="Content Placeholder 2"/>
          <p:cNvSpPr>
            <a:spLocks noGrp="1"/>
          </p:cNvSpPr>
          <p:nvPr>
            <p:ph sz="half" idx="1"/>
          </p:nvPr>
        </p:nvSpPr>
        <p:spPr>
          <a:xfrm>
            <a:off x="495303"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4" name="Content Placeholder 3"/>
          <p:cNvSpPr>
            <a:spLocks noGrp="1"/>
          </p:cNvSpPr>
          <p:nvPr>
            <p:ph sz="half" idx="2"/>
          </p:nvPr>
        </p:nvSpPr>
        <p:spPr>
          <a:xfrm>
            <a:off x="5029199"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smtClean="0"/>
              <a:t>Click to edit Master title style</a:t>
            </a:r>
            <a:endParaRPr lang="pt-BR"/>
          </a:p>
        </p:txBody>
      </p:sp>
      <p:sp>
        <p:nvSpPr>
          <p:cNvPr id="3" name="Text Placeholder 2"/>
          <p:cNvSpPr>
            <a:spLocks noGrp="1"/>
          </p:cNvSpPr>
          <p:nvPr>
            <p:ph type="body" idx="1"/>
          </p:nvPr>
        </p:nvSpPr>
        <p:spPr>
          <a:xfrm>
            <a:off x="495300" y="1535113"/>
            <a:ext cx="437673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73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5" name="Text Placeholder 4"/>
          <p:cNvSpPr>
            <a:spLocks noGrp="1"/>
          </p:cNvSpPr>
          <p:nvPr>
            <p:ph type="body" sz="quarter" idx="3"/>
          </p:nvPr>
        </p:nvSpPr>
        <p:spPr>
          <a:xfrm>
            <a:off x="5032384" y="1535113"/>
            <a:ext cx="437832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384" y="2174875"/>
            <a:ext cx="437832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Tree>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5" y="273050"/>
            <a:ext cx="3259138" cy="1162050"/>
          </a:xfrm>
        </p:spPr>
        <p:txBody>
          <a:bodyPr anchor="b"/>
          <a:lstStyle>
            <a:lvl1pPr algn="l">
              <a:defRPr sz="2000" b="1"/>
            </a:lvl1pPr>
          </a:lstStyle>
          <a:p>
            <a:r>
              <a:rPr lang="en-US" smtClean="0"/>
              <a:t>Click to edit Master title style</a:t>
            </a:r>
            <a:endParaRPr lang="pt-BR"/>
          </a:p>
        </p:txBody>
      </p:sp>
      <p:sp>
        <p:nvSpPr>
          <p:cNvPr id="3" name="Content Placeholder 2"/>
          <p:cNvSpPr>
            <a:spLocks noGrp="1"/>
          </p:cNvSpPr>
          <p:nvPr>
            <p:ph idx="1"/>
          </p:nvPr>
        </p:nvSpPr>
        <p:spPr>
          <a:xfrm>
            <a:off x="3873499" y="273058"/>
            <a:ext cx="5537201"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4" name="Text Placeholder 3"/>
          <p:cNvSpPr>
            <a:spLocks noGrp="1"/>
          </p:cNvSpPr>
          <p:nvPr>
            <p:ph type="body" sz="half" idx="2"/>
          </p:nvPr>
        </p:nvSpPr>
        <p:spPr>
          <a:xfrm>
            <a:off x="495305" y="1435103"/>
            <a:ext cx="3259138"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08014" y="227013"/>
            <a:ext cx="7980363" cy="457200"/>
          </a:xfrm>
        </p:spPr>
        <p:txBody>
          <a:bodyPr/>
          <a:lstStyle/>
          <a:p>
            <a:r>
              <a:rPr lang="en-US" smtClean="0"/>
              <a:t>Click to edit Master title style</a:t>
            </a:r>
            <a:endParaRPr lang="pt-BR"/>
          </a:p>
        </p:txBody>
      </p:sp>
      <p:sp>
        <p:nvSpPr>
          <p:cNvPr id="3" name="Table Placeholder 2"/>
          <p:cNvSpPr>
            <a:spLocks noGrp="1"/>
          </p:cNvSpPr>
          <p:nvPr>
            <p:ph type="tbl" idx="1"/>
          </p:nvPr>
        </p:nvSpPr>
        <p:spPr>
          <a:xfrm>
            <a:off x="495300" y="1600206"/>
            <a:ext cx="8915400" cy="4525963"/>
          </a:xfrm>
          <a:prstGeom prst="rect">
            <a:avLst/>
          </a:prstGeom>
        </p:spPr>
        <p:txBody>
          <a:bodyPr/>
          <a:lstStyle/>
          <a:p>
            <a:pPr lvl="0"/>
            <a:endParaRPr lang="pt-BR" noProof="0"/>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3600" cy="566738"/>
          </a:xfrm>
        </p:spPr>
        <p:txBody>
          <a:bodyPr anchor="b"/>
          <a:lstStyle>
            <a:lvl1pPr algn="l">
              <a:defRPr sz="2000" b="1"/>
            </a:lvl1pPr>
          </a:lstStyle>
          <a:p>
            <a:r>
              <a:rPr lang="en-US" smtClean="0"/>
              <a:t>Click to edit Master title style</a:t>
            </a:r>
            <a:endParaRPr lang="pt-BR"/>
          </a:p>
        </p:txBody>
      </p:sp>
      <p:sp>
        <p:nvSpPr>
          <p:cNvPr id="3" name="Picture Placeholder 2"/>
          <p:cNvSpPr>
            <a:spLocks noGrp="1"/>
          </p:cNvSpPr>
          <p:nvPr>
            <p:ph type="pic" idx="1"/>
          </p:nvPr>
        </p:nvSpPr>
        <p:spPr>
          <a:xfrm>
            <a:off x="1941513" y="612775"/>
            <a:ext cx="59436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pt-BR" noProof="0" smtClean="0"/>
          </a:p>
        </p:txBody>
      </p:sp>
      <p:sp>
        <p:nvSpPr>
          <p:cNvPr id="4" name="Text Placeholder 3"/>
          <p:cNvSpPr>
            <a:spLocks noGrp="1"/>
          </p:cNvSpPr>
          <p:nvPr>
            <p:ph type="body" sz="half" idx="2"/>
          </p:nvPr>
        </p:nvSpPr>
        <p:spPr>
          <a:xfrm>
            <a:off x="1941513" y="5367338"/>
            <a:ext cx="59436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
        <p:nvSpPr>
          <p:cNvPr id="3" name="Vertical Text Placeholder 2"/>
          <p:cNvSpPr>
            <a:spLocks noGrp="1"/>
          </p:cNvSpPr>
          <p:nvPr>
            <p:ph type="body" orient="vert" idx="1"/>
          </p:nvPr>
        </p:nvSpPr>
        <p:spPr>
          <a:xfrm>
            <a:off x="495300" y="1600206"/>
            <a:ext cx="89154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35815" y="227013"/>
            <a:ext cx="2274887" cy="5899150"/>
          </a:xfrm>
        </p:spPr>
        <p:txBody>
          <a:bodyPr vert="eaVert"/>
          <a:lstStyle/>
          <a:p>
            <a:r>
              <a:rPr lang="en-US" smtClean="0"/>
              <a:t>Click to edit Master title style</a:t>
            </a:r>
            <a:endParaRPr lang="pt-BR"/>
          </a:p>
        </p:txBody>
      </p:sp>
      <p:sp>
        <p:nvSpPr>
          <p:cNvPr id="3" name="Vertical Text Placeholder 2"/>
          <p:cNvSpPr>
            <a:spLocks noGrp="1"/>
          </p:cNvSpPr>
          <p:nvPr>
            <p:ph type="body" orient="vert" idx="1"/>
          </p:nvPr>
        </p:nvSpPr>
        <p:spPr>
          <a:xfrm>
            <a:off x="307976" y="227013"/>
            <a:ext cx="6675438" cy="5899150"/>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07984" y="227013"/>
            <a:ext cx="7980363" cy="457200"/>
          </a:xfrm>
        </p:spPr>
        <p:txBody>
          <a:bodyPr/>
          <a:lstStyle/>
          <a:p>
            <a:r>
              <a:rPr lang="en-US" smtClean="0"/>
              <a:t>Click to edit Master title style</a:t>
            </a:r>
            <a:endParaRPr lang="pt-BR"/>
          </a:p>
        </p:txBody>
      </p:sp>
      <p:sp>
        <p:nvSpPr>
          <p:cNvPr id="3" name="Chart Placeholder 2"/>
          <p:cNvSpPr>
            <a:spLocks noGrp="1"/>
          </p:cNvSpPr>
          <p:nvPr>
            <p:ph type="chart" idx="1"/>
          </p:nvPr>
        </p:nvSpPr>
        <p:spPr>
          <a:xfrm>
            <a:off x="495300" y="1600206"/>
            <a:ext cx="8915400" cy="4525963"/>
          </a:xfrm>
          <a:prstGeom prst="rect">
            <a:avLst/>
          </a:prstGeom>
        </p:spPr>
        <p:txBody>
          <a:bodyPr/>
          <a:lstStyle/>
          <a:p>
            <a:pPr lvl="0"/>
            <a:endParaRPr lang="pt-BR" noProof="0" smtClean="0"/>
          </a:p>
        </p:txBody>
      </p:sp>
    </p:spTree>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507"/>
            <a:ext cx="8420100" cy="1470025"/>
          </a:xfrm>
        </p:spPr>
        <p:txBody>
          <a:bodyPr/>
          <a:lstStyle/>
          <a:p>
            <a:r>
              <a:rPr lang="en-US" smtClean="0"/>
              <a:t>Click to edit Master title style</a:t>
            </a:r>
            <a:endParaRPr lang="pt-BR"/>
          </a:p>
        </p:txBody>
      </p:sp>
      <p:sp>
        <p:nvSpPr>
          <p:cNvPr id="3" name="Subtitle 2"/>
          <p:cNvSpPr>
            <a:spLocks noGrp="1"/>
          </p:cNvSpPr>
          <p:nvPr>
            <p:ph type="subTitle" idx="1"/>
          </p:nvPr>
        </p:nvSpPr>
        <p:spPr>
          <a:xfrm>
            <a:off x="1485900" y="3886200"/>
            <a:ext cx="69342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pt-BR"/>
          </a:p>
        </p:txBody>
      </p:sp>
    </p:spTree>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
        <p:nvSpPr>
          <p:cNvPr id="3" name="Content Placeholder 2"/>
          <p:cNvSpPr>
            <a:spLocks noGrp="1"/>
          </p:cNvSpPr>
          <p:nvPr>
            <p:ph idx="1"/>
          </p:nvPr>
        </p:nvSpPr>
        <p:spPr>
          <a:xfrm>
            <a:off x="495300" y="1600206"/>
            <a:ext cx="89154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82"/>
            <a:ext cx="8420100" cy="1362075"/>
          </a:xfrm>
        </p:spPr>
        <p:txBody>
          <a:bodyPr anchor="t"/>
          <a:lstStyle>
            <a:lvl1pPr algn="l">
              <a:defRPr sz="4000" b="1" cap="all"/>
            </a:lvl1pPr>
          </a:lstStyle>
          <a:p>
            <a:r>
              <a:rPr lang="en-US" smtClean="0"/>
              <a:t>Click to edit Master title style</a:t>
            </a:r>
            <a:endParaRPr lang="pt-BR"/>
          </a:p>
        </p:txBody>
      </p:sp>
      <p:sp>
        <p:nvSpPr>
          <p:cNvPr id="3" name="Text Placeholder 2"/>
          <p:cNvSpPr>
            <a:spLocks noGrp="1"/>
          </p:cNvSpPr>
          <p:nvPr>
            <p:ph type="body" idx="1"/>
          </p:nvPr>
        </p:nvSpPr>
        <p:spPr>
          <a:xfrm>
            <a:off x="782638" y="2906713"/>
            <a:ext cx="84201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
        <p:nvSpPr>
          <p:cNvPr id="3" name="Content Placeholder 2"/>
          <p:cNvSpPr>
            <a:spLocks noGrp="1"/>
          </p:cNvSpPr>
          <p:nvPr>
            <p:ph sz="half" idx="1"/>
          </p:nvPr>
        </p:nvSpPr>
        <p:spPr>
          <a:xfrm>
            <a:off x="495303"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4" name="Content Placeholder 3"/>
          <p:cNvSpPr>
            <a:spLocks noGrp="1"/>
          </p:cNvSpPr>
          <p:nvPr>
            <p:ph sz="half" idx="2"/>
          </p:nvPr>
        </p:nvSpPr>
        <p:spPr>
          <a:xfrm>
            <a:off x="5029199"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smtClean="0"/>
              <a:t>Click to edit Master title style</a:t>
            </a:r>
            <a:endParaRPr lang="pt-BR"/>
          </a:p>
        </p:txBody>
      </p:sp>
      <p:sp>
        <p:nvSpPr>
          <p:cNvPr id="3" name="Text Placeholder 2"/>
          <p:cNvSpPr>
            <a:spLocks noGrp="1"/>
          </p:cNvSpPr>
          <p:nvPr>
            <p:ph type="body" idx="1"/>
          </p:nvPr>
        </p:nvSpPr>
        <p:spPr>
          <a:xfrm>
            <a:off x="495300" y="1535113"/>
            <a:ext cx="437673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73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5" name="Text Placeholder 4"/>
          <p:cNvSpPr>
            <a:spLocks noGrp="1"/>
          </p:cNvSpPr>
          <p:nvPr>
            <p:ph type="body" sz="quarter" idx="3"/>
          </p:nvPr>
        </p:nvSpPr>
        <p:spPr>
          <a:xfrm>
            <a:off x="5032415" y="1535113"/>
            <a:ext cx="437832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415" y="2174875"/>
            <a:ext cx="437832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08014" y="227013"/>
            <a:ext cx="7980363" cy="457200"/>
          </a:xfrm>
        </p:spPr>
        <p:txBody>
          <a:bodyPr/>
          <a:lstStyle/>
          <a:p>
            <a:r>
              <a:rPr lang="en-US" smtClean="0"/>
              <a:t>Click to edit Master title style</a:t>
            </a:r>
            <a:endParaRPr lang="pt-BR"/>
          </a:p>
        </p:txBody>
      </p:sp>
      <p:sp>
        <p:nvSpPr>
          <p:cNvPr id="3" name="Chart Placeholder 2"/>
          <p:cNvSpPr>
            <a:spLocks noGrp="1"/>
          </p:cNvSpPr>
          <p:nvPr>
            <p:ph type="chart" idx="1"/>
          </p:nvPr>
        </p:nvSpPr>
        <p:spPr>
          <a:xfrm>
            <a:off x="495300" y="1600206"/>
            <a:ext cx="8915400" cy="4525963"/>
          </a:xfrm>
          <a:prstGeom prst="rect">
            <a:avLst/>
          </a:prstGeom>
        </p:spPr>
        <p:txBody>
          <a:bodyPr/>
          <a:lstStyle/>
          <a:p>
            <a:pPr lvl="0"/>
            <a:endParaRPr lang="pt-BR" noProof="0"/>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5" y="273050"/>
            <a:ext cx="3259138" cy="1162050"/>
          </a:xfrm>
        </p:spPr>
        <p:txBody>
          <a:bodyPr anchor="b"/>
          <a:lstStyle>
            <a:lvl1pPr algn="l">
              <a:defRPr sz="2000" b="1"/>
            </a:lvl1pPr>
          </a:lstStyle>
          <a:p>
            <a:r>
              <a:rPr lang="en-US" smtClean="0"/>
              <a:t>Click to edit Master title style</a:t>
            </a:r>
            <a:endParaRPr lang="pt-BR"/>
          </a:p>
        </p:txBody>
      </p:sp>
      <p:sp>
        <p:nvSpPr>
          <p:cNvPr id="3" name="Content Placeholder 2"/>
          <p:cNvSpPr>
            <a:spLocks noGrp="1"/>
          </p:cNvSpPr>
          <p:nvPr>
            <p:ph idx="1"/>
          </p:nvPr>
        </p:nvSpPr>
        <p:spPr>
          <a:xfrm>
            <a:off x="3873499" y="273058"/>
            <a:ext cx="5537201"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4" name="Text Placeholder 3"/>
          <p:cNvSpPr>
            <a:spLocks noGrp="1"/>
          </p:cNvSpPr>
          <p:nvPr>
            <p:ph type="body" sz="half" idx="2"/>
          </p:nvPr>
        </p:nvSpPr>
        <p:spPr>
          <a:xfrm>
            <a:off x="495305" y="1435103"/>
            <a:ext cx="3259138"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3600" cy="566738"/>
          </a:xfrm>
        </p:spPr>
        <p:txBody>
          <a:bodyPr anchor="b"/>
          <a:lstStyle>
            <a:lvl1pPr algn="l">
              <a:defRPr sz="2000" b="1"/>
            </a:lvl1pPr>
          </a:lstStyle>
          <a:p>
            <a:r>
              <a:rPr lang="en-US" smtClean="0"/>
              <a:t>Click to edit Master title style</a:t>
            </a:r>
            <a:endParaRPr lang="pt-BR"/>
          </a:p>
        </p:txBody>
      </p:sp>
      <p:sp>
        <p:nvSpPr>
          <p:cNvPr id="3" name="Picture Placeholder 2"/>
          <p:cNvSpPr>
            <a:spLocks noGrp="1"/>
          </p:cNvSpPr>
          <p:nvPr>
            <p:ph type="pic" idx="1"/>
          </p:nvPr>
        </p:nvSpPr>
        <p:spPr>
          <a:xfrm>
            <a:off x="1941513" y="612775"/>
            <a:ext cx="59436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pt-BR" noProof="0" smtClean="0"/>
          </a:p>
        </p:txBody>
      </p:sp>
      <p:sp>
        <p:nvSpPr>
          <p:cNvPr id="4" name="Text Placeholder 3"/>
          <p:cNvSpPr>
            <a:spLocks noGrp="1"/>
          </p:cNvSpPr>
          <p:nvPr>
            <p:ph type="body" sz="half" idx="2"/>
          </p:nvPr>
        </p:nvSpPr>
        <p:spPr>
          <a:xfrm>
            <a:off x="1941513" y="5367338"/>
            <a:ext cx="59436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
        <p:nvSpPr>
          <p:cNvPr id="3" name="Vertical Text Placeholder 2"/>
          <p:cNvSpPr>
            <a:spLocks noGrp="1"/>
          </p:cNvSpPr>
          <p:nvPr>
            <p:ph type="body" orient="vert" idx="1"/>
          </p:nvPr>
        </p:nvSpPr>
        <p:spPr>
          <a:xfrm>
            <a:off x="495300" y="1600206"/>
            <a:ext cx="89154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35815" y="227013"/>
            <a:ext cx="2274887" cy="5899150"/>
          </a:xfrm>
        </p:spPr>
        <p:txBody>
          <a:bodyPr vert="eaVert"/>
          <a:lstStyle/>
          <a:p>
            <a:r>
              <a:rPr lang="en-US" smtClean="0"/>
              <a:t>Click to edit Master title style</a:t>
            </a:r>
            <a:endParaRPr lang="pt-BR"/>
          </a:p>
        </p:txBody>
      </p:sp>
      <p:sp>
        <p:nvSpPr>
          <p:cNvPr id="3" name="Vertical Text Placeholder 2"/>
          <p:cNvSpPr>
            <a:spLocks noGrp="1"/>
          </p:cNvSpPr>
          <p:nvPr>
            <p:ph type="body" orient="vert" idx="1"/>
          </p:nvPr>
        </p:nvSpPr>
        <p:spPr>
          <a:xfrm>
            <a:off x="307976" y="227013"/>
            <a:ext cx="6675438" cy="5899150"/>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08014" y="227013"/>
            <a:ext cx="7980363" cy="457200"/>
          </a:xfrm>
        </p:spPr>
        <p:txBody>
          <a:bodyPr/>
          <a:lstStyle/>
          <a:p>
            <a:r>
              <a:rPr lang="en-US" smtClean="0"/>
              <a:t>Click to edit Master title style</a:t>
            </a:r>
            <a:endParaRPr lang="pt-BR"/>
          </a:p>
        </p:txBody>
      </p:sp>
      <p:sp>
        <p:nvSpPr>
          <p:cNvPr id="3" name="Table Placeholder 2"/>
          <p:cNvSpPr>
            <a:spLocks noGrp="1"/>
          </p:cNvSpPr>
          <p:nvPr>
            <p:ph type="tbl" idx="1"/>
          </p:nvPr>
        </p:nvSpPr>
        <p:spPr>
          <a:xfrm>
            <a:off x="495300" y="1600206"/>
            <a:ext cx="8915400" cy="4525963"/>
          </a:xfrm>
          <a:prstGeom prst="rect">
            <a:avLst/>
          </a:prstGeom>
        </p:spPr>
        <p:txBody>
          <a:bodyPr/>
          <a:lstStyle/>
          <a:p>
            <a:pPr lvl="0"/>
            <a:endParaRPr lang="pt-BR" noProof="0" smtClean="0"/>
          </a:p>
        </p:txBody>
      </p:sp>
    </p:spTree>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08014" y="227013"/>
            <a:ext cx="7980363" cy="457200"/>
          </a:xfrm>
        </p:spPr>
        <p:txBody>
          <a:bodyPr/>
          <a:lstStyle/>
          <a:p>
            <a:r>
              <a:rPr lang="en-US" smtClean="0"/>
              <a:t>Click to edit Master title style</a:t>
            </a:r>
            <a:endParaRPr lang="pt-BR"/>
          </a:p>
        </p:txBody>
      </p:sp>
      <p:sp>
        <p:nvSpPr>
          <p:cNvPr id="3" name="Chart Placeholder 2"/>
          <p:cNvSpPr>
            <a:spLocks noGrp="1"/>
          </p:cNvSpPr>
          <p:nvPr>
            <p:ph type="chart" idx="1"/>
          </p:nvPr>
        </p:nvSpPr>
        <p:spPr>
          <a:xfrm>
            <a:off x="495300" y="1600206"/>
            <a:ext cx="8915400" cy="4525963"/>
          </a:xfrm>
          <a:prstGeom prst="rect">
            <a:avLst/>
          </a:prstGeom>
        </p:spPr>
        <p:txBody>
          <a:bodyPr/>
          <a:lstStyle/>
          <a:p>
            <a:pPr lvl="0"/>
            <a:endParaRPr lang="pt-BR" noProof="0" smtClean="0"/>
          </a:p>
        </p:txBody>
      </p:sp>
    </p:spTree>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507"/>
            <a:ext cx="8420100" cy="1470025"/>
          </a:xfrm>
        </p:spPr>
        <p:txBody>
          <a:bodyPr/>
          <a:lstStyle/>
          <a:p>
            <a:r>
              <a:rPr lang="en-US" smtClean="0"/>
              <a:t>Click to edit Master title style</a:t>
            </a:r>
            <a:endParaRPr lang="pt-BR"/>
          </a:p>
        </p:txBody>
      </p:sp>
      <p:sp>
        <p:nvSpPr>
          <p:cNvPr id="3" name="Subtitle 2"/>
          <p:cNvSpPr>
            <a:spLocks noGrp="1"/>
          </p:cNvSpPr>
          <p:nvPr>
            <p:ph type="subTitle" idx="1"/>
          </p:nvPr>
        </p:nvSpPr>
        <p:spPr>
          <a:xfrm>
            <a:off x="1485900" y="3886200"/>
            <a:ext cx="69342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pt-BR"/>
          </a:p>
        </p:txBody>
      </p:sp>
    </p:spTree>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
        <p:nvSpPr>
          <p:cNvPr id="3" name="Content Placeholder 2"/>
          <p:cNvSpPr>
            <a:spLocks noGrp="1"/>
          </p:cNvSpPr>
          <p:nvPr>
            <p:ph idx="1"/>
          </p:nvPr>
        </p:nvSpPr>
        <p:spPr>
          <a:xfrm>
            <a:off x="495300" y="1600206"/>
            <a:ext cx="89154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82"/>
            <a:ext cx="8420100" cy="1362075"/>
          </a:xfrm>
        </p:spPr>
        <p:txBody>
          <a:bodyPr anchor="t"/>
          <a:lstStyle>
            <a:lvl1pPr algn="l">
              <a:defRPr sz="4000" b="1" cap="all"/>
            </a:lvl1pPr>
          </a:lstStyle>
          <a:p>
            <a:r>
              <a:rPr lang="en-US" smtClean="0"/>
              <a:t>Click to edit Master title style</a:t>
            </a:r>
            <a:endParaRPr lang="pt-BR"/>
          </a:p>
        </p:txBody>
      </p:sp>
      <p:sp>
        <p:nvSpPr>
          <p:cNvPr id="3" name="Text Placeholder 2"/>
          <p:cNvSpPr>
            <a:spLocks noGrp="1"/>
          </p:cNvSpPr>
          <p:nvPr>
            <p:ph type="body" idx="1"/>
          </p:nvPr>
        </p:nvSpPr>
        <p:spPr>
          <a:xfrm>
            <a:off x="782638" y="2906713"/>
            <a:ext cx="84201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307991" y="227013"/>
            <a:ext cx="9102725" cy="58991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
        <p:nvSpPr>
          <p:cNvPr id="3" name="Content Placeholder 2"/>
          <p:cNvSpPr>
            <a:spLocks noGrp="1"/>
          </p:cNvSpPr>
          <p:nvPr>
            <p:ph sz="half" idx="1"/>
          </p:nvPr>
        </p:nvSpPr>
        <p:spPr>
          <a:xfrm>
            <a:off x="495303"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4" name="Content Placeholder 3"/>
          <p:cNvSpPr>
            <a:spLocks noGrp="1"/>
          </p:cNvSpPr>
          <p:nvPr>
            <p:ph sz="half" idx="2"/>
          </p:nvPr>
        </p:nvSpPr>
        <p:spPr>
          <a:xfrm>
            <a:off x="5029199"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smtClean="0"/>
              <a:t>Click to edit Master title style</a:t>
            </a:r>
            <a:endParaRPr lang="pt-BR"/>
          </a:p>
        </p:txBody>
      </p:sp>
      <p:sp>
        <p:nvSpPr>
          <p:cNvPr id="3" name="Text Placeholder 2"/>
          <p:cNvSpPr>
            <a:spLocks noGrp="1"/>
          </p:cNvSpPr>
          <p:nvPr>
            <p:ph type="body" idx="1"/>
          </p:nvPr>
        </p:nvSpPr>
        <p:spPr>
          <a:xfrm>
            <a:off x="495300" y="1535113"/>
            <a:ext cx="437673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73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5" name="Text Placeholder 4"/>
          <p:cNvSpPr>
            <a:spLocks noGrp="1"/>
          </p:cNvSpPr>
          <p:nvPr>
            <p:ph type="body" sz="quarter" idx="3"/>
          </p:nvPr>
        </p:nvSpPr>
        <p:spPr>
          <a:xfrm>
            <a:off x="5032415" y="1535113"/>
            <a:ext cx="437832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415" y="2174875"/>
            <a:ext cx="437832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Tree>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5" y="273050"/>
            <a:ext cx="3259138" cy="1162050"/>
          </a:xfrm>
        </p:spPr>
        <p:txBody>
          <a:bodyPr anchor="b"/>
          <a:lstStyle>
            <a:lvl1pPr algn="l">
              <a:defRPr sz="2000" b="1"/>
            </a:lvl1pPr>
          </a:lstStyle>
          <a:p>
            <a:r>
              <a:rPr lang="en-US" smtClean="0"/>
              <a:t>Click to edit Master title style</a:t>
            </a:r>
            <a:endParaRPr lang="pt-BR"/>
          </a:p>
        </p:txBody>
      </p:sp>
      <p:sp>
        <p:nvSpPr>
          <p:cNvPr id="3" name="Content Placeholder 2"/>
          <p:cNvSpPr>
            <a:spLocks noGrp="1"/>
          </p:cNvSpPr>
          <p:nvPr>
            <p:ph idx="1"/>
          </p:nvPr>
        </p:nvSpPr>
        <p:spPr>
          <a:xfrm>
            <a:off x="3873499" y="273058"/>
            <a:ext cx="5537201"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4" name="Text Placeholder 3"/>
          <p:cNvSpPr>
            <a:spLocks noGrp="1"/>
          </p:cNvSpPr>
          <p:nvPr>
            <p:ph type="body" sz="half" idx="2"/>
          </p:nvPr>
        </p:nvSpPr>
        <p:spPr>
          <a:xfrm>
            <a:off x="495305" y="1435103"/>
            <a:ext cx="3259138"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3600" cy="566738"/>
          </a:xfrm>
        </p:spPr>
        <p:txBody>
          <a:bodyPr anchor="b"/>
          <a:lstStyle>
            <a:lvl1pPr algn="l">
              <a:defRPr sz="2000" b="1"/>
            </a:lvl1pPr>
          </a:lstStyle>
          <a:p>
            <a:r>
              <a:rPr lang="en-US" smtClean="0"/>
              <a:t>Click to edit Master title style</a:t>
            </a:r>
            <a:endParaRPr lang="pt-BR"/>
          </a:p>
        </p:txBody>
      </p:sp>
      <p:sp>
        <p:nvSpPr>
          <p:cNvPr id="3" name="Picture Placeholder 2"/>
          <p:cNvSpPr>
            <a:spLocks noGrp="1"/>
          </p:cNvSpPr>
          <p:nvPr>
            <p:ph type="pic" idx="1"/>
          </p:nvPr>
        </p:nvSpPr>
        <p:spPr>
          <a:xfrm>
            <a:off x="1941513" y="612775"/>
            <a:ext cx="59436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pt-BR" noProof="0" smtClean="0"/>
          </a:p>
        </p:txBody>
      </p:sp>
      <p:sp>
        <p:nvSpPr>
          <p:cNvPr id="4" name="Text Placeholder 3"/>
          <p:cNvSpPr>
            <a:spLocks noGrp="1"/>
          </p:cNvSpPr>
          <p:nvPr>
            <p:ph type="body" sz="half" idx="2"/>
          </p:nvPr>
        </p:nvSpPr>
        <p:spPr>
          <a:xfrm>
            <a:off x="1941513" y="5367338"/>
            <a:ext cx="59436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
        <p:nvSpPr>
          <p:cNvPr id="3" name="Vertical Text Placeholder 2"/>
          <p:cNvSpPr>
            <a:spLocks noGrp="1"/>
          </p:cNvSpPr>
          <p:nvPr>
            <p:ph type="body" orient="vert" idx="1"/>
          </p:nvPr>
        </p:nvSpPr>
        <p:spPr>
          <a:xfrm>
            <a:off x="495300" y="1600206"/>
            <a:ext cx="89154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35815" y="227013"/>
            <a:ext cx="2274887" cy="5899150"/>
          </a:xfrm>
        </p:spPr>
        <p:txBody>
          <a:bodyPr vert="eaVert"/>
          <a:lstStyle/>
          <a:p>
            <a:r>
              <a:rPr lang="en-US" smtClean="0"/>
              <a:t>Click to edit Master title style</a:t>
            </a:r>
            <a:endParaRPr lang="pt-BR"/>
          </a:p>
        </p:txBody>
      </p:sp>
      <p:sp>
        <p:nvSpPr>
          <p:cNvPr id="3" name="Vertical Text Placeholder 2"/>
          <p:cNvSpPr>
            <a:spLocks noGrp="1"/>
          </p:cNvSpPr>
          <p:nvPr>
            <p:ph type="body" orient="vert" idx="1"/>
          </p:nvPr>
        </p:nvSpPr>
        <p:spPr>
          <a:xfrm>
            <a:off x="307976" y="227013"/>
            <a:ext cx="6675438" cy="5899150"/>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08014" y="227013"/>
            <a:ext cx="7980363" cy="457200"/>
          </a:xfrm>
        </p:spPr>
        <p:txBody>
          <a:bodyPr/>
          <a:lstStyle/>
          <a:p>
            <a:r>
              <a:rPr lang="en-US" smtClean="0"/>
              <a:t>Click to edit Master title style</a:t>
            </a:r>
            <a:endParaRPr lang="pt-BR"/>
          </a:p>
        </p:txBody>
      </p:sp>
      <p:sp>
        <p:nvSpPr>
          <p:cNvPr id="3" name="Table Placeholder 2"/>
          <p:cNvSpPr>
            <a:spLocks noGrp="1"/>
          </p:cNvSpPr>
          <p:nvPr>
            <p:ph type="tbl" idx="1"/>
          </p:nvPr>
        </p:nvSpPr>
        <p:spPr>
          <a:xfrm>
            <a:off x="495300" y="1600206"/>
            <a:ext cx="8915400" cy="4525963"/>
          </a:xfrm>
          <a:prstGeom prst="rect">
            <a:avLst/>
          </a:prstGeom>
        </p:spPr>
        <p:txBody>
          <a:bodyPr/>
          <a:lstStyle/>
          <a:p>
            <a:pPr lvl="0"/>
            <a:endParaRPr lang="pt-BR" noProof="0" smtClean="0"/>
          </a:p>
        </p:txBody>
      </p:sp>
    </p:spTree>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08014" y="227013"/>
            <a:ext cx="7980363" cy="457200"/>
          </a:xfrm>
        </p:spPr>
        <p:txBody>
          <a:bodyPr/>
          <a:lstStyle/>
          <a:p>
            <a:r>
              <a:rPr lang="en-US" smtClean="0"/>
              <a:t>Click to edit Master title style</a:t>
            </a:r>
            <a:endParaRPr lang="pt-BR"/>
          </a:p>
        </p:txBody>
      </p:sp>
      <p:sp>
        <p:nvSpPr>
          <p:cNvPr id="3" name="Chart Placeholder 2"/>
          <p:cNvSpPr>
            <a:spLocks noGrp="1"/>
          </p:cNvSpPr>
          <p:nvPr>
            <p:ph type="chart" idx="1"/>
          </p:nvPr>
        </p:nvSpPr>
        <p:spPr>
          <a:xfrm>
            <a:off x="495300" y="1600206"/>
            <a:ext cx="8915400" cy="4525963"/>
          </a:xfrm>
          <a:prstGeom prst="rect">
            <a:avLst/>
          </a:prstGeom>
        </p:spPr>
        <p:txBody>
          <a:bodyPr/>
          <a:lstStyle/>
          <a:p>
            <a:pPr lvl="0"/>
            <a:endParaRPr lang="pt-BR" noProof="0" smtClean="0"/>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08014" y="227013"/>
            <a:ext cx="7980363" cy="457200"/>
          </a:xfrm>
        </p:spPr>
        <p:txBody>
          <a:bodyPr/>
          <a:lstStyle/>
          <a:p>
            <a:r>
              <a:rPr lang="en-US" smtClean="0"/>
              <a:t>Click to edit Master title style</a:t>
            </a:r>
            <a:endParaRPr lang="pt-BR"/>
          </a:p>
        </p:txBody>
      </p:sp>
      <p:sp>
        <p:nvSpPr>
          <p:cNvPr id="3" name="Content Placeholder 2"/>
          <p:cNvSpPr>
            <a:spLocks noGrp="1"/>
          </p:cNvSpPr>
          <p:nvPr>
            <p:ph sz="half" idx="1"/>
          </p:nvPr>
        </p:nvSpPr>
        <p:spPr>
          <a:xfrm>
            <a:off x="495303" y="1600206"/>
            <a:ext cx="4381501"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4" name="Content Placeholder 3"/>
          <p:cNvSpPr>
            <a:spLocks noGrp="1"/>
          </p:cNvSpPr>
          <p:nvPr>
            <p:ph sz="quarter" idx="2"/>
          </p:nvPr>
        </p:nvSpPr>
        <p:spPr>
          <a:xfrm>
            <a:off x="5029199" y="1600200"/>
            <a:ext cx="4381501" cy="218598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5" name="Content Placeholder 4"/>
          <p:cNvSpPr>
            <a:spLocks noGrp="1"/>
          </p:cNvSpPr>
          <p:nvPr>
            <p:ph sz="quarter" idx="3"/>
          </p:nvPr>
        </p:nvSpPr>
        <p:spPr>
          <a:xfrm>
            <a:off x="5029199" y="3938599"/>
            <a:ext cx="4381501" cy="218757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39"/>
            <a:ext cx="8420100" cy="1470025"/>
          </a:xfrm>
        </p:spPr>
        <p:txBody>
          <a:bodyPr/>
          <a:lstStyle/>
          <a:p>
            <a:r>
              <a:rPr lang="en-US"/>
              <a:t>Click to edit Master title style</a:t>
            </a:r>
          </a:p>
        </p:txBody>
      </p:sp>
      <p:sp>
        <p:nvSpPr>
          <p:cNvPr id="3" name="Subtitle 2"/>
          <p:cNvSpPr>
            <a:spLocks noGrp="1"/>
          </p:cNvSpPr>
          <p:nvPr>
            <p:ph type="subTitle" idx="1"/>
          </p:nvPr>
        </p:nvSpPr>
        <p:spPr>
          <a:xfrm>
            <a:off x="1485900" y="3886200"/>
            <a:ext cx="69342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95300" y="1600206"/>
            <a:ext cx="89154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14"/>
            <a:ext cx="84201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82638" y="2906713"/>
            <a:ext cx="84201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95303"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029199"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95300" y="1535113"/>
            <a:ext cx="437673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95300" y="2174875"/>
            <a:ext cx="437673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032383" y="1535113"/>
            <a:ext cx="437832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32383" y="2174875"/>
            <a:ext cx="437832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5" y="273050"/>
            <a:ext cx="3259138"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873499" y="273058"/>
            <a:ext cx="5537201"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95305" y="1435103"/>
            <a:ext cx="3259138"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36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941513" y="612775"/>
            <a:ext cx="59436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941513" y="5367338"/>
            <a:ext cx="59436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495300" y="1600206"/>
            <a:ext cx="89154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507"/>
            <a:ext cx="8420100" cy="1470025"/>
          </a:xfrm>
        </p:spPr>
        <p:txBody>
          <a:bodyPr/>
          <a:lstStyle/>
          <a:p>
            <a:r>
              <a:rPr lang="en-US" smtClean="0"/>
              <a:t>Click to edit Master title style</a:t>
            </a:r>
            <a:endParaRPr lang="pt-BR"/>
          </a:p>
        </p:txBody>
      </p:sp>
      <p:sp>
        <p:nvSpPr>
          <p:cNvPr id="3" name="Subtitle 2"/>
          <p:cNvSpPr>
            <a:spLocks noGrp="1"/>
          </p:cNvSpPr>
          <p:nvPr>
            <p:ph type="subTitle" idx="1"/>
          </p:nvPr>
        </p:nvSpPr>
        <p:spPr>
          <a:xfrm>
            <a:off x="1485900" y="3886200"/>
            <a:ext cx="69342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pt-BR"/>
          </a:p>
        </p:txBody>
      </p:sp>
    </p:spTree>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35815" y="227013"/>
            <a:ext cx="2274887" cy="589915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7976" y="227013"/>
            <a:ext cx="6675438" cy="5899150"/>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39"/>
            <a:ext cx="8420100" cy="1470025"/>
          </a:xfrm>
        </p:spPr>
        <p:txBody>
          <a:bodyPr/>
          <a:lstStyle/>
          <a:p>
            <a:r>
              <a:rPr lang="en-US"/>
              <a:t>Click to edit Master title style</a:t>
            </a:r>
          </a:p>
        </p:txBody>
      </p:sp>
      <p:sp>
        <p:nvSpPr>
          <p:cNvPr id="3" name="Subtitle 2"/>
          <p:cNvSpPr>
            <a:spLocks noGrp="1"/>
          </p:cNvSpPr>
          <p:nvPr>
            <p:ph type="subTitle" idx="1"/>
          </p:nvPr>
        </p:nvSpPr>
        <p:spPr>
          <a:xfrm>
            <a:off x="1485900" y="3886200"/>
            <a:ext cx="69342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95300" y="1600206"/>
            <a:ext cx="89154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14"/>
            <a:ext cx="84201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82638" y="2906713"/>
            <a:ext cx="84201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95303"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029199"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95300" y="1535113"/>
            <a:ext cx="437673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95300" y="2174875"/>
            <a:ext cx="437673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032383" y="1535113"/>
            <a:ext cx="437832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32383" y="2174875"/>
            <a:ext cx="437832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5" y="273050"/>
            <a:ext cx="3259138"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873499" y="273058"/>
            <a:ext cx="5537201"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95305" y="1435103"/>
            <a:ext cx="3259138"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36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941513" y="612775"/>
            <a:ext cx="59436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941513" y="5367338"/>
            <a:ext cx="59436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
        <p:nvSpPr>
          <p:cNvPr id="3" name="Content Placeholder 2"/>
          <p:cNvSpPr>
            <a:spLocks noGrp="1"/>
          </p:cNvSpPr>
          <p:nvPr>
            <p:ph idx="1"/>
          </p:nvPr>
        </p:nvSpPr>
        <p:spPr>
          <a:xfrm>
            <a:off x="495300" y="1600206"/>
            <a:ext cx="89154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495300" y="1600206"/>
            <a:ext cx="89154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35815" y="227013"/>
            <a:ext cx="2274887" cy="589915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7976" y="227013"/>
            <a:ext cx="6675438" cy="5899150"/>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39"/>
            <a:ext cx="8420100" cy="1470025"/>
          </a:xfrm>
        </p:spPr>
        <p:txBody>
          <a:bodyPr/>
          <a:lstStyle/>
          <a:p>
            <a:r>
              <a:rPr lang="en-US"/>
              <a:t>Click to edit Master title style</a:t>
            </a:r>
          </a:p>
        </p:txBody>
      </p:sp>
      <p:sp>
        <p:nvSpPr>
          <p:cNvPr id="3" name="Subtitle 2"/>
          <p:cNvSpPr>
            <a:spLocks noGrp="1"/>
          </p:cNvSpPr>
          <p:nvPr>
            <p:ph type="subTitle" idx="1"/>
          </p:nvPr>
        </p:nvSpPr>
        <p:spPr>
          <a:xfrm>
            <a:off x="1485900" y="3886200"/>
            <a:ext cx="69342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95300" y="1600206"/>
            <a:ext cx="89154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14"/>
            <a:ext cx="84201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82638" y="2906713"/>
            <a:ext cx="84201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95303"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029199"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95300" y="1535113"/>
            <a:ext cx="437673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95300" y="2174875"/>
            <a:ext cx="437673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032383" y="1535113"/>
            <a:ext cx="437832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32383" y="2174875"/>
            <a:ext cx="437832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5" y="273050"/>
            <a:ext cx="3259138"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873499" y="273058"/>
            <a:ext cx="5537201"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95305" y="1435103"/>
            <a:ext cx="3259138"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82"/>
            <a:ext cx="8420100" cy="1362075"/>
          </a:xfrm>
        </p:spPr>
        <p:txBody>
          <a:bodyPr anchor="t"/>
          <a:lstStyle>
            <a:lvl1pPr algn="l">
              <a:defRPr sz="4000" b="1" cap="all"/>
            </a:lvl1pPr>
          </a:lstStyle>
          <a:p>
            <a:r>
              <a:rPr lang="en-US" smtClean="0"/>
              <a:t>Click to edit Master title style</a:t>
            </a:r>
            <a:endParaRPr lang="pt-BR"/>
          </a:p>
        </p:txBody>
      </p:sp>
      <p:sp>
        <p:nvSpPr>
          <p:cNvPr id="3" name="Text Placeholder 2"/>
          <p:cNvSpPr>
            <a:spLocks noGrp="1"/>
          </p:cNvSpPr>
          <p:nvPr>
            <p:ph type="body" idx="1"/>
          </p:nvPr>
        </p:nvSpPr>
        <p:spPr>
          <a:xfrm>
            <a:off x="782638" y="2906713"/>
            <a:ext cx="84201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36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941513" y="612775"/>
            <a:ext cx="59436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941513" y="5367338"/>
            <a:ext cx="59436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495300" y="1600206"/>
            <a:ext cx="89154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35815" y="227013"/>
            <a:ext cx="2274887" cy="589915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7976" y="227013"/>
            <a:ext cx="6675438" cy="5899150"/>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509"/>
            <a:ext cx="8420100" cy="1470025"/>
          </a:xfrm>
        </p:spPr>
        <p:txBody>
          <a:bodyPr/>
          <a:lstStyle/>
          <a:p>
            <a:r>
              <a:rPr lang="en-US" smtClean="0"/>
              <a:t>Click to edit Master title style</a:t>
            </a:r>
            <a:endParaRPr lang="pt-BR"/>
          </a:p>
        </p:txBody>
      </p:sp>
      <p:sp>
        <p:nvSpPr>
          <p:cNvPr id="3" name="Subtitle 2"/>
          <p:cNvSpPr>
            <a:spLocks noGrp="1"/>
          </p:cNvSpPr>
          <p:nvPr>
            <p:ph type="subTitle" idx="1"/>
          </p:nvPr>
        </p:nvSpPr>
        <p:spPr>
          <a:xfrm>
            <a:off x="1485900" y="3886200"/>
            <a:ext cx="69342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pt-BR"/>
          </a:p>
        </p:txBody>
      </p:sp>
    </p:spTree>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
        <p:nvSpPr>
          <p:cNvPr id="3" name="Content Placeholder 2"/>
          <p:cNvSpPr>
            <a:spLocks noGrp="1"/>
          </p:cNvSpPr>
          <p:nvPr>
            <p:ph idx="1"/>
          </p:nvPr>
        </p:nvSpPr>
        <p:spPr>
          <a:xfrm>
            <a:off x="495300" y="1600206"/>
            <a:ext cx="89154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84"/>
            <a:ext cx="8420100" cy="1362075"/>
          </a:xfrm>
        </p:spPr>
        <p:txBody>
          <a:bodyPr anchor="t"/>
          <a:lstStyle>
            <a:lvl1pPr algn="l">
              <a:defRPr sz="4000" b="1" cap="all"/>
            </a:lvl1pPr>
          </a:lstStyle>
          <a:p>
            <a:r>
              <a:rPr lang="en-US" smtClean="0"/>
              <a:t>Click to edit Master title style</a:t>
            </a:r>
            <a:endParaRPr lang="pt-BR"/>
          </a:p>
        </p:txBody>
      </p:sp>
      <p:sp>
        <p:nvSpPr>
          <p:cNvPr id="3" name="Text Placeholder 2"/>
          <p:cNvSpPr>
            <a:spLocks noGrp="1"/>
          </p:cNvSpPr>
          <p:nvPr>
            <p:ph type="body" idx="1"/>
          </p:nvPr>
        </p:nvSpPr>
        <p:spPr>
          <a:xfrm>
            <a:off x="782638" y="2906713"/>
            <a:ext cx="84201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
        <p:nvSpPr>
          <p:cNvPr id="3" name="Content Placeholder 2"/>
          <p:cNvSpPr>
            <a:spLocks noGrp="1"/>
          </p:cNvSpPr>
          <p:nvPr>
            <p:ph sz="half" idx="1"/>
          </p:nvPr>
        </p:nvSpPr>
        <p:spPr>
          <a:xfrm>
            <a:off x="495303"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4" name="Content Placeholder 3"/>
          <p:cNvSpPr>
            <a:spLocks noGrp="1"/>
          </p:cNvSpPr>
          <p:nvPr>
            <p:ph sz="half" idx="2"/>
          </p:nvPr>
        </p:nvSpPr>
        <p:spPr>
          <a:xfrm>
            <a:off x="5029199"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smtClean="0"/>
              <a:t>Click to edit Master title style</a:t>
            </a:r>
            <a:endParaRPr lang="pt-BR"/>
          </a:p>
        </p:txBody>
      </p:sp>
      <p:sp>
        <p:nvSpPr>
          <p:cNvPr id="3" name="Text Placeholder 2"/>
          <p:cNvSpPr>
            <a:spLocks noGrp="1"/>
          </p:cNvSpPr>
          <p:nvPr>
            <p:ph type="body" idx="1"/>
          </p:nvPr>
        </p:nvSpPr>
        <p:spPr>
          <a:xfrm>
            <a:off x="495300" y="1535113"/>
            <a:ext cx="437673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73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5" name="Text Placeholder 4"/>
          <p:cNvSpPr>
            <a:spLocks noGrp="1"/>
          </p:cNvSpPr>
          <p:nvPr>
            <p:ph type="body" sz="quarter" idx="3"/>
          </p:nvPr>
        </p:nvSpPr>
        <p:spPr>
          <a:xfrm>
            <a:off x="5032415" y="1535113"/>
            <a:ext cx="437832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415" y="2174875"/>
            <a:ext cx="437832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Tree>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p:cNvSpPr>
            <a:spLocks noGrp="1"/>
          </p:cNvSpPr>
          <p:nvPr>
            <p:ph type="title"/>
          </p:nvPr>
        </p:nvSpPr>
        <p:spPr>
          <a:xfrm>
            <a:off x="782638" y="4406982"/>
            <a:ext cx="8420100" cy="1362075"/>
          </a:xfrm>
          <a:prstGeom prst="rect">
            <a:avLst/>
          </a:prstGeom>
        </p:spPr>
        <p:txBody>
          <a:bodyPr anchor="t"/>
          <a:lstStyle>
            <a:lvl1pPr algn="l">
              <a:defRPr sz="4000" b="1" cap="all"/>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782638" y="2906713"/>
            <a:ext cx="84201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pt-BR" smtClean="0"/>
              <a:t>Clique para editar os estilos do texto mestr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
        <p:nvSpPr>
          <p:cNvPr id="3" name="Content Placeholder 2"/>
          <p:cNvSpPr>
            <a:spLocks noGrp="1"/>
          </p:cNvSpPr>
          <p:nvPr>
            <p:ph sz="half" idx="1"/>
          </p:nvPr>
        </p:nvSpPr>
        <p:spPr>
          <a:xfrm>
            <a:off x="495303"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4" name="Content Placeholder 3"/>
          <p:cNvSpPr>
            <a:spLocks noGrp="1"/>
          </p:cNvSpPr>
          <p:nvPr>
            <p:ph sz="half" idx="2"/>
          </p:nvPr>
        </p:nvSpPr>
        <p:spPr>
          <a:xfrm>
            <a:off x="5029199"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5" y="273050"/>
            <a:ext cx="3259138" cy="1162050"/>
          </a:xfrm>
        </p:spPr>
        <p:txBody>
          <a:bodyPr anchor="b"/>
          <a:lstStyle>
            <a:lvl1pPr algn="l">
              <a:defRPr sz="2000" b="1"/>
            </a:lvl1pPr>
          </a:lstStyle>
          <a:p>
            <a:r>
              <a:rPr lang="en-US" smtClean="0"/>
              <a:t>Click to edit Master title style</a:t>
            </a:r>
            <a:endParaRPr lang="pt-BR"/>
          </a:p>
        </p:txBody>
      </p:sp>
      <p:sp>
        <p:nvSpPr>
          <p:cNvPr id="3" name="Content Placeholder 2"/>
          <p:cNvSpPr>
            <a:spLocks noGrp="1"/>
          </p:cNvSpPr>
          <p:nvPr>
            <p:ph idx="1"/>
          </p:nvPr>
        </p:nvSpPr>
        <p:spPr>
          <a:xfrm>
            <a:off x="3873499" y="273058"/>
            <a:ext cx="5537201"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4" name="Text Placeholder 3"/>
          <p:cNvSpPr>
            <a:spLocks noGrp="1"/>
          </p:cNvSpPr>
          <p:nvPr>
            <p:ph type="body" sz="half" idx="2"/>
          </p:nvPr>
        </p:nvSpPr>
        <p:spPr>
          <a:xfrm>
            <a:off x="495305" y="1435103"/>
            <a:ext cx="3259138"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3600" cy="566738"/>
          </a:xfrm>
        </p:spPr>
        <p:txBody>
          <a:bodyPr anchor="b"/>
          <a:lstStyle>
            <a:lvl1pPr algn="l">
              <a:defRPr sz="2000" b="1"/>
            </a:lvl1pPr>
          </a:lstStyle>
          <a:p>
            <a:r>
              <a:rPr lang="en-US" smtClean="0"/>
              <a:t>Click to edit Master title style</a:t>
            </a:r>
            <a:endParaRPr lang="pt-BR"/>
          </a:p>
        </p:txBody>
      </p:sp>
      <p:sp>
        <p:nvSpPr>
          <p:cNvPr id="3" name="Picture Placeholder 2"/>
          <p:cNvSpPr>
            <a:spLocks noGrp="1"/>
          </p:cNvSpPr>
          <p:nvPr>
            <p:ph type="pic" idx="1"/>
          </p:nvPr>
        </p:nvSpPr>
        <p:spPr>
          <a:xfrm>
            <a:off x="1941513" y="612775"/>
            <a:ext cx="59436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pt-BR" noProof="0" smtClean="0"/>
          </a:p>
        </p:txBody>
      </p:sp>
      <p:sp>
        <p:nvSpPr>
          <p:cNvPr id="4" name="Text Placeholder 3"/>
          <p:cNvSpPr>
            <a:spLocks noGrp="1"/>
          </p:cNvSpPr>
          <p:nvPr>
            <p:ph type="body" sz="half" idx="2"/>
          </p:nvPr>
        </p:nvSpPr>
        <p:spPr>
          <a:xfrm>
            <a:off x="1941513" y="5367338"/>
            <a:ext cx="59436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
        <p:nvSpPr>
          <p:cNvPr id="3" name="Vertical Text Placeholder 2"/>
          <p:cNvSpPr>
            <a:spLocks noGrp="1"/>
          </p:cNvSpPr>
          <p:nvPr>
            <p:ph type="body" orient="vert" idx="1"/>
          </p:nvPr>
        </p:nvSpPr>
        <p:spPr>
          <a:xfrm>
            <a:off x="495300" y="1600206"/>
            <a:ext cx="89154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35815" y="227013"/>
            <a:ext cx="2274887" cy="5899150"/>
          </a:xfrm>
        </p:spPr>
        <p:txBody>
          <a:bodyPr vert="eaVert"/>
          <a:lstStyle/>
          <a:p>
            <a:r>
              <a:rPr lang="en-US" smtClean="0"/>
              <a:t>Click to edit Master title style</a:t>
            </a:r>
            <a:endParaRPr lang="pt-BR"/>
          </a:p>
        </p:txBody>
      </p:sp>
      <p:sp>
        <p:nvSpPr>
          <p:cNvPr id="3" name="Vertical Text Placeholder 2"/>
          <p:cNvSpPr>
            <a:spLocks noGrp="1"/>
          </p:cNvSpPr>
          <p:nvPr>
            <p:ph type="body" orient="vert" idx="1"/>
          </p:nvPr>
        </p:nvSpPr>
        <p:spPr>
          <a:xfrm>
            <a:off x="307976" y="227013"/>
            <a:ext cx="6675438" cy="5899150"/>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08014" y="227013"/>
            <a:ext cx="7980363" cy="457200"/>
          </a:xfrm>
        </p:spPr>
        <p:txBody>
          <a:bodyPr/>
          <a:lstStyle/>
          <a:p>
            <a:r>
              <a:rPr lang="en-US" smtClean="0"/>
              <a:t>Click to edit Master title style</a:t>
            </a:r>
            <a:endParaRPr lang="pt-BR"/>
          </a:p>
        </p:txBody>
      </p:sp>
      <p:sp>
        <p:nvSpPr>
          <p:cNvPr id="3" name="Table Placeholder 2"/>
          <p:cNvSpPr>
            <a:spLocks noGrp="1"/>
          </p:cNvSpPr>
          <p:nvPr>
            <p:ph type="tbl" idx="1"/>
          </p:nvPr>
        </p:nvSpPr>
        <p:spPr>
          <a:xfrm>
            <a:off x="495300" y="1600206"/>
            <a:ext cx="8915400" cy="4525963"/>
          </a:xfrm>
          <a:prstGeom prst="rect">
            <a:avLst/>
          </a:prstGeom>
        </p:spPr>
        <p:txBody>
          <a:bodyPr/>
          <a:lstStyle/>
          <a:p>
            <a:pPr lvl="0"/>
            <a:endParaRPr lang="pt-BR" noProof="0" smtClean="0"/>
          </a:p>
        </p:txBody>
      </p:sp>
    </p:spTree>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08014" y="227013"/>
            <a:ext cx="7980363" cy="457200"/>
          </a:xfrm>
        </p:spPr>
        <p:txBody>
          <a:bodyPr/>
          <a:lstStyle/>
          <a:p>
            <a:r>
              <a:rPr lang="en-US" smtClean="0"/>
              <a:t>Click to edit Master title style</a:t>
            </a:r>
            <a:endParaRPr lang="pt-BR"/>
          </a:p>
        </p:txBody>
      </p:sp>
      <p:sp>
        <p:nvSpPr>
          <p:cNvPr id="3" name="Chart Placeholder 2"/>
          <p:cNvSpPr>
            <a:spLocks noGrp="1"/>
          </p:cNvSpPr>
          <p:nvPr>
            <p:ph type="chart" idx="1"/>
          </p:nvPr>
        </p:nvSpPr>
        <p:spPr>
          <a:xfrm>
            <a:off x="495300" y="1600206"/>
            <a:ext cx="8915400" cy="4525963"/>
          </a:xfrm>
          <a:prstGeom prst="rect">
            <a:avLst/>
          </a:prstGeom>
        </p:spPr>
        <p:txBody>
          <a:bodyPr/>
          <a:lstStyle/>
          <a:p>
            <a:pPr lvl="0"/>
            <a:endParaRPr lang="pt-BR" noProof="0" smtClean="0"/>
          </a:p>
        </p:txBody>
      </p:sp>
    </p:spTree>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41"/>
            <a:ext cx="8420100" cy="1470025"/>
          </a:xfrm>
        </p:spPr>
        <p:txBody>
          <a:bodyPr/>
          <a:lstStyle/>
          <a:p>
            <a:r>
              <a:rPr lang="en-US" smtClean="0"/>
              <a:t>Click to edit Master title style</a:t>
            </a:r>
            <a:endParaRPr lang="pt-BR"/>
          </a:p>
        </p:txBody>
      </p:sp>
      <p:sp>
        <p:nvSpPr>
          <p:cNvPr id="3" name="Subtitle 2"/>
          <p:cNvSpPr>
            <a:spLocks noGrp="1"/>
          </p:cNvSpPr>
          <p:nvPr>
            <p:ph type="subTitle" idx="1"/>
          </p:nvPr>
        </p:nvSpPr>
        <p:spPr>
          <a:xfrm>
            <a:off x="1485900" y="3886200"/>
            <a:ext cx="69342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pt-BR"/>
          </a:p>
        </p:txBody>
      </p:sp>
    </p:spTree>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
        <p:nvSpPr>
          <p:cNvPr id="3" name="Content Placeholder 2"/>
          <p:cNvSpPr>
            <a:spLocks noGrp="1"/>
          </p:cNvSpPr>
          <p:nvPr>
            <p:ph idx="1"/>
          </p:nvPr>
        </p:nvSpPr>
        <p:spPr>
          <a:xfrm>
            <a:off x="495300" y="1600206"/>
            <a:ext cx="89154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16"/>
            <a:ext cx="8420100" cy="1362075"/>
          </a:xfrm>
        </p:spPr>
        <p:txBody>
          <a:bodyPr anchor="t"/>
          <a:lstStyle>
            <a:lvl1pPr algn="l">
              <a:defRPr sz="4000" b="1" cap="all"/>
            </a:lvl1pPr>
          </a:lstStyle>
          <a:p>
            <a:r>
              <a:rPr lang="en-US" smtClean="0"/>
              <a:t>Click to edit Master title style</a:t>
            </a:r>
            <a:endParaRPr lang="pt-BR"/>
          </a:p>
        </p:txBody>
      </p:sp>
      <p:sp>
        <p:nvSpPr>
          <p:cNvPr id="3" name="Text Placeholder 2"/>
          <p:cNvSpPr>
            <a:spLocks noGrp="1"/>
          </p:cNvSpPr>
          <p:nvPr>
            <p:ph type="body" idx="1"/>
          </p:nvPr>
        </p:nvSpPr>
        <p:spPr>
          <a:xfrm>
            <a:off x="782638" y="2906713"/>
            <a:ext cx="84201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
        <p:nvSpPr>
          <p:cNvPr id="3" name="Content Placeholder 2"/>
          <p:cNvSpPr>
            <a:spLocks noGrp="1"/>
          </p:cNvSpPr>
          <p:nvPr>
            <p:ph sz="half" idx="1"/>
          </p:nvPr>
        </p:nvSpPr>
        <p:spPr>
          <a:xfrm>
            <a:off x="495303"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4" name="Content Placeholder 3"/>
          <p:cNvSpPr>
            <a:spLocks noGrp="1"/>
          </p:cNvSpPr>
          <p:nvPr>
            <p:ph sz="half" idx="2"/>
          </p:nvPr>
        </p:nvSpPr>
        <p:spPr>
          <a:xfrm>
            <a:off x="5029199"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smtClean="0"/>
              <a:t>Click to edit Master title style</a:t>
            </a:r>
            <a:endParaRPr lang="pt-BR"/>
          </a:p>
        </p:txBody>
      </p:sp>
      <p:sp>
        <p:nvSpPr>
          <p:cNvPr id="3" name="Text Placeholder 2"/>
          <p:cNvSpPr>
            <a:spLocks noGrp="1"/>
          </p:cNvSpPr>
          <p:nvPr>
            <p:ph type="body" idx="1"/>
          </p:nvPr>
        </p:nvSpPr>
        <p:spPr>
          <a:xfrm>
            <a:off x="495300" y="1535113"/>
            <a:ext cx="437673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73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5" name="Text Placeholder 4"/>
          <p:cNvSpPr>
            <a:spLocks noGrp="1"/>
          </p:cNvSpPr>
          <p:nvPr>
            <p:ph type="body" sz="quarter" idx="3"/>
          </p:nvPr>
        </p:nvSpPr>
        <p:spPr>
          <a:xfrm>
            <a:off x="5032415" y="1535113"/>
            <a:ext cx="437832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415" y="2174875"/>
            <a:ext cx="437832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smtClean="0"/>
              <a:t>Click to edit Master title style</a:t>
            </a:r>
            <a:endParaRPr lang="pt-BR"/>
          </a:p>
        </p:txBody>
      </p:sp>
      <p:sp>
        <p:nvSpPr>
          <p:cNvPr id="3" name="Text Placeholder 2"/>
          <p:cNvSpPr>
            <a:spLocks noGrp="1"/>
          </p:cNvSpPr>
          <p:nvPr>
            <p:ph type="body" idx="1"/>
          </p:nvPr>
        </p:nvSpPr>
        <p:spPr>
          <a:xfrm>
            <a:off x="495300" y="1535113"/>
            <a:ext cx="437673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73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5" name="Text Placeholder 4"/>
          <p:cNvSpPr>
            <a:spLocks noGrp="1"/>
          </p:cNvSpPr>
          <p:nvPr>
            <p:ph type="body" sz="quarter" idx="3"/>
          </p:nvPr>
        </p:nvSpPr>
        <p:spPr>
          <a:xfrm>
            <a:off x="5032384" y="1535113"/>
            <a:ext cx="437832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384" y="2174875"/>
            <a:ext cx="437832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Tree>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5" y="273050"/>
            <a:ext cx="3259138" cy="1162050"/>
          </a:xfrm>
        </p:spPr>
        <p:txBody>
          <a:bodyPr anchor="b"/>
          <a:lstStyle>
            <a:lvl1pPr algn="l">
              <a:defRPr sz="2000" b="1"/>
            </a:lvl1pPr>
          </a:lstStyle>
          <a:p>
            <a:r>
              <a:rPr lang="en-US" smtClean="0"/>
              <a:t>Click to edit Master title style</a:t>
            </a:r>
            <a:endParaRPr lang="pt-BR"/>
          </a:p>
        </p:txBody>
      </p:sp>
      <p:sp>
        <p:nvSpPr>
          <p:cNvPr id="3" name="Content Placeholder 2"/>
          <p:cNvSpPr>
            <a:spLocks noGrp="1"/>
          </p:cNvSpPr>
          <p:nvPr>
            <p:ph idx="1"/>
          </p:nvPr>
        </p:nvSpPr>
        <p:spPr>
          <a:xfrm>
            <a:off x="3873499" y="273058"/>
            <a:ext cx="5537201"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4" name="Text Placeholder 3"/>
          <p:cNvSpPr>
            <a:spLocks noGrp="1"/>
          </p:cNvSpPr>
          <p:nvPr>
            <p:ph type="body" sz="half" idx="2"/>
          </p:nvPr>
        </p:nvSpPr>
        <p:spPr>
          <a:xfrm>
            <a:off x="495305" y="1435103"/>
            <a:ext cx="3259138"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3600" cy="566738"/>
          </a:xfrm>
        </p:spPr>
        <p:txBody>
          <a:bodyPr anchor="b"/>
          <a:lstStyle>
            <a:lvl1pPr algn="l">
              <a:defRPr sz="2000" b="1"/>
            </a:lvl1pPr>
          </a:lstStyle>
          <a:p>
            <a:r>
              <a:rPr lang="en-US" smtClean="0"/>
              <a:t>Click to edit Master title style</a:t>
            </a:r>
            <a:endParaRPr lang="pt-BR"/>
          </a:p>
        </p:txBody>
      </p:sp>
      <p:sp>
        <p:nvSpPr>
          <p:cNvPr id="3" name="Picture Placeholder 2"/>
          <p:cNvSpPr>
            <a:spLocks noGrp="1"/>
          </p:cNvSpPr>
          <p:nvPr>
            <p:ph type="pic" idx="1"/>
          </p:nvPr>
        </p:nvSpPr>
        <p:spPr>
          <a:xfrm>
            <a:off x="1941513" y="612775"/>
            <a:ext cx="59436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pt-BR" noProof="0" smtClean="0"/>
          </a:p>
        </p:txBody>
      </p:sp>
      <p:sp>
        <p:nvSpPr>
          <p:cNvPr id="4" name="Text Placeholder 3"/>
          <p:cNvSpPr>
            <a:spLocks noGrp="1"/>
          </p:cNvSpPr>
          <p:nvPr>
            <p:ph type="body" sz="half" idx="2"/>
          </p:nvPr>
        </p:nvSpPr>
        <p:spPr>
          <a:xfrm>
            <a:off x="1941513" y="5367338"/>
            <a:ext cx="59436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
        <p:nvSpPr>
          <p:cNvPr id="3" name="Vertical Text Placeholder 2"/>
          <p:cNvSpPr>
            <a:spLocks noGrp="1"/>
          </p:cNvSpPr>
          <p:nvPr>
            <p:ph type="body" orient="vert" idx="1"/>
          </p:nvPr>
        </p:nvSpPr>
        <p:spPr>
          <a:xfrm>
            <a:off x="495300" y="1600206"/>
            <a:ext cx="89154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35815" y="227013"/>
            <a:ext cx="2274887" cy="5899150"/>
          </a:xfrm>
        </p:spPr>
        <p:txBody>
          <a:bodyPr vert="eaVert"/>
          <a:lstStyle/>
          <a:p>
            <a:r>
              <a:rPr lang="en-US" smtClean="0"/>
              <a:t>Click to edit Master title style</a:t>
            </a:r>
            <a:endParaRPr lang="pt-BR"/>
          </a:p>
        </p:txBody>
      </p:sp>
      <p:sp>
        <p:nvSpPr>
          <p:cNvPr id="3" name="Vertical Text Placeholder 2"/>
          <p:cNvSpPr>
            <a:spLocks noGrp="1"/>
          </p:cNvSpPr>
          <p:nvPr>
            <p:ph type="body" orient="vert" idx="1"/>
          </p:nvPr>
        </p:nvSpPr>
        <p:spPr>
          <a:xfrm>
            <a:off x="307976" y="227013"/>
            <a:ext cx="6675438" cy="5899150"/>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07984" y="227013"/>
            <a:ext cx="7980363" cy="457200"/>
          </a:xfrm>
        </p:spPr>
        <p:txBody>
          <a:bodyPr/>
          <a:lstStyle/>
          <a:p>
            <a:r>
              <a:rPr lang="en-US" smtClean="0"/>
              <a:t>Click to edit Master title style</a:t>
            </a:r>
            <a:endParaRPr lang="pt-BR"/>
          </a:p>
        </p:txBody>
      </p:sp>
      <p:sp>
        <p:nvSpPr>
          <p:cNvPr id="3" name="Table Placeholder 2"/>
          <p:cNvSpPr>
            <a:spLocks noGrp="1"/>
          </p:cNvSpPr>
          <p:nvPr>
            <p:ph type="tbl" idx="1"/>
          </p:nvPr>
        </p:nvSpPr>
        <p:spPr>
          <a:xfrm>
            <a:off x="495300" y="1600206"/>
            <a:ext cx="8915400" cy="4525963"/>
          </a:xfrm>
          <a:prstGeom prst="rect">
            <a:avLst/>
          </a:prstGeom>
        </p:spPr>
        <p:txBody>
          <a:bodyPr/>
          <a:lstStyle/>
          <a:p>
            <a:pPr lvl="0"/>
            <a:endParaRPr lang="pt-BR" noProof="0" smtClean="0"/>
          </a:p>
        </p:txBody>
      </p:sp>
    </p:spTree>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07984" y="227013"/>
            <a:ext cx="7980363" cy="457200"/>
          </a:xfrm>
        </p:spPr>
        <p:txBody>
          <a:bodyPr/>
          <a:lstStyle/>
          <a:p>
            <a:r>
              <a:rPr lang="en-US" smtClean="0"/>
              <a:t>Click to edit Master title style</a:t>
            </a:r>
            <a:endParaRPr lang="pt-BR"/>
          </a:p>
        </p:txBody>
      </p:sp>
      <p:sp>
        <p:nvSpPr>
          <p:cNvPr id="3" name="Chart Placeholder 2"/>
          <p:cNvSpPr>
            <a:spLocks noGrp="1"/>
          </p:cNvSpPr>
          <p:nvPr>
            <p:ph type="chart" idx="1"/>
          </p:nvPr>
        </p:nvSpPr>
        <p:spPr>
          <a:xfrm>
            <a:off x="495300" y="1600206"/>
            <a:ext cx="8915400" cy="4525963"/>
          </a:xfrm>
          <a:prstGeom prst="rect">
            <a:avLst/>
          </a:prstGeom>
        </p:spPr>
        <p:txBody>
          <a:bodyPr/>
          <a:lstStyle/>
          <a:p>
            <a:pPr lvl="0"/>
            <a:endParaRPr lang="pt-BR" noProof="0" smtClean="0"/>
          </a:p>
        </p:txBody>
      </p:sp>
    </p:spTree>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39"/>
            <a:ext cx="8420100" cy="1470025"/>
          </a:xfrm>
        </p:spPr>
        <p:txBody>
          <a:bodyPr/>
          <a:lstStyle/>
          <a:p>
            <a:r>
              <a:rPr lang="en-US"/>
              <a:t>Click to edit Master title style</a:t>
            </a:r>
          </a:p>
        </p:txBody>
      </p:sp>
      <p:sp>
        <p:nvSpPr>
          <p:cNvPr id="3" name="Subtitle 2"/>
          <p:cNvSpPr>
            <a:spLocks noGrp="1"/>
          </p:cNvSpPr>
          <p:nvPr>
            <p:ph type="subTitle" idx="1"/>
          </p:nvPr>
        </p:nvSpPr>
        <p:spPr>
          <a:xfrm>
            <a:off x="1485900" y="3886200"/>
            <a:ext cx="69342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Tree>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95300" y="1600206"/>
            <a:ext cx="89154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14"/>
            <a:ext cx="84201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82638" y="2906713"/>
            <a:ext cx="84201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95303"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029199"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95300" y="1535113"/>
            <a:ext cx="437673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95300" y="2174875"/>
            <a:ext cx="437673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032383" y="1535113"/>
            <a:ext cx="437832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32383" y="2174875"/>
            <a:ext cx="437832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5" y="273050"/>
            <a:ext cx="3259138"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873499" y="273058"/>
            <a:ext cx="5537201"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95305" y="1435103"/>
            <a:ext cx="3259138"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36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941513" y="612775"/>
            <a:ext cx="59436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941513" y="5367338"/>
            <a:ext cx="59436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495300" y="1600206"/>
            <a:ext cx="89154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35815" y="227013"/>
            <a:ext cx="2274887" cy="589915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7976" y="227013"/>
            <a:ext cx="6675438" cy="5899150"/>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742950" y="2130439"/>
            <a:ext cx="8420100" cy="1470025"/>
          </a:xfrm>
          <a:prstGeom prst="rect">
            <a:avLst/>
          </a:prstGeom>
        </p:spPr>
        <p:txBody>
          <a:bodyPr/>
          <a:lstStyle/>
          <a:p>
            <a:r>
              <a:rPr lang="pt-BR" smtClean="0"/>
              <a:t>Clique para editar o estilo do título mestre</a:t>
            </a:r>
            <a:endParaRPr lang="pt-BR"/>
          </a:p>
        </p:txBody>
      </p:sp>
      <p:sp>
        <p:nvSpPr>
          <p:cNvPr id="3" name="Subtítulo 2"/>
          <p:cNvSpPr>
            <a:spLocks noGrp="1"/>
          </p:cNvSpPr>
          <p:nvPr>
            <p:ph type="subTitle" idx="1"/>
          </p:nvPr>
        </p:nvSpPr>
        <p:spPr>
          <a:xfrm>
            <a:off x="1485900" y="3886200"/>
            <a:ext cx="69342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pt-BR" smtClean="0"/>
              <a:t>Clique para editar o estilo do subtítulo mestre</a:t>
            </a:r>
            <a:endParaRPr lang="pt-BR"/>
          </a:p>
        </p:txBody>
      </p:sp>
    </p:spTree>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a:xfrm>
            <a:off x="495300" y="274638"/>
            <a:ext cx="8915400" cy="1143000"/>
          </a:xfrm>
          <a:prstGeom prst="rect">
            <a:avLst/>
          </a:prstGeom>
        </p:spPr>
        <p:txBody>
          <a:bodyPr/>
          <a:lstStyle/>
          <a:p>
            <a:r>
              <a:rPr lang="pt-BR" smtClean="0"/>
              <a:t>Clique para editar o estilo do título mestre</a:t>
            </a:r>
            <a:endParaRPr lang="pt-BR"/>
          </a:p>
        </p:txBody>
      </p:sp>
      <p:sp>
        <p:nvSpPr>
          <p:cNvPr id="3" name="Espaço Reservado para Conteúdo 2"/>
          <p:cNvSpPr>
            <a:spLocks noGrp="1"/>
          </p:cNvSpPr>
          <p:nvPr>
            <p:ph idx="1"/>
          </p:nvPr>
        </p:nvSpPr>
        <p:spPr>
          <a:xfrm>
            <a:off x="495300" y="1600206"/>
            <a:ext cx="8915400" cy="4525963"/>
          </a:xfrm>
          <a:prstGeom prst="rect">
            <a:avLst/>
          </a:prstGeom>
        </p:spPr>
        <p:txBody>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p:cNvSpPr>
            <a:spLocks noGrp="1"/>
          </p:cNvSpPr>
          <p:nvPr>
            <p:ph type="title"/>
          </p:nvPr>
        </p:nvSpPr>
        <p:spPr>
          <a:xfrm>
            <a:off x="782638" y="4406914"/>
            <a:ext cx="8420100" cy="1362075"/>
          </a:xfrm>
          <a:prstGeom prst="rect">
            <a:avLst/>
          </a:prstGeom>
        </p:spPr>
        <p:txBody>
          <a:bodyPr anchor="t"/>
          <a:lstStyle>
            <a:lvl1pPr algn="l">
              <a:defRPr sz="4000" b="1" cap="all"/>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782638" y="2906713"/>
            <a:ext cx="84201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pt-BR" smtClean="0"/>
              <a:t>Clique para editar os estilos do texto mestre</a:t>
            </a:r>
          </a:p>
        </p:txBody>
      </p:sp>
    </p:spTree>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a:xfrm>
            <a:off x="495300" y="274638"/>
            <a:ext cx="8915400" cy="1143000"/>
          </a:xfrm>
          <a:prstGeom prst="rect">
            <a:avLst/>
          </a:prstGeom>
        </p:spPr>
        <p:txBody>
          <a:bodyPr/>
          <a:lstStyle/>
          <a:p>
            <a:r>
              <a:rPr lang="pt-BR" smtClean="0"/>
              <a:t>Clique para editar o estilo do título mestre</a:t>
            </a:r>
            <a:endParaRPr lang="pt-BR"/>
          </a:p>
        </p:txBody>
      </p:sp>
      <p:sp>
        <p:nvSpPr>
          <p:cNvPr id="3" name="Espaço Reservado para Conteúdo 2"/>
          <p:cNvSpPr>
            <a:spLocks noGrp="1"/>
          </p:cNvSpPr>
          <p:nvPr>
            <p:ph sz="half" idx="1"/>
          </p:nvPr>
        </p:nvSpPr>
        <p:spPr>
          <a:xfrm>
            <a:off x="495303"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Conteúdo 3"/>
          <p:cNvSpPr>
            <a:spLocks noGrp="1"/>
          </p:cNvSpPr>
          <p:nvPr>
            <p:ph sz="half" idx="2"/>
          </p:nvPr>
        </p:nvSpPr>
        <p:spPr>
          <a:xfrm>
            <a:off x="5029199"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a:xfrm>
            <a:off x="495300" y="274638"/>
            <a:ext cx="8915400" cy="1143000"/>
          </a:xfrm>
          <a:prstGeom prst="rect">
            <a:avLst/>
          </a:prstGeom>
        </p:spPr>
        <p:txBody>
          <a:bodyPr/>
          <a:lstStyle>
            <a:lvl1pPr>
              <a:defRPr/>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495300" y="1535113"/>
            <a:ext cx="437673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4" name="Espaço Reservado para Conteúdo 3"/>
          <p:cNvSpPr>
            <a:spLocks noGrp="1"/>
          </p:cNvSpPr>
          <p:nvPr>
            <p:ph sz="half" idx="2"/>
          </p:nvPr>
        </p:nvSpPr>
        <p:spPr>
          <a:xfrm>
            <a:off x="495300" y="2174875"/>
            <a:ext cx="437673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Texto 4"/>
          <p:cNvSpPr>
            <a:spLocks noGrp="1"/>
          </p:cNvSpPr>
          <p:nvPr>
            <p:ph type="body" sz="quarter" idx="3"/>
          </p:nvPr>
        </p:nvSpPr>
        <p:spPr>
          <a:xfrm>
            <a:off x="5032383" y="1535113"/>
            <a:ext cx="437832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6" name="Espaço Reservado para Conteúdo 5"/>
          <p:cNvSpPr>
            <a:spLocks noGrp="1"/>
          </p:cNvSpPr>
          <p:nvPr>
            <p:ph sz="quarter" idx="4"/>
          </p:nvPr>
        </p:nvSpPr>
        <p:spPr>
          <a:xfrm>
            <a:off x="5032383" y="2174875"/>
            <a:ext cx="437832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a:xfrm>
            <a:off x="495300" y="274638"/>
            <a:ext cx="8915400" cy="1143000"/>
          </a:xfrm>
          <a:prstGeom prst="rect">
            <a:avLst/>
          </a:prstGeom>
        </p:spPr>
        <p:txBody>
          <a:bodyPr/>
          <a:lstStyle/>
          <a:p>
            <a:r>
              <a:rPr lang="pt-BR" smtClean="0"/>
              <a:t>Clique para editar o estilo do título mestre</a:t>
            </a:r>
            <a:endParaRPr lang="pt-BR"/>
          </a:p>
        </p:txBody>
      </p:sp>
    </p:spTree>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Text Box 8"/>
          <p:cNvSpPr txBox="1">
            <a:spLocks noChangeArrowheads="1"/>
          </p:cNvSpPr>
          <p:nvPr userDrawn="1"/>
        </p:nvSpPr>
        <p:spPr bwMode="auto">
          <a:xfrm>
            <a:off x="-9520" y="6494464"/>
            <a:ext cx="4934236" cy="338554"/>
          </a:xfrm>
          <a:prstGeom prst="rect">
            <a:avLst/>
          </a:prstGeom>
          <a:noFill/>
          <a:ln>
            <a:noFill/>
          </a:ln>
          <a:effectLst>
            <a:prstShdw prst="shdw17" dist="17961" dir="2700000">
              <a:schemeClr val="accent1">
                <a:gamma/>
                <a:shade val="60000"/>
                <a:invGamma/>
              </a:schemeClr>
            </a:prstShdw>
          </a:effectLst>
          <a:extLst/>
        </p:spPr>
        <p:txBody>
          <a:bodyPr wrap="none">
            <a:spAutoFit/>
          </a:bodyPr>
          <a:lstStyle/>
          <a:p>
            <a:pPr>
              <a:defRPr/>
            </a:pPr>
            <a:r>
              <a:rPr lang="en-US" sz="1600" b="0" dirty="0">
                <a:solidFill>
                  <a:srgbClr val="FFFFFF"/>
                </a:solidFill>
                <a:latin typeface="Franklin Gothic Medium" pitchFamily="34" charset="0"/>
                <a:cs typeface="Arial" pitchFamily="34" charset="0"/>
              </a:rPr>
              <a:t>Investor Relations – Rio de Janeiro, October 29</a:t>
            </a:r>
            <a:r>
              <a:rPr lang="en-US" sz="1600" b="0" baseline="30000" dirty="0">
                <a:solidFill>
                  <a:srgbClr val="FFFFFF"/>
                </a:solidFill>
                <a:latin typeface="Franklin Gothic Medium" pitchFamily="34" charset="0"/>
                <a:cs typeface="Arial" pitchFamily="34" charset="0"/>
              </a:rPr>
              <a:t>th</a:t>
            </a:r>
            <a:r>
              <a:rPr lang="en-US" sz="1600" b="0" dirty="0">
                <a:solidFill>
                  <a:srgbClr val="FFFFFF"/>
                </a:solidFill>
                <a:latin typeface="Franklin Gothic Medium" pitchFamily="34" charset="0"/>
                <a:cs typeface="Arial" pitchFamily="34" charset="0"/>
              </a:rPr>
              <a:t> 2010</a:t>
            </a:r>
          </a:p>
        </p:txBody>
      </p:sp>
    </p:spTree>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495305" y="273050"/>
            <a:ext cx="3259138" cy="1162050"/>
          </a:xfrm>
          <a:prstGeom prst="rect">
            <a:avLst/>
          </a:prstGeom>
        </p:spPr>
        <p:txBody>
          <a:bodyPr anchor="b"/>
          <a:lstStyle>
            <a:lvl1pPr algn="l">
              <a:defRPr sz="2000" b="1"/>
            </a:lvl1pPr>
          </a:lstStyle>
          <a:p>
            <a:r>
              <a:rPr lang="pt-BR" smtClean="0"/>
              <a:t>Clique para editar o estilo do título mestre</a:t>
            </a:r>
            <a:endParaRPr lang="pt-BR"/>
          </a:p>
        </p:txBody>
      </p:sp>
      <p:sp>
        <p:nvSpPr>
          <p:cNvPr id="3" name="Espaço Reservado para Conteúdo 2"/>
          <p:cNvSpPr>
            <a:spLocks noGrp="1"/>
          </p:cNvSpPr>
          <p:nvPr>
            <p:ph idx="1"/>
          </p:nvPr>
        </p:nvSpPr>
        <p:spPr>
          <a:xfrm>
            <a:off x="3873499" y="273058"/>
            <a:ext cx="5537201"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Texto 3"/>
          <p:cNvSpPr>
            <a:spLocks noGrp="1"/>
          </p:cNvSpPr>
          <p:nvPr>
            <p:ph type="body" sz="half" idx="2"/>
          </p:nvPr>
        </p:nvSpPr>
        <p:spPr>
          <a:xfrm>
            <a:off x="495305" y="1435103"/>
            <a:ext cx="3259138"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Tree>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1941513" y="4800600"/>
            <a:ext cx="5943600" cy="566738"/>
          </a:xfrm>
          <a:prstGeom prst="rect">
            <a:avLst/>
          </a:prstGeom>
        </p:spPr>
        <p:txBody>
          <a:bodyPr anchor="b"/>
          <a:lstStyle>
            <a:lvl1pPr algn="l">
              <a:defRPr sz="2000" b="1"/>
            </a:lvl1pPr>
          </a:lstStyle>
          <a:p>
            <a:r>
              <a:rPr lang="pt-BR" smtClean="0"/>
              <a:t>Clique para editar o estilo do título mestre</a:t>
            </a:r>
            <a:endParaRPr lang="pt-BR"/>
          </a:p>
        </p:txBody>
      </p:sp>
      <p:sp>
        <p:nvSpPr>
          <p:cNvPr id="3" name="Espaço Reservado para Imagem 2"/>
          <p:cNvSpPr>
            <a:spLocks noGrp="1"/>
          </p:cNvSpPr>
          <p:nvPr>
            <p:ph type="pic" idx="1"/>
          </p:nvPr>
        </p:nvSpPr>
        <p:spPr>
          <a:xfrm>
            <a:off x="1941513" y="612775"/>
            <a:ext cx="59436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pt-BR" noProof="0" smtClean="0"/>
          </a:p>
        </p:txBody>
      </p:sp>
      <p:sp>
        <p:nvSpPr>
          <p:cNvPr id="4" name="Espaço Reservado para Texto 3"/>
          <p:cNvSpPr>
            <a:spLocks noGrp="1"/>
          </p:cNvSpPr>
          <p:nvPr>
            <p:ph type="body" sz="half" idx="2"/>
          </p:nvPr>
        </p:nvSpPr>
        <p:spPr>
          <a:xfrm>
            <a:off x="1941513" y="5367338"/>
            <a:ext cx="59436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Tree>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a:xfrm>
            <a:off x="495300" y="274638"/>
            <a:ext cx="8915400" cy="1143000"/>
          </a:xfrm>
          <a:prstGeom prst="rect">
            <a:avLst/>
          </a:prstGeom>
        </p:spPr>
        <p:txBody>
          <a:bodyPr/>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a:xfrm>
            <a:off x="495300" y="1600206"/>
            <a:ext cx="8915400" cy="4525963"/>
          </a:xfrm>
          <a:prstGeom prst="rect">
            <a:avLst/>
          </a:prstGeom>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5" y="273050"/>
            <a:ext cx="3259138" cy="1162050"/>
          </a:xfrm>
        </p:spPr>
        <p:txBody>
          <a:bodyPr anchor="b"/>
          <a:lstStyle>
            <a:lvl1pPr algn="l">
              <a:defRPr sz="2000" b="1"/>
            </a:lvl1pPr>
          </a:lstStyle>
          <a:p>
            <a:r>
              <a:rPr lang="en-US" smtClean="0"/>
              <a:t>Click to edit Master title style</a:t>
            </a:r>
            <a:endParaRPr lang="pt-BR"/>
          </a:p>
        </p:txBody>
      </p:sp>
      <p:sp>
        <p:nvSpPr>
          <p:cNvPr id="3" name="Content Placeholder 2"/>
          <p:cNvSpPr>
            <a:spLocks noGrp="1"/>
          </p:cNvSpPr>
          <p:nvPr>
            <p:ph idx="1"/>
          </p:nvPr>
        </p:nvSpPr>
        <p:spPr>
          <a:xfrm>
            <a:off x="3873499" y="273058"/>
            <a:ext cx="5537201"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4" name="Text Placeholder 3"/>
          <p:cNvSpPr>
            <a:spLocks noGrp="1"/>
          </p:cNvSpPr>
          <p:nvPr>
            <p:ph type="body" sz="half" idx="2"/>
          </p:nvPr>
        </p:nvSpPr>
        <p:spPr>
          <a:xfrm>
            <a:off x="495305" y="1435103"/>
            <a:ext cx="3259138"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7181850" y="274645"/>
            <a:ext cx="2228850" cy="5851525"/>
          </a:xfrm>
          <a:prstGeom prst="rect">
            <a:avLst/>
          </a:prstGeom>
        </p:spPr>
        <p:txBody>
          <a:bodyPr vert="eaVert"/>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a:xfrm>
            <a:off x="495307" y="274645"/>
            <a:ext cx="6534150" cy="5851525"/>
          </a:xfrm>
          <a:prstGeom prst="rect">
            <a:avLst/>
          </a:prstGeom>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39"/>
            <a:ext cx="8420100" cy="1470025"/>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485900" y="3886200"/>
            <a:ext cx="69342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95300" y="1600206"/>
            <a:ext cx="89154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14"/>
            <a:ext cx="842010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82638" y="2906713"/>
            <a:ext cx="84201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495303"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029199"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a:prstGeom prst="rect">
            <a:avLst/>
          </a:prstGeo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95300" y="1535113"/>
            <a:ext cx="437673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73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5032383" y="1535113"/>
            <a:ext cx="437832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383" y="2174875"/>
            <a:ext cx="437832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a:prstGeom prst="rect">
            <a:avLst/>
          </a:prstGeom>
        </p:spPr>
        <p:txBody>
          <a:bodyPr/>
          <a:lstStyle/>
          <a:p>
            <a:r>
              <a:rPr lang="en-US" smtClean="0"/>
              <a:t>Click to edit Master title style</a:t>
            </a:r>
            <a:endParaRPr lang="en-US"/>
          </a:p>
        </p:txBody>
      </p:sp>
    </p:spTree>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5" y="273050"/>
            <a:ext cx="3259138" cy="1162050"/>
          </a:xfrm>
          <a:prstGeom prst="rect">
            <a:avLst/>
          </a:prstGeo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873499" y="273058"/>
            <a:ext cx="5537201"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95305" y="1435103"/>
            <a:ext cx="3259138"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3600" cy="566738"/>
          </a:xfrm>
          <a:prstGeom prst="rect">
            <a:avLst/>
          </a:prstGeo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941513" y="612775"/>
            <a:ext cx="59436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941513" y="5367338"/>
            <a:ext cx="59436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3600" cy="566738"/>
          </a:xfrm>
        </p:spPr>
        <p:txBody>
          <a:bodyPr anchor="b"/>
          <a:lstStyle>
            <a:lvl1pPr algn="l">
              <a:defRPr sz="2000" b="1"/>
            </a:lvl1pPr>
          </a:lstStyle>
          <a:p>
            <a:r>
              <a:rPr lang="en-US" smtClean="0"/>
              <a:t>Click to edit Master title style</a:t>
            </a:r>
            <a:endParaRPr lang="pt-BR"/>
          </a:p>
        </p:txBody>
      </p:sp>
      <p:sp>
        <p:nvSpPr>
          <p:cNvPr id="3" name="Picture Placeholder 2"/>
          <p:cNvSpPr>
            <a:spLocks noGrp="1"/>
          </p:cNvSpPr>
          <p:nvPr>
            <p:ph type="pic" idx="1"/>
          </p:nvPr>
        </p:nvSpPr>
        <p:spPr>
          <a:xfrm>
            <a:off x="1941513" y="612775"/>
            <a:ext cx="59436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pt-BR" noProof="0" smtClean="0"/>
          </a:p>
        </p:txBody>
      </p:sp>
      <p:sp>
        <p:nvSpPr>
          <p:cNvPr id="4" name="Text Placeholder 3"/>
          <p:cNvSpPr>
            <a:spLocks noGrp="1"/>
          </p:cNvSpPr>
          <p:nvPr>
            <p:ph type="body" sz="half" idx="2"/>
          </p:nvPr>
        </p:nvSpPr>
        <p:spPr>
          <a:xfrm>
            <a:off x="1941513" y="5367338"/>
            <a:ext cx="59436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a:prstGeom prst="rect">
            <a:avLst/>
          </a:prstGeom>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495300" y="1600206"/>
            <a:ext cx="89154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81850" y="274645"/>
            <a:ext cx="2228850" cy="5851525"/>
          </a:xfrm>
          <a:prstGeom prst="rect">
            <a:avLst/>
          </a:prstGeo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95307" y="274645"/>
            <a:ext cx="6534150"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39"/>
            <a:ext cx="8420100" cy="1470025"/>
          </a:xfrm>
        </p:spPr>
        <p:txBody>
          <a:bodyPr/>
          <a:lstStyle/>
          <a:p>
            <a:r>
              <a:rPr lang="en-US"/>
              <a:t>Click to edit Master title style</a:t>
            </a:r>
          </a:p>
        </p:txBody>
      </p:sp>
      <p:sp>
        <p:nvSpPr>
          <p:cNvPr id="3" name="Subtitle 2"/>
          <p:cNvSpPr>
            <a:spLocks noGrp="1"/>
          </p:cNvSpPr>
          <p:nvPr>
            <p:ph type="subTitle" idx="1"/>
          </p:nvPr>
        </p:nvSpPr>
        <p:spPr>
          <a:xfrm>
            <a:off x="1485900" y="3886200"/>
            <a:ext cx="69342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95300" y="1600206"/>
            <a:ext cx="89154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14"/>
            <a:ext cx="84201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82638" y="2906713"/>
            <a:ext cx="84201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95303"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029199"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95300" y="1535113"/>
            <a:ext cx="437673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95300" y="2174875"/>
            <a:ext cx="437673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032383" y="1535113"/>
            <a:ext cx="437832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32383" y="2174875"/>
            <a:ext cx="437832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5" y="273050"/>
            <a:ext cx="3259138"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873499" y="273058"/>
            <a:ext cx="5537201"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95305" y="1435103"/>
            <a:ext cx="3259138"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
        <p:nvSpPr>
          <p:cNvPr id="3" name="Vertical Text Placeholder 2"/>
          <p:cNvSpPr>
            <a:spLocks noGrp="1"/>
          </p:cNvSpPr>
          <p:nvPr>
            <p:ph type="body" orient="vert" idx="1"/>
          </p:nvPr>
        </p:nvSpPr>
        <p:spPr>
          <a:xfrm>
            <a:off x="495300" y="1600206"/>
            <a:ext cx="89154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36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941513" y="612775"/>
            <a:ext cx="59436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941513" y="5367338"/>
            <a:ext cx="59436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495300" y="1600206"/>
            <a:ext cx="89154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35815" y="227013"/>
            <a:ext cx="2274887" cy="589915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7976" y="227013"/>
            <a:ext cx="6675438" cy="5899150"/>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39"/>
            <a:ext cx="8420100" cy="1470025"/>
          </a:xfrm>
        </p:spPr>
        <p:txBody>
          <a:bodyPr/>
          <a:lstStyle/>
          <a:p>
            <a:r>
              <a:rPr lang="en-US"/>
              <a:t>Click to edit Master title style</a:t>
            </a:r>
          </a:p>
        </p:txBody>
      </p:sp>
      <p:sp>
        <p:nvSpPr>
          <p:cNvPr id="3" name="Subtitle 2"/>
          <p:cNvSpPr>
            <a:spLocks noGrp="1"/>
          </p:cNvSpPr>
          <p:nvPr>
            <p:ph type="subTitle" idx="1"/>
          </p:nvPr>
        </p:nvSpPr>
        <p:spPr>
          <a:xfrm>
            <a:off x="1485900" y="3886200"/>
            <a:ext cx="69342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95300" y="1600206"/>
            <a:ext cx="89154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14"/>
            <a:ext cx="84201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82638" y="2906713"/>
            <a:ext cx="84201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95303"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029199"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95300" y="1535113"/>
            <a:ext cx="437673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95300" y="2174875"/>
            <a:ext cx="437673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032383" y="1535113"/>
            <a:ext cx="437832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32383" y="2174875"/>
            <a:ext cx="437832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35815" y="227013"/>
            <a:ext cx="2274887" cy="5899150"/>
          </a:xfrm>
        </p:spPr>
        <p:txBody>
          <a:bodyPr vert="eaVert"/>
          <a:lstStyle/>
          <a:p>
            <a:r>
              <a:rPr lang="en-US" smtClean="0"/>
              <a:t>Click to edit Master title style</a:t>
            </a:r>
            <a:endParaRPr lang="pt-BR"/>
          </a:p>
        </p:txBody>
      </p:sp>
      <p:sp>
        <p:nvSpPr>
          <p:cNvPr id="3" name="Vertical Text Placeholder 2"/>
          <p:cNvSpPr>
            <a:spLocks noGrp="1"/>
          </p:cNvSpPr>
          <p:nvPr>
            <p:ph type="body" orient="vert" idx="1"/>
          </p:nvPr>
        </p:nvSpPr>
        <p:spPr>
          <a:xfrm>
            <a:off x="307976" y="227013"/>
            <a:ext cx="6675438" cy="5899150"/>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5" y="273050"/>
            <a:ext cx="3259138"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873499" y="273058"/>
            <a:ext cx="5537201"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95305" y="1435103"/>
            <a:ext cx="3259138"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36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941513" y="612775"/>
            <a:ext cx="59436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941513" y="5367338"/>
            <a:ext cx="59436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495300" y="1600206"/>
            <a:ext cx="89154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35815" y="227013"/>
            <a:ext cx="2274887" cy="589915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7976" y="227013"/>
            <a:ext cx="6675438" cy="5899150"/>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39"/>
            <a:ext cx="8420100" cy="1470025"/>
          </a:xfrm>
        </p:spPr>
        <p:txBody>
          <a:bodyPr/>
          <a:lstStyle/>
          <a:p>
            <a:r>
              <a:rPr lang="en-US"/>
              <a:t>Click to edit Master title style</a:t>
            </a:r>
          </a:p>
        </p:txBody>
      </p:sp>
      <p:sp>
        <p:nvSpPr>
          <p:cNvPr id="3" name="Subtitle 2"/>
          <p:cNvSpPr>
            <a:spLocks noGrp="1"/>
          </p:cNvSpPr>
          <p:nvPr>
            <p:ph type="subTitle" idx="1"/>
          </p:nvPr>
        </p:nvSpPr>
        <p:spPr>
          <a:xfrm>
            <a:off x="1485900" y="3886200"/>
            <a:ext cx="69342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95300" y="1600206"/>
            <a:ext cx="89154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14"/>
            <a:ext cx="84201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82638" y="2906713"/>
            <a:ext cx="84201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95303"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029199"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95300" y="1535113"/>
            <a:ext cx="437673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95300" y="2174875"/>
            <a:ext cx="437673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032383" y="1535113"/>
            <a:ext cx="437832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32383" y="2174875"/>
            <a:ext cx="437832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507"/>
            <a:ext cx="8420100" cy="1470025"/>
          </a:xfrm>
        </p:spPr>
        <p:txBody>
          <a:bodyPr/>
          <a:lstStyle/>
          <a:p>
            <a:r>
              <a:rPr lang="en-US" smtClean="0"/>
              <a:t>Click to edit Master title style</a:t>
            </a:r>
            <a:endParaRPr lang="pt-BR"/>
          </a:p>
        </p:txBody>
      </p:sp>
      <p:sp>
        <p:nvSpPr>
          <p:cNvPr id="3" name="Subtitle 2"/>
          <p:cNvSpPr>
            <a:spLocks noGrp="1"/>
          </p:cNvSpPr>
          <p:nvPr>
            <p:ph type="subTitle" idx="1"/>
          </p:nvPr>
        </p:nvSpPr>
        <p:spPr>
          <a:xfrm>
            <a:off x="1485900" y="3886200"/>
            <a:ext cx="69342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pt-BR"/>
          </a:p>
        </p:txBody>
      </p:sp>
    </p:spTree>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5" y="273050"/>
            <a:ext cx="3259138"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873499" y="273058"/>
            <a:ext cx="5537201"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95305" y="1435103"/>
            <a:ext cx="3259138"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36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941513" y="612775"/>
            <a:ext cx="59436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941513" y="5367338"/>
            <a:ext cx="59436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495300" y="1600206"/>
            <a:ext cx="89154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35815" y="227013"/>
            <a:ext cx="2274887" cy="589915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7976" y="227013"/>
            <a:ext cx="6675438" cy="5899150"/>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39"/>
            <a:ext cx="8420100" cy="1470025"/>
          </a:xfrm>
        </p:spPr>
        <p:txBody>
          <a:bodyPr/>
          <a:lstStyle/>
          <a:p>
            <a:r>
              <a:rPr lang="en-US" smtClean="0"/>
              <a:t>Click to edit Master title style</a:t>
            </a:r>
            <a:endParaRPr lang="pt-BR"/>
          </a:p>
        </p:txBody>
      </p:sp>
      <p:sp>
        <p:nvSpPr>
          <p:cNvPr id="3" name="Subtitle 2"/>
          <p:cNvSpPr>
            <a:spLocks noGrp="1"/>
          </p:cNvSpPr>
          <p:nvPr>
            <p:ph type="subTitle" idx="1"/>
          </p:nvPr>
        </p:nvSpPr>
        <p:spPr>
          <a:xfrm>
            <a:off x="1485900" y="3886200"/>
            <a:ext cx="69342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pt-BR"/>
          </a:p>
        </p:txBody>
      </p:sp>
    </p:spTree>
    <p:extLst>
      <p:ext uri="{BB962C8B-B14F-4D97-AF65-F5344CB8AC3E}">
        <p14:creationId xmlns="" xmlns:p14="http://schemas.microsoft.com/office/powerpoint/2010/main" val="3241749185"/>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
        <p:nvSpPr>
          <p:cNvPr id="3" name="Content Placeholder 2"/>
          <p:cNvSpPr>
            <a:spLocks noGrp="1"/>
          </p:cNvSpPr>
          <p:nvPr>
            <p:ph idx="1"/>
          </p:nvPr>
        </p:nvSpPr>
        <p:spPr>
          <a:xfrm>
            <a:off x="495300" y="1600206"/>
            <a:ext cx="89154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extLst>
      <p:ext uri="{BB962C8B-B14F-4D97-AF65-F5344CB8AC3E}">
        <p14:creationId xmlns="" xmlns:p14="http://schemas.microsoft.com/office/powerpoint/2010/main" val="4237114666"/>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14"/>
            <a:ext cx="8420100" cy="1362075"/>
          </a:xfrm>
        </p:spPr>
        <p:txBody>
          <a:bodyPr anchor="t"/>
          <a:lstStyle>
            <a:lvl1pPr algn="l">
              <a:defRPr sz="4000" b="1" cap="all"/>
            </a:lvl1pPr>
          </a:lstStyle>
          <a:p>
            <a:r>
              <a:rPr lang="en-US" smtClean="0"/>
              <a:t>Click to edit Master title style</a:t>
            </a:r>
            <a:endParaRPr lang="pt-BR"/>
          </a:p>
        </p:txBody>
      </p:sp>
      <p:sp>
        <p:nvSpPr>
          <p:cNvPr id="3" name="Text Placeholder 2"/>
          <p:cNvSpPr>
            <a:spLocks noGrp="1"/>
          </p:cNvSpPr>
          <p:nvPr>
            <p:ph type="body" idx="1"/>
          </p:nvPr>
        </p:nvSpPr>
        <p:spPr>
          <a:xfrm>
            <a:off x="782638" y="2906713"/>
            <a:ext cx="84201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 xmlns:p14="http://schemas.microsoft.com/office/powerpoint/2010/main" val="1322709069"/>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
        <p:nvSpPr>
          <p:cNvPr id="3" name="Content Placeholder 2"/>
          <p:cNvSpPr>
            <a:spLocks noGrp="1"/>
          </p:cNvSpPr>
          <p:nvPr>
            <p:ph sz="half" idx="1"/>
          </p:nvPr>
        </p:nvSpPr>
        <p:spPr>
          <a:xfrm>
            <a:off x="495303"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4" name="Content Placeholder 3"/>
          <p:cNvSpPr>
            <a:spLocks noGrp="1"/>
          </p:cNvSpPr>
          <p:nvPr>
            <p:ph sz="half" idx="2"/>
          </p:nvPr>
        </p:nvSpPr>
        <p:spPr>
          <a:xfrm>
            <a:off x="5029199"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extLst>
      <p:ext uri="{BB962C8B-B14F-4D97-AF65-F5344CB8AC3E}">
        <p14:creationId xmlns="" xmlns:p14="http://schemas.microsoft.com/office/powerpoint/2010/main" val="1492006801"/>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smtClean="0"/>
              <a:t>Click to edit Master title style</a:t>
            </a:r>
            <a:endParaRPr lang="pt-BR"/>
          </a:p>
        </p:txBody>
      </p:sp>
      <p:sp>
        <p:nvSpPr>
          <p:cNvPr id="3" name="Text Placeholder 2"/>
          <p:cNvSpPr>
            <a:spLocks noGrp="1"/>
          </p:cNvSpPr>
          <p:nvPr>
            <p:ph type="body" idx="1"/>
          </p:nvPr>
        </p:nvSpPr>
        <p:spPr>
          <a:xfrm>
            <a:off x="495300" y="1535113"/>
            <a:ext cx="437673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73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5" name="Text Placeholder 4"/>
          <p:cNvSpPr>
            <a:spLocks noGrp="1"/>
          </p:cNvSpPr>
          <p:nvPr>
            <p:ph type="body" sz="quarter" idx="3"/>
          </p:nvPr>
        </p:nvSpPr>
        <p:spPr>
          <a:xfrm>
            <a:off x="5032383" y="1535113"/>
            <a:ext cx="437832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383" y="2174875"/>
            <a:ext cx="437832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extLst>
      <p:ext uri="{BB962C8B-B14F-4D97-AF65-F5344CB8AC3E}">
        <p14:creationId xmlns="" xmlns:p14="http://schemas.microsoft.com/office/powerpoint/2010/main" val="47586621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
        <p:nvSpPr>
          <p:cNvPr id="3" name="Content Placeholder 2"/>
          <p:cNvSpPr>
            <a:spLocks noGrp="1"/>
          </p:cNvSpPr>
          <p:nvPr>
            <p:ph idx="1"/>
          </p:nvPr>
        </p:nvSpPr>
        <p:spPr>
          <a:xfrm>
            <a:off x="495300" y="1600206"/>
            <a:ext cx="89154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Tree>
    <p:extLst>
      <p:ext uri="{BB962C8B-B14F-4D97-AF65-F5344CB8AC3E}">
        <p14:creationId xmlns="" xmlns:p14="http://schemas.microsoft.com/office/powerpoint/2010/main" val="1713224729"/>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323703063"/>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5" y="273050"/>
            <a:ext cx="3259138" cy="1162050"/>
          </a:xfrm>
        </p:spPr>
        <p:txBody>
          <a:bodyPr anchor="b"/>
          <a:lstStyle>
            <a:lvl1pPr algn="l">
              <a:defRPr sz="2000" b="1"/>
            </a:lvl1pPr>
          </a:lstStyle>
          <a:p>
            <a:r>
              <a:rPr lang="en-US" smtClean="0"/>
              <a:t>Click to edit Master title style</a:t>
            </a:r>
            <a:endParaRPr lang="pt-BR"/>
          </a:p>
        </p:txBody>
      </p:sp>
      <p:sp>
        <p:nvSpPr>
          <p:cNvPr id="3" name="Content Placeholder 2"/>
          <p:cNvSpPr>
            <a:spLocks noGrp="1"/>
          </p:cNvSpPr>
          <p:nvPr>
            <p:ph idx="1"/>
          </p:nvPr>
        </p:nvSpPr>
        <p:spPr>
          <a:xfrm>
            <a:off x="3873499" y="273058"/>
            <a:ext cx="5537201"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4" name="Text Placeholder 3"/>
          <p:cNvSpPr>
            <a:spLocks noGrp="1"/>
          </p:cNvSpPr>
          <p:nvPr>
            <p:ph type="body" sz="half" idx="2"/>
          </p:nvPr>
        </p:nvSpPr>
        <p:spPr>
          <a:xfrm>
            <a:off x="495305" y="1435103"/>
            <a:ext cx="3259138"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 xmlns:p14="http://schemas.microsoft.com/office/powerpoint/2010/main" val="3932372687"/>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3600" cy="566738"/>
          </a:xfrm>
        </p:spPr>
        <p:txBody>
          <a:bodyPr anchor="b"/>
          <a:lstStyle>
            <a:lvl1pPr algn="l">
              <a:defRPr sz="2000" b="1"/>
            </a:lvl1pPr>
          </a:lstStyle>
          <a:p>
            <a:r>
              <a:rPr lang="en-US" smtClean="0"/>
              <a:t>Click to edit Master title style</a:t>
            </a:r>
            <a:endParaRPr lang="pt-BR"/>
          </a:p>
        </p:txBody>
      </p:sp>
      <p:sp>
        <p:nvSpPr>
          <p:cNvPr id="3" name="Picture Placeholder 2"/>
          <p:cNvSpPr>
            <a:spLocks noGrp="1"/>
          </p:cNvSpPr>
          <p:nvPr>
            <p:ph type="pic" idx="1"/>
          </p:nvPr>
        </p:nvSpPr>
        <p:spPr>
          <a:xfrm>
            <a:off x="1941513" y="612775"/>
            <a:ext cx="59436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pt-BR" noProof="0" smtClean="0"/>
          </a:p>
        </p:txBody>
      </p:sp>
      <p:sp>
        <p:nvSpPr>
          <p:cNvPr id="4" name="Text Placeholder 3"/>
          <p:cNvSpPr>
            <a:spLocks noGrp="1"/>
          </p:cNvSpPr>
          <p:nvPr>
            <p:ph type="body" sz="half" idx="2"/>
          </p:nvPr>
        </p:nvSpPr>
        <p:spPr>
          <a:xfrm>
            <a:off x="1941513" y="5367338"/>
            <a:ext cx="59436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 xmlns:p14="http://schemas.microsoft.com/office/powerpoint/2010/main" val="1069960966"/>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
        <p:nvSpPr>
          <p:cNvPr id="3" name="Vertical Text Placeholder 2"/>
          <p:cNvSpPr>
            <a:spLocks noGrp="1"/>
          </p:cNvSpPr>
          <p:nvPr>
            <p:ph type="body" orient="vert" idx="1"/>
          </p:nvPr>
        </p:nvSpPr>
        <p:spPr>
          <a:xfrm>
            <a:off x="495300" y="1600206"/>
            <a:ext cx="89154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extLst>
      <p:ext uri="{BB962C8B-B14F-4D97-AF65-F5344CB8AC3E}">
        <p14:creationId xmlns="" xmlns:p14="http://schemas.microsoft.com/office/powerpoint/2010/main" val="53430085"/>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35815" y="227013"/>
            <a:ext cx="2274887" cy="5899150"/>
          </a:xfrm>
        </p:spPr>
        <p:txBody>
          <a:bodyPr vert="eaVert"/>
          <a:lstStyle/>
          <a:p>
            <a:r>
              <a:rPr lang="en-US" smtClean="0"/>
              <a:t>Click to edit Master title style</a:t>
            </a:r>
            <a:endParaRPr lang="pt-BR"/>
          </a:p>
        </p:txBody>
      </p:sp>
      <p:sp>
        <p:nvSpPr>
          <p:cNvPr id="3" name="Vertical Text Placeholder 2"/>
          <p:cNvSpPr>
            <a:spLocks noGrp="1"/>
          </p:cNvSpPr>
          <p:nvPr>
            <p:ph type="body" orient="vert" idx="1"/>
          </p:nvPr>
        </p:nvSpPr>
        <p:spPr>
          <a:xfrm>
            <a:off x="307976" y="227013"/>
            <a:ext cx="6675438" cy="5899150"/>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extLst>
      <p:ext uri="{BB962C8B-B14F-4D97-AF65-F5344CB8AC3E}">
        <p14:creationId xmlns="" xmlns:p14="http://schemas.microsoft.com/office/powerpoint/2010/main" val="1101764661"/>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07983" y="227013"/>
            <a:ext cx="7980363" cy="457200"/>
          </a:xfrm>
        </p:spPr>
        <p:txBody>
          <a:bodyPr/>
          <a:lstStyle/>
          <a:p>
            <a:r>
              <a:rPr lang="en-US" smtClean="0"/>
              <a:t>Click to edit Master title style</a:t>
            </a:r>
            <a:endParaRPr lang="pt-BR"/>
          </a:p>
        </p:txBody>
      </p:sp>
      <p:sp>
        <p:nvSpPr>
          <p:cNvPr id="3" name="Table Placeholder 2"/>
          <p:cNvSpPr>
            <a:spLocks noGrp="1"/>
          </p:cNvSpPr>
          <p:nvPr>
            <p:ph type="tbl" idx="1"/>
          </p:nvPr>
        </p:nvSpPr>
        <p:spPr>
          <a:xfrm>
            <a:off x="495300" y="1600206"/>
            <a:ext cx="8915400" cy="4525963"/>
          </a:xfrm>
          <a:prstGeom prst="rect">
            <a:avLst/>
          </a:prstGeom>
        </p:spPr>
        <p:txBody>
          <a:bodyPr/>
          <a:lstStyle/>
          <a:p>
            <a:pPr lvl="0"/>
            <a:endParaRPr lang="pt-BR" noProof="0" smtClean="0"/>
          </a:p>
        </p:txBody>
      </p:sp>
    </p:spTree>
    <p:extLst>
      <p:ext uri="{BB962C8B-B14F-4D97-AF65-F5344CB8AC3E}">
        <p14:creationId xmlns="" xmlns:p14="http://schemas.microsoft.com/office/powerpoint/2010/main" val="3713976038"/>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07983" y="227013"/>
            <a:ext cx="7980363" cy="457200"/>
          </a:xfrm>
        </p:spPr>
        <p:txBody>
          <a:bodyPr/>
          <a:lstStyle/>
          <a:p>
            <a:r>
              <a:rPr lang="en-US" smtClean="0"/>
              <a:t>Click to edit Master title style</a:t>
            </a:r>
            <a:endParaRPr lang="pt-BR"/>
          </a:p>
        </p:txBody>
      </p:sp>
      <p:sp>
        <p:nvSpPr>
          <p:cNvPr id="3" name="Chart Placeholder 2"/>
          <p:cNvSpPr>
            <a:spLocks noGrp="1"/>
          </p:cNvSpPr>
          <p:nvPr>
            <p:ph type="chart" idx="1"/>
          </p:nvPr>
        </p:nvSpPr>
        <p:spPr>
          <a:xfrm>
            <a:off x="495300" y="1600206"/>
            <a:ext cx="8915400" cy="4525963"/>
          </a:xfrm>
          <a:prstGeom prst="rect">
            <a:avLst/>
          </a:prstGeom>
        </p:spPr>
        <p:txBody>
          <a:bodyPr/>
          <a:lstStyle/>
          <a:p>
            <a:pPr lvl="0"/>
            <a:endParaRPr lang="pt-BR" noProof="0" smtClean="0"/>
          </a:p>
        </p:txBody>
      </p:sp>
    </p:spTree>
    <p:extLst>
      <p:ext uri="{BB962C8B-B14F-4D97-AF65-F5344CB8AC3E}">
        <p14:creationId xmlns="" xmlns:p14="http://schemas.microsoft.com/office/powerpoint/2010/main" val="842194582"/>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307982" y="227013"/>
            <a:ext cx="9102725" cy="58991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extLst>
      <p:ext uri="{BB962C8B-B14F-4D97-AF65-F5344CB8AC3E}">
        <p14:creationId xmlns="" xmlns:p14="http://schemas.microsoft.com/office/powerpoint/2010/main" val="29019215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a:xfrm>
            <a:off x="495300" y="274638"/>
            <a:ext cx="8915400" cy="1143000"/>
          </a:xfrm>
          <a:prstGeom prst="rect">
            <a:avLst/>
          </a:prstGeom>
        </p:spPr>
        <p:txBody>
          <a:bodyPr/>
          <a:lstStyle/>
          <a:p>
            <a:r>
              <a:rPr lang="pt-BR" smtClean="0"/>
              <a:t>Clique para editar o estilo do título mestre</a:t>
            </a:r>
            <a:endParaRPr lang="pt-BR"/>
          </a:p>
        </p:txBody>
      </p:sp>
      <p:sp>
        <p:nvSpPr>
          <p:cNvPr id="3" name="Espaço Reservado para Conteúdo 2"/>
          <p:cNvSpPr>
            <a:spLocks noGrp="1"/>
          </p:cNvSpPr>
          <p:nvPr>
            <p:ph sz="half" idx="1"/>
          </p:nvPr>
        </p:nvSpPr>
        <p:spPr>
          <a:xfrm>
            <a:off x="495303"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Conteúdo 3"/>
          <p:cNvSpPr>
            <a:spLocks noGrp="1"/>
          </p:cNvSpPr>
          <p:nvPr>
            <p:ph sz="half" idx="2"/>
          </p:nvPr>
        </p:nvSpPr>
        <p:spPr>
          <a:xfrm>
            <a:off x="5029199"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82"/>
            <a:ext cx="8420100" cy="1362075"/>
          </a:xfrm>
        </p:spPr>
        <p:txBody>
          <a:bodyPr anchor="t"/>
          <a:lstStyle>
            <a:lvl1pPr algn="l">
              <a:defRPr sz="4000" b="1" cap="all"/>
            </a:lvl1pPr>
          </a:lstStyle>
          <a:p>
            <a:r>
              <a:rPr lang="en-US" smtClean="0"/>
              <a:t>Click to edit Master title style</a:t>
            </a:r>
            <a:endParaRPr lang="pt-BR"/>
          </a:p>
        </p:txBody>
      </p:sp>
      <p:sp>
        <p:nvSpPr>
          <p:cNvPr id="3" name="Text Placeholder 2"/>
          <p:cNvSpPr>
            <a:spLocks noGrp="1"/>
          </p:cNvSpPr>
          <p:nvPr>
            <p:ph type="body" idx="1"/>
          </p:nvPr>
        </p:nvSpPr>
        <p:spPr>
          <a:xfrm>
            <a:off x="782638" y="2906713"/>
            <a:ext cx="84201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
        <p:nvSpPr>
          <p:cNvPr id="3" name="Content Placeholder 2"/>
          <p:cNvSpPr>
            <a:spLocks noGrp="1"/>
          </p:cNvSpPr>
          <p:nvPr>
            <p:ph sz="half" idx="1"/>
          </p:nvPr>
        </p:nvSpPr>
        <p:spPr>
          <a:xfrm>
            <a:off x="495303"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4" name="Content Placeholder 3"/>
          <p:cNvSpPr>
            <a:spLocks noGrp="1"/>
          </p:cNvSpPr>
          <p:nvPr>
            <p:ph sz="half" idx="2"/>
          </p:nvPr>
        </p:nvSpPr>
        <p:spPr>
          <a:xfrm>
            <a:off x="5029199"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smtClean="0"/>
              <a:t>Click to edit Master title style</a:t>
            </a:r>
            <a:endParaRPr lang="pt-BR"/>
          </a:p>
        </p:txBody>
      </p:sp>
      <p:sp>
        <p:nvSpPr>
          <p:cNvPr id="3" name="Text Placeholder 2"/>
          <p:cNvSpPr>
            <a:spLocks noGrp="1"/>
          </p:cNvSpPr>
          <p:nvPr>
            <p:ph type="body" idx="1"/>
          </p:nvPr>
        </p:nvSpPr>
        <p:spPr>
          <a:xfrm>
            <a:off x="495300" y="1535113"/>
            <a:ext cx="437673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73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5" name="Text Placeholder 4"/>
          <p:cNvSpPr>
            <a:spLocks noGrp="1"/>
          </p:cNvSpPr>
          <p:nvPr>
            <p:ph type="body" sz="quarter" idx="3"/>
          </p:nvPr>
        </p:nvSpPr>
        <p:spPr>
          <a:xfrm>
            <a:off x="5032415" y="1535113"/>
            <a:ext cx="437832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415" y="2174875"/>
            <a:ext cx="437832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5" y="273050"/>
            <a:ext cx="3259138" cy="1162050"/>
          </a:xfrm>
        </p:spPr>
        <p:txBody>
          <a:bodyPr anchor="b"/>
          <a:lstStyle>
            <a:lvl1pPr algn="l">
              <a:defRPr sz="2000" b="1"/>
            </a:lvl1pPr>
          </a:lstStyle>
          <a:p>
            <a:r>
              <a:rPr lang="en-US" smtClean="0"/>
              <a:t>Click to edit Master title style</a:t>
            </a:r>
            <a:endParaRPr lang="pt-BR"/>
          </a:p>
        </p:txBody>
      </p:sp>
      <p:sp>
        <p:nvSpPr>
          <p:cNvPr id="3" name="Content Placeholder 2"/>
          <p:cNvSpPr>
            <a:spLocks noGrp="1"/>
          </p:cNvSpPr>
          <p:nvPr>
            <p:ph idx="1"/>
          </p:nvPr>
        </p:nvSpPr>
        <p:spPr>
          <a:xfrm>
            <a:off x="3873499" y="273058"/>
            <a:ext cx="5537201"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4" name="Text Placeholder 3"/>
          <p:cNvSpPr>
            <a:spLocks noGrp="1"/>
          </p:cNvSpPr>
          <p:nvPr>
            <p:ph type="body" sz="half" idx="2"/>
          </p:nvPr>
        </p:nvSpPr>
        <p:spPr>
          <a:xfrm>
            <a:off x="495305" y="1435103"/>
            <a:ext cx="3259138"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3600" cy="566738"/>
          </a:xfrm>
        </p:spPr>
        <p:txBody>
          <a:bodyPr anchor="b"/>
          <a:lstStyle>
            <a:lvl1pPr algn="l">
              <a:defRPr sz="2000" b="1"/>
            </a:lvl1pPr>
          </a:lstStyle>
          <a:p>
            <a:r>
              <a:rPr lang="en-US" smtClean="0"/>
              <a:t>Click to edit Master title style</a:t>
            </a:r>
            <a:endParaRPr lang="pt-BR"/>
          </a:p>
        </p:txBody>
      </p:sp>
      <p:sp>
        <p:nvSpPr>
          <p:cNvPr id="3" name="Picture Placeholder 2"/>
          <p:cNvSpPr>
            <a:spLocks noGrp="1"/>
          </p:cNvSpPr>
          <p:nvPr>
            <p:ph type="pic" idx="1"/>
          </p:nvPr>
        </p:nvSpPr>
        <p:spPr>
          <a:xfrm>
            <a:off x="1941513" y="612775"/>
            <a:ext cx="59436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pt-BR" noProof="0" smtClean="0"/>
          </a:p>
        </p:txBody>
      </p:sp>
      <p:sp>
        <p:nvSpPr>
          <p:cNvPr id="4" name="Text Placeholder 3"/>
          <p:cNvSpPr>
            <a:spLocks noGrp="1"/>
          </p:cNvSpPr>
          <p:nvPr>
            <p:ph type="body" sz="half" idx="2"/>
          </p:nvPr>
        </p:nvSpPr>
        <p:spPr>
          <a:xfrm>
            <a:off x="1941513" y="5367338"/>
            <a:ext cx="59436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
        <p:nvSpPr>
          <p:cNvPr id="3" name="Vertical Text Placeholder 2"/>
          <p:cNvSpPr>
            <a:spLocks noGrp="1"/>
          </p:cNvSpPr>
          <p:nvPr>
            <p:ph type="body" orient="vert" idx="1"/>
          </p:nvPr>
        </p:nvSpPr>
        <p:spPr>
          <a:xfrm>
            <a:off x="495300" y="1600206"/>
            <a:ext cx="89154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35815" y="227013"/>
            <a:ext cx="2274887" cy="5899150"/>
          </a:xfrm>
        </p:spPr>
        <p:txBody>
          <a:bodyPr vert="eaVert"/>
          <a:lstStyle/>
          <a:p>
            <a:r>
              <a:rPr lang="en-US" smtClean="0"/>
              <a:t>Click to edit Master title style</a:t>
            </a:r>
            <a:endParaRPr lang="pt-BR"/>
          </a:p>
        </p:txBody>
      </p:sp>
      <p:sp>
        <p:nvSpPr>
          <p:cNvPr id="3" name="Vertical Text Placeholder 2"/>
          <p:cNvSpPr>
            <a:spLocks noGrp="1"/>
          </p:cNvSpPr>
          <p:nvPr>
            <p:ph type="body" orient="vert" idx="1"/>
          </p:nvPr>
        </p:nvSpPr>
        <p:spPr>
          <a:xfrm>
            <a:off x="307976" y="227013"/>
            <a:ext cx="6675438" cy="5899150"/>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507"/>
            <a:ext cx="8420100" cy="1470025"/>
          </a:xfrm>
        </p:spPr>
        <p:txBody>
          <a:bodyPr/>
          <a:lstStyle/>
          <a:p>
            <a:r>
              <a:rPr lang="en-US" smtClean="0"/>
              <a:t>Click to edit Master title style</a:t>
            </a:r>
            <a:endParaRPr lang="pt-BR"/>
          </a:p>
        </p:txBody>
      </p:sp>
      <p:sp>
        <p:nvSpPr>
          <p:cNvPr id="3" name="Subtitle 2"/>
          <p:cNvSpPr>
            <a:spLocks noGrp="1"/>
          </p:cNvSpPr>
          <p:nvPr>
            <p:ph type="subTitle" idx="1"/>
          </p:nvPr>
        </p:nvSpPr>
        <p:spPr>
          <a:xfrm>
            <a:off x="1485900" y="3886200"/>
            <a:ext cx="69342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pt-B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a:xfrm>
            <a:off x="495300" y="274638"/>
            <a:ext cx="8915400" cy="1143000"/>
          </a:xfrm>
          <a:prstGeom prst="rect">
            <a:avLst/>
          </a:prstGeom>
        </p:spPr>
        <p:txBody>
          <a:bodyPr/>
          <a:lstStyle>
            <a:lvl1pPr>
              <a:defRPr/>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495300" y="1535113"/>
            <a:ext cx="437673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4" name="Espaço Reservado para Conteúdo 3"/>
          <p:cNvSpPr>
            <a:spLocks noGrp="1"/>
          </p:cNvSpPr>
          <p:nvPr>
            <p:ph sz="half" idx="2"/>
          </p:nvPr>
        </p:nvSpPr>
        <p:spPr>
          <a:xfrm>
            <a:off x="495300" y="2174875"/>
            <a:ext cx="437673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Texto 4"/>
          <p:cNvSpPr>
            <a:spLocks noGrp="1"/>
          </p:cNvSpPr>
          <p:nvPr>
            <p:ph type="body" sz="quarter" idx="3"/>
          </p:nvPr>
        </p:nvSpPr>
        <p:spPr>
          <a:xfrm>
            <a:off x="5032415" y="1535113"/>
            <a:ext cx="437832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6" name="Espaço Reservado para Conteúdo 5"/>
          <p:cNvSpPr>
            <a:spLocks noGrp="1"/>
          </p:cNvSpPr>
          <p:nvPr>
            <p:ph sz="quarter" idx="4"/>
          </p:nvPr>
        </p:nvSpPr>
        <p:spPr>
          <a:xfrm>
            <a:off x="5032415" y="2174875"/>
            <a:ext cx="437832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
        <p:nvSpPr>
          <p:cNvPr id="3" name="Content Placeholder 2"/>
          <p:cNvSpPr>
            <a:spLocks noGrp="1"/>
          </p:cNvSpPr>
          <p:nvPr>
            <p:ph idx="1"/>
          </p:nvPr>
        </p:nvSpPr>
        <p:spPr>
          <a:xfrm>
            <a:off x="495300" y="1600206"/>
            <a:ext cx="89154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82"/>
            <a:ext cx="8420100" cy="1362075"/>
          </a:xfrm>
        </p:spPr>
        <p:txBody>
          <a:bodyPr anchor="t"/>
          <a:lstStyle>
            <a:lvl1pPr algn="l">
              <a:defRPr sz="4000" b="1" cap="all"/>
            </a:lvl1pPr>
          </a:lstStyle>
          <a:p>
            <a:r>
              <a:rPr lang="en-US" smtClean="0"/>
              <a:t>Click to edit Master title style</a:t>
            </a:r>
            <a:endParaRPr lang="pt-BR"/>
          </a:p>
        </p:txBody>
      </p:sp>
      <p:sp>
        <p:nvSpPr>
          <p:cNvPr id="3" name="Text Placeholder 2"/>
          <p:cNvSpPr>
            <a:spLocks noGrp="1"/>
          </p:cNvSpPr>
          <p:nvPr>
            <p:ph type="body" idx="1"/>
          </p:nvPr>
        </p:nvSpPr>
        <p:spPr>
          <a:xfrm>
            <a:off x="782638" y="2906713"/>
            <a:ext cx="84201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
        <p:nvSpPr>
          <p:cNvPr id="3" name="Content Placeholder 2"/>
          <p:cNvSpPr>
            <a:spLocks noGrp="1"/>
          </p:cNvSpPr>
          <p:nvPr>
            <p:ph sz="half" idx="1"/>
          </p:nvPr>
        </p:nvSpPr>
        <p:spPr>
          <a:xfrm>
            <a:off x="495303"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4" name="Content Placeholder 3"/>
          <p:cNvSpPr>
            <a:spLocks noGrp="1"/>
          </p:cNvSpPr>
          <p:nvPr>
            <p:ph sz="half" idx="2"/>
          </p:nvPr>
        </p:nvSpPr>
        <p:spPr>
          <a:xfrm>
            <a:off x="5029199"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smtClean="0"/>
              <a:t>Click to edit Master title style</a:t>
            </a:r>
            <a:endParaRPr lang="pt-BR"/>
          </a:p>
        </p:txBody>
      </p:sp>
      <p:sp>
        <p:nvSpPr>
          <p:cNvPr id="3" name="Text Placeholder 2"/>
          <p:cNvSpPr>
            <a:spLocks noGrp="1"/>
          </p:cNvSpPr>
          <p:nvPr>
            <p:ph type="body" idx="1"/>
          </p:nvPr>
        </p:nvSpPr>
        <p:spPr>
          <a:xfrm>
            <a:off x="495300" y="1535113"/>
            <a:ext cx="437673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73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5" name="Text Placeholder 4"/>
          <p:cNvSpPr>
            <a:spLocks noGrp="1"/>
          </p:cNvSpPr>
          <p:nvPr>
            <p:ph type="body" sz="quarter" idx="3"/>
          </p:nvPr>
        </p:nvSpPr>
        <p:spPr>
          <a:xfrm>
            <a:off x="5032415" y="1535113"/>
            <a:ext cx="437832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415" y="2174875"/>
            <a:ext cx="437832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5" y="273050"/>
            <a:ext cx="3259138" cy="1162050"/>
          </a:xfrm>
        </p:spPr>
        <p:txBody>
          <a:bodyPr anchor="b"/>
          <a:lstStyle>
            <a:lvl1pPr algn="l">
              <a:defRPr sz="2000" b="1"/>
            </a:lvl1pPr>
          </a:lstStyle>
          <a:p>
            <a:r>
              <a:rPr lang="en-US" smtClean="0"/>
              <a:t>Click to edit Master title style</a:t>
            </a:r>
            <a:endParaRPr lang="pt-BR"/>
          </a:p>
        </p:txBody>
      </p:sp>
      <p:sp>
        <p:nvSpPr>
          <p:cNvPr id="3" name="Content Placeholder 2"/>
          <p:cNvSpPr>
            <a:spLocks noGrp="1"/>
          </p:cNvSpPr>
          <p:nvPr>
            <p:ph idx="1"/>
          </p:nvPr>
        </p:nvSpPr>
        <p:spPr>
          <a:xfrm>
            <a:off x="3873499" y="273058"/>
            <a:ext cx="5537201"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4" name="Text Placeholder 3"/>
          <p:cNvSpPr>
            <a:spLocks noGrp="1"/>
          </p:cNvSpPr>
          <p:nvPr>
            <p:ph type="body" sz="half" idx="2"/>
          </p:nvPr>
        </p:nvSpPr>
        <p:spPr>
          <a:xfrm>
            <a:off x="495305" y="1435103"/>
            <a:ext cx="3259138"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3600" cy="566738"/>
          </a:xfrm>
        </p:spPr>
        <p:txBody>
          <a:bodyPr anchor="b"/>
          <a:lstStyle>
            <a:lvl1pPr algn="l">
              <a:defRPr sz="2000" b="1"/>
            </a:lvl1pPr>
          </a:lstStyle>
          <a:p>
            <a:r>
              <a:rPr lang="en-US" smtClean="0"/>
              <a:t>Click to edit Master title style</a:t>
            </a:r>
            <a:endParaRPr lang="pt-BR"/>
          </a:p>
        </p:txBody>
      </p:sp>
      <p:sp>
        <p:nvSpPr>
          <p:cNvPr id="3" name="Picture Placeholder 2"/>
          <p:cNvSpPr>
            <a:spLocks noGrp="1"/>
          </p:cNvSpPr>
          <p:nvPr>
            <p:ph type="pic" idx="1"/>
          </p:nvPr>
        </p:nvSpPr>
        <p:spPr>
          <a:xfrm>
            <a:off x="1941513" y="612775"/>
            <a:ext cx="59436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pt-BR" noProof="0" smtClean="0"/>
          </a:p>
        </p:txBody>
      </p:sp>
      <p:sp>
        <p:nvSpPr>
          <p:cNvPr id="4" name="Text Placeholder 3"/>
          <p:cNvSpPr>
            <a:spLocks noGrp="1"/>
          </p:cNvSpPr>
          <p:nvPr>
            <p:ph type="body" sz="half" idx="2"/>
          </p:nvPr>
        </p:nvSpPr>
        <p:spPr>
          <a:xfrm>
            <a:off x="1941513" y="5367338"/>
            <a:ext cx="59436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
        <p:nvSpPr>
          <p:cNvPr id="3" name="Vertical Text Placeholder 2"/>
          <p:cNvSpPr>
            <a:spLocks noGrp="1"/>
          </p:cNvSpPr>
          <p:nvPr>
            <p:ph type="body" orient="vert" idx="1"/>
          </p:nvPr>
        </p:nvSpPr>
        <p:spPr>
          <a:xfrm>
            <a:off x="495300" y="1600206"/>
            <a:ext cx="89154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35815" y="227013"/>
            <a:ext cx="2274887" cy="5899150"/>
          </a:xfrm>
        </p:spPr>
        <p:txBody>
          <a:bodyPr vert="eaVert"/>
          <a:lstStyle/>
          <a:p>
            <a:r>
              <a:rPr lang="en-US" smtClean="0"/>
              <a:t>Click to edit Master title style</a:t>
            </a:r>
            <a:endParaRPr lang="pt-BR"/>
          </a:p>
        </p:txBody>
      </p:sp>
      <p:sp>
        <p:nvSpPr>
          <p:cNvPr id="3" name="Vertical Text Placeholder 2"/>
          <p:cNvSpPr>
            <a:spLocks noGrp="1"/>
          </p:cNvSpPr>
          <p:nvPr>
            <p:ph type="body" orient="vert" idx="1"/>
          </p:nvPr>
        </p:nvSpPr>
        <p:spPr>
          <a:xfrm>
            <a:off x="307976" y="227013"/>
            <a:ext cx="6675438" cy="5899150"/>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a:xfrm>
            <a:off x="495300" y="274638"/>
            <a:ext cx="8915400" cy="1143000"/>
          </a:xfrm>
          <a:prstGeom prst="rect">
            <a:avLst/>
          </a:prstGeom>
        </p:spPr>
        <p:txBody>
          <a:bodyPr/>
          <a:lstStyle/>
          <a:p>
            <a:r>
              <a:rPr lang="pt-BR" smtClean="0"/>
              <a:t>Clique para editar o estilo do título mestre</a:t>
            </a:r>
            <a:endParaRPr lang="pt-B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08014" y="227013"/>
            <a:ext cx="7980363" cy="457200"/>
          </a:xfrm>
        </p:spPr>
        <p:txBody>
          <a:bodyPr/>
          <a:lstStyle/>
          <a:p>
            <a:r>
              <a:rPr lang="en-US" smtClean="0"/>
              <a:t>Click to edit Master title style</a:t>
            </a:r>
            <a:endParaRPr lang="pt-BR"/>
          </a:p>
        </p:txBody>
      </p:sp>
      <p:sp>
        <p:nvSpPr>
          <p:cNvPr id="3" name="Chart Placeholder 2"/>
          <p:cNvSpPr>
            <a:spLocks noGrp="1"/>
          </p:cNvSpPr>
          <p:nvPr>
            <p:ph type="chart" idx="1"/>
          </p:nvPr>
        </p:nvSpPr>
        <p:spPr>
          <a:xfrm>
            <a:off x="495300" y="1600206"/>
            <a:ext cx="8915400" cy="4525963"/>
          </a:xfrm>
          <a:prstGeom prst="rect">
            <a:avLst/>
          </a:prstGeom>
        </p:spPr>
        <p:txBody>
          <a:bodyPr/>
          <a:lstStyle/>
          <a:p>
            <a:pPr lvl="0"/>
            <a:endParaRPr lang="pt-BR" noProof="0" smtClean="0"/>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507"/>
            <a:ext cx="8420100" cy="1470025"/>
          </a:xfrm>
        </p:spPr>
        <p:txBody>
          <a:bodyPr/>
          <a:lstStyle/>
          <a:p>
            <a:r>
              <a:rPr lang="en-US" smtClean="0"/>
              <a:t>Click to edit Master title style</a:t>
            </a:r>
            <a:endParaRPr lang="pt-BR"/>
          </a:p>
        </p:txBody>
      </p:sp>
      <p:sp>
        <p:nvSpPr>
          <p:cNvPr id="3" name="Subtitle 2"/>
          <p:cNvSpPr>
            <a:spLocks noGrp="1"/>
          </p:cNvSpPr>
          <p:nvPr>
            <p:ph type="subTitle" idx="1"/>
          </p:nvPr>
        </p:nvSpPr>
        <p:spPr>
          <a:xfrm>
            <a:off x="1485900" y="3886200"/>
            <a:ext cx="69342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pt-B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
        <p:nvSpPr>
          <p:cNvPr id="3" name="Content Placeholder 2"/>
          <p:cNvSpPr>
            <a:spLocks noGrp="1"/>
          </p:cNvSpPr>
          <p:nvPr>
            <p:ph idx="1"/>
          </p:nvPr>
        </p:nvSpPr>
        <p:spPr>
          <a:xfrm>
            <a:off x="495300" y="1600206"/>
            <a:ext cx="89154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82"/>
            <a:ext cx="8420100" cy="1362075"/>
          </a:xfrm>
        </p:spPr>
        <p:txBody>
          <a:bodyPr anchor="t"/>
          <a:lstStyle>
            <a:lvl1pPr algn="l">
              <a:defRPr sz="4000" b="1" cap="all"/>
            </a:lvl1pPr>
          </a:lstStyle>
          <a:p>
            <a:r>
              <a:rPr lang="en-US" smtClean="0"/>
              <a:t>Click to edit Master title style</a:t>
            </a:r>
            <a:endParaRPr lang="pt-BR"/>
          </a:p>
        </p:txBody>
      </p:sp>
      <p:sp>
        <p:nvSpPr>
          <p:cNvPr id="3" name="Text Placeholder 2"/>
          <p:cNvSpPr>
            <a:spLocks noGrp="1"/>
          </p:cNvSpPr>
          <p:nvPr>
            <p:ph type="body" idx="1"/>
          </p:nvPr>
        </p:nvSpPr>
        <p:spPr>
          <a:xfrm>
            <a:off x="782638" y="2906713"/>
            <a:ext cx="84201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
        <p:nvSpPr>
          <p:cNvPr id="3" name="Content Placeholder 2"/>
          <p:cNvSpPr>
            <a:spLocks noGrp="1"/>
          </p:cNvSpPr>
          <p:nvPr>
            <p:ph sz="half" idx="1"/>
          </p:nvPr>
        </p:nvSpPr>
        <p:spPr>
          <a:xfrm>
            <a:off x="495303"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4" name="Content Placeholder 3"/>
          <p:cNvSpPr>
            <a:spLocks noGrp="1"/>
          </p:cNvSpPr>
          <p:nvPr>
            <p:ph sz="half" idx="2"/>
          </p:nvPr>
        </p:nvSpPr>
        <p:spPr>
          <a:xfrm>
            <a:off x="5029199"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smtClean="0"/>
              <a:t>Click to edit Master title style</a:t>
            </a:r>
            <a:endParaRPr lang="pt-BR"/>
          </a:p>
        </p:txBody>
      </p:sp>
      <p:sp>
        <p:nvSpPr>
          <p:cNvPr id="3" name="Text Placeholder 2"/>
          <p:cNvSpPr>
            <a:spLocks noGrp="1"/>
          </p:cNvSpPr>
          <p:nvPr>
            <p:ph type="body" idx="1"/>
          </p:nvPr>
        </p:nvSpPr>
        <p:spPr>
          <a:xfrm>
            <a:off x="495300" y="1535113"/>
            <a:ext cx="437673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73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5" name="Text Placeholder 4"/>
          <p:cNvSpPr>
            <a:spLocks noGrp="1"/>
          </p:cNvSpPr>
          <p:nvPr>
            <p:ph type="body" sz="quarter" idx="3"/>
          </p:nvPr>
        </p:nvSpPr>
        <p:spPr>
          <a:xfrm>
            <a:off x="5032415" y="1535113"/>
            <a:ext cx="437832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415" y="2174875"/>
            <a:ext cx="437832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5" y="273050"/>
            <a:ext cx="3259138" cy="1162050"/>
          </a:xfrm>
        </p:spPr>
        <p:txBody>
          <a:bodyPr anchor="b"/>
          <a:lstStyle>
            <a:lvl1pPr algn="l">
              <a:defRPr sz="2000" b="1"/>
            </a:lvl1pPr>
          </a:lstStyle>
          <a:p>
            <a:r>
              <a:rPr lang="en-US" smtClean="0"/>
              <a:t>Click to edit Master title style</a:t>
            </a:r>
            <a:endParaRPr lang="pt-BR"/>
          </a:p>
        </p:txBody>
      </p:sp>
      <p:sp>
        <p:nvSpPr>
          <p:cNvPr id="3" name="Content Placeholder 2"/>
          <p:cNvSpPr>
            <a:spLocks noGrp="1"/>
          </p:cNvSpPr>
          <p:nvPr>
            <p:ph idx="1"/>
          </p:nvPr>
        </p:nvSpPr>
        <p:spPr>
          <a:xfrm>
            <a:off x="3873499" y="273058"/>
            <a:ext cx="5537201"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4" name="Text Placeholder 3"/>
          <p:cNvSpPr>
            <a:spLocks noGrp="1"/>
          </p:cNvSpPr>
          <p:nvPr>
            <p:ph type="body" sz="half" idx="2"/>
          </p:nvPr>
        </p:nvSpPr>
        <p:spPr>
          <a:xfrm>
            <a:off x="495305" y="1435103"/>
            <a:ext cx="3259138"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3600" cy="566738"/>
          </a:xfrm>
        </p:spPr>
        <p:txBody>
          <a:bodyPr anchor="b"/>
          <a:lstStyle>
            <a:lvl1pPr algn="l">
              <a:defRPr sz="2000" b="1"/>
            </a:lvl1pPr>
          </a:lstStyle>
          <a:p>
            <a:r>
              <a:rPr lang="en-US" smtClean="0"/>
              <a:t>Click to edit Master title style</a:t>
            </a:r>
            <a:endParaRPr lang="pt-BR"/>
          </a:p>
        </p:txBody>
      </p:sp>
      <p:sp>
        <p:nvSpPr>
          <p:cNvPr id="3" name="Picture Placeholder 2"/>
          <p:cNvSpPr>
            <a:spLocks noGrp="1"/>
          </p:cNvSpPr>
          <p:nvPr>
            <p:ph type="pic" idx="1"/>
          </p:nvPr>
        </p:nvSpPr>
        <p:spPr>
          <a:xfrm>
            <a:off x="1941513" y="612775"/>
            <a:ext cx="59436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pt-BR" noProof="0" smtClean="0"/>
          </a:p>
        </p:txBody>
      </p:sp>
      <p:sp>
        <p:nvSpPr>
          <p:cNvPr id="4" name="Text Placeholder 3"/>
          <p:cNvSpPr>
            <a:spLocks noGrp="1"/>
          </p:cNvSpPr>
          <p:nvPr>
            <p:ph type="body" sz="half" idx="2"/>
          </p:nvPr>
        </p:nvSpPr>
        <p:spPr>
          <a:xfrm>
            <a:off x="1941513" y="5367338"/>
            <a:ext cx="59436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
        <p:nvSpPr>
          <p:cNvPr id="3" name="Vertical Text Placeholder 2"/>
          <p:cNvSpPr>
            <a:spLocks noGrp="1"/>
          </p:cNvSpPr>
          <p:nvPr>
            <p:ph type="body" orient="vert" idx="1"/>
          </p:nvPr>
        </p:nvSpPr>
        <p:spPr>
          <a:xfrm>
            <a:off x="495300" y="1600206"/>
            <a:ext cx="89154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35815" y="227013"/>
            <a:ext cx="2274887" cy="5899150"/>
          </a:xfrm>
        </p:spPr>
        <p:txBody>
          <a:bodyPr vert="eaVert"/>
          <a:lstStyle/>
          <a:p>
            <a:r>
              <a:rPr lang="en-US" smtClean="0"/>
              <a:t>Click to edit Master title style</a:t>
            </a:r>
            <a:endParaRPr lang="pt-BR"/>
          </a:p>
        </p:txBody>
      </p:sp>
      <p:sp>
        <p:nvSpPr>
          <p:cNvPr id="3" name="Vertical Text Placeholder 2"/>
          <p:cNvSpPr>
            <a:spLocks noGrp="1"/>
          </p:cNvSpPr>
          <p:nvPr>
            <p:ph type="body" orient="vert" idx="1"/>
          </p:nvPr>
        </p:nvSpPr>
        <p:spPr>
          <a:xfrm>
            <a:off x="307976" y="227013"/>
            <a:ext cx="6675438" cy="5899150"/>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08014" y="227013"/>
            <a:ext cx="7980363" cy="457200"/>
          </a:xfrm>
        </p:spPr>
        <p:txBody>
          <a:bodyPr/>
          <a:lstStyle/>
          <a:p>
            <a:r>
              <a:rPr lang="en-US" smtClean="0"/>
              <a:t>Click to edit Master title style</a:t>
            </a:r>
            <a:endParaRPr lang="pt-BR"/>
          </a:p>
        </p:txBody>
      </p:sp>
      <p:sp>
        <p:nvSpPr>
          <p:cNvPr id="3" name="Table Placeholder 2"/>
          <p:cNvSpPr>
            <a:spLocks noGrp="1"/>
          </p:cNvSpPr>
          <p:nvPr>
            <p:ph type="tbl" idx="1"/>
          </p:nvPr>
        </p:nvSpPr>
        <p:spPr>
          <a:xfrm>
            <a:off x="495300" y="1600206"/>
            <a:ext cx="8915400" cy="4525963"/>
          </a:xfrm>
          <a:prstGeom prst="rect">
            <a:avLst/>
          </a:prstGeom>
        </p:spPr>
        <p:txBody>
          <a:bodyPr/>
          <a:lstStyle/>
          <a:p>
            <a:pPr lvl="0"/>
            <a:endParaRPr lang="pt-BR" noProof="0" smtClean="0"/>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08014" y="227013"/>
            <a:ext cx="7980363" cy="457200"/>
          </a:xfrm>
        </p:spPr>
        <p:txBody>
          <a:bodyPr/>
          <a:lstStyle/>
          <a:p>
            <a:r>
              <a:rPr lang="en-US" smtClean="0"/>
              <a:t>Click to edit Master title style</a:t>
            </a:r>
            <a:endParaRPr lang="pt-BR"/>
          </a:p>
        </p:txBody>
      </p:sp>
      <p:sp>
        <p:nvSpPr>
          <p:cNvPr id="3" name="Chart Placeholder 2"/>
          <p:cNvSpPr>
            <a:spLocks noGrp="1"/>
          </p:cNvSpPr>
          <p:nvPr>
            <p:ph type="chart" idx="1"/>
          </p:nvPr>
        </p:nvSpPr>
        <p:spPr>
          <a:xfrm>
            <a:off x="495300" y="1600206"/>
            <a:ext cx="8915400" cy="4525963"/>
          </a:xfrm>
          <a:prstGeom prst="rect">
            <a:avLst/>
          </a:prstGeom>
        </p:spPr>
        <p:txBody>
          <a:bodyPr/>
          <a:lstStyle/>
          <a:p>
            <a:pPr lvl="0"/>
            <a:endParaRPr lang="pt-BR" noProof="0" smtClean="0"/>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507"/>
            <a:ext cx="8420100" cy="1470025"/>
          </a:xfrm>
        </p:spPr>
        <p:txBody>
          <a:bodyPr/>
          <a:lstStyle/>
          <a:p>
            <a:r>
              <a:rPr lang="en-US" smtClean="0"/>
              <a:t>Click to edit Master title style</a:t>
            </a:r>
            <a:endParaRPr lang="pt-BR"/>
          </a:p>
        </p:txBody>
      </p:sp>
      <p:sp>
        <p:nvSpPr>
          <p:cNvPr id="3" name="Subtitle 2"/>
          <p:cNvSpPr>
            <a:spLocks noGrp="1"/>
          </p:cNvSpPr>
          <p:nvPr>
            <p:ph type="subTitle" idx="1"/>
          </p:nvPr>
        </p:nvSpPr>
        <p:spPr>
          <a:xfrm>
            <a:off x="1485900" y="3886200"/>
            <a:ext cx="69342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pt-BR"/>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
        <p:nvSpPr>
          <p:cNvPr id="3" name="Content Placeholder 2"/>
          <p:cNvSpPr>
            <a:spLocks noGrp="1"/>
          </p:cNvSpPr>
          <p:nvPr>
            <p:ph idx="1"/>
          </p:nvPr>
        </p:nvSpPr>
        <p:spPr>
          <a:xfrm>
            <a:off x="495300" y="1600206"/>
            <a:ext cx="89154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82"/>
            <a:ext cx="8420100" cy="1362075"/>
          </a:xfrm>
        </p:spPr>
        <p:txBody>
          <a:bodyPr anchor="t"/>
          <a:lstStyle>
            <a:lvl1pPr algn="l">
              <a:defRPr sz="4000" b="1" cap="all"/>
            </a:lvl1pPr>
          </a:lstStyle>
          <a:p>
            <a:r>
              <a:rPr lang="en-US" smtClean="0"/>
              <a:t>Click to edit Master title style</a:t>
            </a:r>
            <a:endParaRPr lang="pt-BR"/>
          </a:p>
        </p:txBody>
      </p:sp>
      <p:sp>
        <p:nvSpPr>
          <p:cNvPr id="3" name="Text Placeholder 2"/>
          <p:cNvSpPr>
            <a:spLocks noGrp="1"/>
          </p:cNvSpPr>
          <p:nvPr>
            <p:ph type="body" idx="1"/>
          </p:nvPr>
        </p:nvSpPr>
        <p:spPr>
          <a:xfrm>
            <a:off x="782638" y="2906713"/>
            <a:ext cx="84201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
        <p:nvSpPr>
          <p:cNvPr id="3" name="Content Placeholder 2"/>
          <p:cNvSpPr>
            <a:spLocks noGrp="1"/>
          </p:cNvSpPr>
          <p:nvPr>
            <p:ph sz="half" idx="1"/>
          </p:nvPr>
        </p:nvSpPr>
        <p:spPr>
          <a:xfrm>
            <a:off x="495303"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4" name="Content Placeholder 3"/>
          <p:cNvSpPr>
            <a:spLocks noGrp="1"/>
          </p:cNvSpPr>
          <p:nvPr>
            <p:ph sz="half" idx="2"/>
          </p:nvPr>
        </p:nvSpPr>
        <p:spPr>
          <a:xfrm>
            <a:off x="5029199"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smtClean="0"/>
              <a:t>Click to edit Master title style</a:t>
            </a:r>
            <a:endParaRPr lang="pt-BR"/>
          </a:p>
        </p:txBody>
      </p:sp>
      <p:sp>
        <p:nvSpPr>
          <p:cNvPr id="3" name="Text Placeholder 2"/>
          <p:cNvSpPr>
            <a:spLocks noGrp="1"/>
          </p:cNvSpPr>
          <p:nvPr>
            <p:ph type="body" idx="1"/>
          </p:nvPr>
        </p:nvSpPr>
        <p:spPr>
          <a:xfrm>
            <a:off x="495300" y="1535113"/>
            <a:ext cx="437673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73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5" name="Text Placeholder 4"/>
          <p:cNvSpPr>
            <a:spLocks noGrp="1"/>
          </p:cNvSpPr>
          <p:nvPr>
            <p:ph type="body" sz="quarter" idx="3"/>
          </p:nvPr>
        </p:nvSpPr>
        <p:spPr>
          <a:xfrm>
            <a:off x="5032415" y="1535113"/>
            <a:ext cx="437832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415" y="2174875"/>
            <a:ext cx="437832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495305" y="273050"/>
            <a:ext cx="3259138" cy="1162050"/>
          </a:xfrm>
          <a:prstGeom prst="rect">
            <a:avLst/>
          </a:prstGeom>
        </p:spPr>
        <p:txBody>
          <a:bodyPr anchor="b"/>
          <a:lstStyle>
            <a:lvl1pPr algn="l">
              <a:defRPr sz="2000" b="1"/>
            </a:lvl1pPr>
          </a:lstStyle>
          <a:p>
            <a:r>
              <a:rPr lang="pt-BR" smtClean="0"/>
              <a:t>Clique para editar o estilo do título mestre</a:t>
            </a:r>
            <a:endParaRPr lang="pt-BR"/>
          </a:p>
        </p:txBody>
      </p:sp>
      <p:sp>
        <p:nvSpPr>
          <p:cNvPr id="3" name="Espaço Reservado para Conteúdo 2"/>
          <p:cNvSpPr>
            <a:spLocks noGrp="1"/>
          </p:cNvSpPr>
          <p:nvPr>
            <p:ph idx="1"/>
          </p:nvPr>
        </p:nvSpPr>
        <p:spPr>
          <a:xfrm>
            <a:off x="3873499" y="273058"/>
            <a:ext cx="5537201"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Texto 3"/>
          <p:cNvSpPr>
            <a:spLocks noGrp="1"/>
          </p:cNvSpPr>
          <p:nvPr>
            <p:ph type="body" sz="half" idx="2"/>
          </p:nvPr>
        </p:nvSpPr>
        <p:spPr>
          <a:xfrm>
            <a:off x="495305" y="1435103"/>
            <a:ext cx="3259138"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5" y="273050"/>
            <a:ext cx="3259138" cy="1162050"/>
          </a:xfrm>
        </p:spPr>
        <p:txBody>
          <a:bodyPr anchor="b"/>
          <a:lstStyle>
            <a:lvl1pPr algn="l">
              <a:defRPr sz="2000" b="1"/>
            </a:lvl1pPr>
          </a:lstStyle>
          <a:p>
            <a:r>
              <a:rPr lang="en-US" smtClean="0"/>
              <a:t>Click to edit Master title style</a:t>
            </a:r>
            <a:endParaRPr lang="pt-BR"/>
          </a:p>
        </p:txBody>
      </p:sp>
      <p:sp>
        <p:nvSpPr>
          <p:cNvPr id="3" name="Content Placeholder 2"/>
          <p:cNvSpPr>
            <a:spLocks noGrp="1"/>
          </p:cNvSpPr>
          <p:nvPr>
            <p:ph idx="1"/>
          </p:nvPr>
        </p:nvSpPr>
        <p:spPr>
          <a:xfrm>
            <a:off x="3873499" y="273058"/>
            <a:ext cx="5537201"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4" name="Text Placeholder 3"/>
          <p:cNvSpPr>
            <a:spLocks noGrp="1"/>
          </p:cNvSpPr>
          <p:nvPr>
            <p:ph type="body" sz="half" idx="2"/>
          </p:nvPr>
        </p:nvSpPr>
        <p:spPr>
          <a:xfrm>
            <a:off x="495305" y="1435103"/>
            <a:ext cx="3259138"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3600" cy="566738"/>
          </a:xfrm>
        </p:spPr>
        <p:txBody>
          <a:bodyPr anchor="b"/>
          <a:lstStyle>
            <a:lvl1pPr algn="l">
              <a:defRPr sz="2000" b="1"/>
            </a:lvl1pPr>
          </a:lstStyle>
          <a:p>
            <a:r>
              <a:rPr lang="en-US" smtClean="0"/>
              <a:t>Click to edit Master title style</a:t>
            </a:r>
            <a:endParaRPr lang="pt-BR"/>
          </a:p>
        </p:txBody>
      </p:sp>
      <p:sp>
        <p:nvSpPr>
          <p:cNvPr id="3" name="Picture Placeholder 2"/>
          <p:cNvSpPr>
            <a:spLocks noGrp="1"/>
          </p:cNvSpPr>
          <p:nvPr>
            <p:ph type="pic" idx="1"/>
          </p:nvPr>
        </p:nvSpPr>
        <p:spPr>
          <a:xfrm>
            <a:off x="1941513" y="612775"/>
            <a:ext cx="59436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pt-BR" noProof="0" smtClean="0"/>
          </a:p>
        </p:txBody>
      </p:sp>
      <p:sp>
        <p:nvSpPr>
          <p:cNvPr id="4" name="Text Placeholder 3"/>
          <p:cNvSpPr>
            <a:spLocks noGrp="1"/>
          </p:cNvSpPr>
          <p:nvPr>
            <p:ph type="body" sz="half" idx="2"/>
          </p:nvPr>
        </p:nvSpPr>
        <p:spPr>
          <a:xfrm>
            <a:off x="1941513" y="5367338"/>
            <a:ext cx="59436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
        <p:nvSpPr>
          <p:cNvPr id="3" name="Vertical Text Placeholder 2"/>
          <p:cNvSpPr>
            <a:spLocks noGrp="1"/>
          </p:cNvSpPr>
          <p:nvPr>
            <p:ph type="body" orient="vert" idx="1"/>
          </p:nvPr>
        </p:nvSpPr>
        <p:spPr>
          <a:xfrm>
            <a:off x="495300" y="1600206"/>
            <a:ext cx="89154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35815" y="227013"/>
            <a:ext cx="2274887" cy="5899150"/>
          </a:xfrm>
        </p:spPr>
        <p:txBody>
          <a:bodyPr vert="eaVert"/>
          <a:lstStyle/>
          <a:p>
            <a:r>
              <a:rPr lang="en-US" smtClean="0"/>
              <a:t>Click to edit Master title style</a:t>
            </a:r>
            <a:endParaRPr lang="pt-BR"/>
          </a:p>
        </p:txBody>
      </p:sp>
      <p:sp>
        <p:nvSpPr>
          <p:cNvPr id="3" name="Vertical Text Placeholder 2"/>
          <p:cNvSpPr>
            <a:spLocks noGrp="1"/>
          </p:cNvSpPr>
          <p:nvPr>
            <p:ph type="body" orient="vert" idx="1"/>
          </p:nvPr>
        </p:nvSpPr>
        <p:spPr>
          <a:xfrm>
            <a:off x="307976" y="227013"/>
            <a:ext cx="6675438" cy="5899150"/>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742950" y="2130507"/>
            <a:ext cx="8420100" cy="1470025"/>
          </a:xfrm>
          <a:prstGeom prst="rect">
            <a:avLst/>
          </a:prstGeom>
        </p:spPr>
        <p:txBody>
          <a:bodyPr/>
          <a:lstStyle/>
          <a:p>
            <a:r>
              <a:rPr lang="pt-BR" smtClean="0"/>
              <a:t>Clique para editar o estilo do título mestre</a:t>
            </a:r>
            <a:endParaRPr lang="pt-BR"/>
          </a:p>
        </p:txBody>
      </p:sp>
      <p:sp>
        <p:nvSpPr>
          <p:cNvPr id="3" name="Subtítulo 2"/>
          <p:cNvSpPr>
            <a:spLocks noGrp="1"/>
          </p:cNvSpPr>
          <p:nvPr>
            <p:ph type="subTitle" idx="1"/>
          </p:nvPr>
        </p:nvSpPr>
        <p:spPr>
          <a:xfrm>
            <a:off x="1485900" y="3886200"/>
            <a:ext cx="69342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pt-BR" smtClean="0"/>
              <a:t>Clique para editar o estilo do subtítulo mestre</a:t>
            </a:r>
            <a:endParaRPr lang="pt-B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a:xfrm>
            <a:off x="495300" y="274638"/>
            <a:ext cx="8915400" cy="1143000"/>
          </a:xfrm>
          <a:prstGeom prst="rect">
            <a:avLst/>
          </a:prstGeom>
        </p:spPr>
        <p:txBody>
          <a:bodyPr/>
          <a:lstStyle/>
          <a:p>
            <a:r>
              <a:rPr lang="pt-BR" smtClean="0"/>
              <a:t>Clique para editar o estilo do título mestre</a:t>
            </a:r>
            <a:endParaRPr lang="pt-BR"/>
          </a:p>
        </p:txBody>
      </p:sp>
      <p:sp>
        <p:nvSpPr>
          <p:cNvPr id="3" name="Espaço Reservado para Conteúdo 2"/>
          <p:cNvSpPr>
            <a:spLocks noGrp="1"/>
          </p:cNvSpPr>
          <p:nvPr>
            <p:ph idx="1"/>
          </p:nvPr>
        </p:nvSpPr>
        <p:spPr>
          <a:xfrm>
            <a:off x="495300" y="1600206"/>
            <a:ext cx="8915400" cy="4525963"/>
          </a:xfrm>
          <a:prstGeom prst="rect">
            <a:avLst/>
          </a:prstGeom>
        </p:spPr>
        <p:txBody>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p:cNvSpPr>
            <a:spLocks noGrp="1"/>
          </p:cNvSpPr>
          <p:nvPr>
            <p:ph type="title"/>
          </p:nvPr>
        </p:nvSpPr>
        <p:spPr>
          <a:xfrm>
            <a:off x="782638" y="4406982"/>
            <a:ext cx="8420100" cy="1362075"/>
          </a:xfrm>
          <a:prstGeom prst="rect">
            <a:avLst/>
          </a:prstGeom>
        </p:spPr>
        <p:txBody>
          <a:bodyPr anchor="t"/>
          <a:lstStyle>
            <a:lvl1pPr algn="l">
              <a:defRPr sz="4000" b="1" cap="all"/>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782638" y="2906713"/>
            <a:ext cx="84201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pt-BR" smtClean="0"/>
              <a:t>Clique para editar os estilos do texto mestre</a:t>
            </a:r>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a:xfrm>
            <a:off x="495300" y="274638"/>
            <a:ext cx="8915400" cy="1143000"/>
          </a:xfrm>
          <a:prstGeom prst="rect">
            <a:avLst/>
          </a:prstGeom>
        </p:spPr>
        <p:txBody>
          <a:bodyPr/>
          <a:lstStyle/>
          <a:p>
            <a:r>
              <a:rPr lang="pt-BR" smtClean="0"/>
              <a:t>Clique para editar o estilo do título mestre</a:t>
            </a:r>
            <a:endParaRPr lang="pt-BR"/>
          </a:p>
        </p:txBody>
      </p:sp>
      <p:sp>
        <p:nvSpPr>
          <p:cNvPr id="3" name="Espaço Reservado para Conteúdo 2"/>
          <p:cNvSpPr>
            <a:spLocks noGrp="1"/>
          </p:cNvSpPr>
          <p:nvPr>
            <p:ph sz="half" idx="1"/>
          </p:nvPr>
        </p:nvSpPr>
        <p:spPr>
          <a:xfrm>
            <a:off x="495303"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Conteúdo 3"/>
          <p:cNvSpPr>
            <a:spLocks noGrp="1"/>
          </p:cNvSpPr>
          <p:nvPr>
            <p:ph sz="half" idx="2"/>
          </p:nvPr>
        </p:nvSpPr>
        <p:spPr>
          <a:xfrm>
            <a:off x="5029199"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a:xfrm>
            <a:off x="495300" y="274638"/>
            <a:ext cx="8915400" cy="1143000"/>
          </a:xfrm>
          <a:prstGeom prst="rect">
            <a:avLst/>
          </a:prstGeom>
        </p:spPr>
        <p:txBody>
          <a:bodyPr/>
          <a:lstStyle>
            <a:lvl1pPr>
              <a:defRPr/>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495300" y="1535113"/>
            <a:ext cx="437673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4" name="Espaço Reservado para Conteúdo 3"/>
          <p:cNvSpPr>
            <a:spLocks noGrp="1"/>
          </p:cNvSpPr>
          <p:nvPr>
            <p:ph sz="half" idx="2"/>
          </p:nvPr>
        </p:nvSpPr>
        <p:spPr>
          <a:xfrm>
            <a:off x="495300" y="2174875"/>
            <a:ext cx="437673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Texto 4"/>
          <p:cNvSpPr>
            <a:spLocks noGrp="1"/>
          </p:cNvSpPr>
          <p:nvPr>
            <p:ph type="body" sz="quarter" idx="3"/>
          </p:nvPr>
        </p:nvSpPr>
        <p:spPr>
          <a:xfrm>
            <a:off x="5032415" y="1535113"/>
            <a:ext cx="437832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6" name="Espaço Reservado para Conteúdo 5"/>
          <p:cNvSpPr>
            <a:spLocks noGrp="1"/>
          </p:cNvSpPr>
          <p:nvPr>
            <p:ph sz="quarter" idx="4"/>
          </p:nvPr>
        </p:nvSpPr>
        <p:spPr>
          <a:xfrm>
            <a:off x="5032415" y="2174875"/>
            <a:ext cx="437832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1941513" y="4800600"/>
            <a:ext cx="5943600" cy="566738"/>
          </a:xfrm>
          <a:prstGeom prst="rect">
            <a:avLst/>
          </a:prstGeom>
        </p:spPr>
        <p:txBody>
          <a:bodyPr anchor="b"/>
          <a:lstStyle>
            <a:lvl1pPr algn="l">
              <a:defRPr sz="2000" b="1"/>
            </a:lvl1pPr>
          </a:lstStyle>
          <a:p>
            <a:r>
              <a:rPr lang="pt-BR" smtClean="0"/>
              <a:t>Clique para editar o estilo do título mestre</a:t>
            </a:r>
            <a:endParaRPr lang="pt-BR"/>
          </a:p>
        </p:txBody>
      </p:sp>
      <p:sp>
        <p:nvSpPr>
          <p:cNvPr id="3" name="Espaço Reservado para Imagem 2"/>
          <p:cNvSpPr>
            <a:spLocks noGrp="1"/>
          </p:cNvSpPr>
          <p:nvPr>
            <p:ph type="pic" idx="1"/>
          </p:nvPr>
        </p:nvSpPr>
        <p:spPr>
          <a:xfrm>
            <a:off x="1941513" y="612775"/>
            <a:ext cx="59436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pt-BR" noProof="0" smtClean="0"/>
          </a:p>
        </p:txBody>
      </p:sp>
      <p:sp>
        <p:nvSpPr>
          <p:cNvPr id="4" name="Espaço Reservado para Texto 3"/>
          <p:cNvSpPr>
            <a:spLocks noGrp="1"/>
          </p:cNvSpPr>
          <p:nvPr>
            <p:ph type="body" sz="half" idx="2"/>
          </p:nvPr>
        </p:nvSpPr>
        <p:spPr>
          <a:xfrm>
            <a:off x="1941513" y="5367338"/>
            <a:ext cx="59436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a:xfrm>
            <a:off x="495300" y="274638"/>
            <a:ext cx="8915400" cy="1143000"/>
          </a:xfrm>
          <a:prstGeom prst="rect">
            <a:avLst/>
          </a:prstGeom>
        </p:spPr>
        <p:txBody>
          <a:bodyPr/>
          <a:lstStyle/>
          <a:p>
            <a:r>
              <a:rPr lang="pt-BR" smtClean="0"/>
              <a:t>Clique para editar o estilo do título mestre</a:t>
            </a:r>
            <a:endParaRPr lang="pt-BR"/>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495305" y="273050"/>
            <a:ext cx="3259138" cy="1162050"/>
          </a:xfrm>
          <a:prstGeom prst="rect">
            <a:avLst/>
          </a:prstGeom>
        </p:spPr>
        <p:txBody>
          <a:bodyPr anchor="b"/>
          <a:lstStyle>
            <a:lvl1pPr algn="l">
              <a:defRPr sz="2000" b="1"/>
            </a:lvl1pPr>
          </a:lstStyle>
          <a:p>
            <a:r>
              <a:rPr lang="pt-BR" smtClean="0"/>
              <a:t>Clique para editar o estilo do título mestre</a:t>
            </a:r>
            <a:endParaRPr lang="pt-BR"/>
          </a:p>
        </p:txBody>
      </p:sp>
      <p:sp>
        <p:nvSpPr>
          <p:cNvPr id="3" name="Espaço Reservado para Conteúdo 2"/>
          <p:cNvSpPr>
            <a:spLocks noGrp="1"/>
          </p:cNvSpPr>
          <p:nvPr>
            <p:ph idx="1"/>
          </p:nvPr>
        </p:nvSpPr>
        <p:spPr>
          <a:xfrm>
            <a:off x="3873499" y="273058"/>
            <a:ext cx="5537201"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Texto 3"/>
          <p:cNvSpPr>
            <a:spLocks noGrp="1"/>
          </p:cNvSpPr>
          <p:nvPr>
            <p:ph type="body" sz="half" idx="2"/>
          </p:nvPr>
        </p:nvSpPr>
        <p:spPr>
          <a:xfrm>
            <a:off x="495305" y="1435103"/>
            <a:ext cx="3259138"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1941513" y="4800600"/>
            <a:ext cx="5943600" cy="566738"/>
          </a:xfrm>
          <a:prstGeom prst="rect">
            <a:avLst/>
          </a:prstGeom>
        </p:spPr>
        <p:txBody>
          <a:bodyPr anchor="b"/>
          <a:lstStyle>
            <a:lvl1pPr algn="l">
              <a:defRPr sz="2000" b="1"/>
            </a:lvl1pPr>
          </a:lstStyle>
          <a:p>
            <a:r>
              <a:rPr lang="pt-BR" smtClean="0"/>
              <a:t>Clique para editar o estilo do título mestre</a:t>
            </a:r>
            <a:endParaRPr lang="pt-BR"/>
          </a:p>
        </p:txBody>
      </p:sp>
      <p:sp>
        <p:nvSpPr>
          <p:cNvPr id="3" name="Espaço Reservado para Imagem 2"/>
          <p:cNvSpPr>
            <a:spLocks noGrp="1"/>
          </p:cNvSpPr>
          <p:nvPr>
            <p:ph type="pic" idx="1"/>
          </p:nvPr>
        </p:nvSpPr>
        <p:spPr>
          <a:xfrm>
            <a:off x="1941513" y="612775"/>
            <a:ext cx="59436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pt-BR" noProof="0" smtClean="0"/>
          </a:p>
        </p:txBody>
      </p:sp>
      <p:sp>
        <p:nvSpPr>
          <p:cNvPr id="4" name="Espaço Reservado para Texto 3"/>
          <p:cNvSpPr>
            <a:spLocks noGrp="1"/>
          </p:cNvSpPr>
          <p:nvPr>
            <p:ph type="body" sz="half" idx="2"/>
          </p:nvPr>
        </p:nvSpPr>
        <p:spPr>
          <a:xfrm>
            <a:off x="1941513" y="5367338"/>
            <a:ext cx="59436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a:xfrm>
            <a:off x="495300" y="274638"/>
            <a:ext cx="8915400" cy="1143000"/>
          </a:xfrm>
          <a:prstGeom prst="rect">
            <a:avLst/>
          </a:prstGeom>
        </p:spPr>
        <p:txBody>
          <a:bodyPr/>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a:xfrm>
            <a:off x="495300" y="1600206"/>
            <a:ext cx="8915400" cy="4525963"/>
          </a:xfrm>
          <a:prstGeom prst="rect">
            <a:avLst/>
          </a:prstGeom>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7181850" y="274645"/>
            <a:ext cx="2228850" cy="5851525"/>
          </a:xfrm>
          <a:prstGeom prst="rect">
            <a:avLst/>
          </a:prstGeom>
        </p:spPr>
        <p:txBody>
          <a:bodyPr vert="eaVert"/>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a:xfrm>
            <a:off x="495308" y="274645"/>
            <a:ext cx="6534150" cy="5851525"/>
          </a:xfrm>
          <a:prstGeom prst="rect">
            <a:avLst/>
          </a:prstGeom>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507"/>
            <a:ext cx="8420100" cy="1470025"/>
          </a:xfrm>
        </p:spPr>
        <p:txBody>
          <a:bodyPr/>
          <a:lstStyle/>
          <a:p>
            <a:r>
              <a:rPr lang="en-US" smtClean="0"/>
              <a:t>Click to edit Master title style</a:t>
            </a:r>
            <a:endParaRPr lang="pt-BR"/>
          </a:p>
        </p:txBody>
      </p:sp>
      <p:sp>
        <p:nvSpPr>
          <p:cNvPr id="3" name="Subtitle 2"/>
          <p:cNvSpPr>
            <a:spLocks noGrp="1"/>
          </p:cNvSpPr>
          <p:nvPr>
            <p:ph type="subTitle" idx="1"/>
          </p:nvPr>
        </p:nvSpPr>
        <p:spPr>
          <a:xfrm>
            <a:off x="1485900" y="3886200"/>
            <a:ext cx="69342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pt-BR"/>
          </a:p>
        </p:txBody>
      </p:sp>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
        <p:nvSpPr>
          <p:cNvPr id="3" name="Content Placeholder 2"/>
          <p:cNvSpPr>
            <a:spLocks noGrp="1"/>
          </p:cNvSpPr>
          <p:nvPr>
            <p:ph idx="1"/>
          </p:nvPr>
        </p:nvSpPr>
        <p:spPr>
          <a:xfrm>
            <a:off x="495300" y="1600206"/>
            <a:ext cx="89154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82"/>
            <a:ext cx="8420100" cy="1362075"/>
          </a:xfrm>
        </p:spPr>
        <p:txBody>
          <a:bodyPr anchor="t"/>
          <a:lstStyle>
            <a:lvl1pPr algn="l">
              <a:defRPr sz="4000" b="1" cap="all"/>
            </a:lvl1pPr>
          </a:lstStyle>
          <a:p>
            <a:r>
              <a:rPr lang="en-US" smtClean="0"/>
              <a:t>Click to edit Master title style</a:t>
            </a:r>
            <a:endParaRPr lang="pt-BR"/>
          </a:p>
        </p:txBody>
      </p:sp>
      <p:sp>
        <p:nvSpPr>
          <p:cNvPr id="3" name="Text Placeholder 2"/>
          <p:cNvSpPr>
            <a:spLocks noGrp="1"/>
          </p:cNvSpPr>
          <p:nvPr>
            <p:ph type="body" idx="1"/>
          </p:nvPr>
        </p:nvSpPr>
        <p:spPr>
          <a:xfrm>
            <a:off x="782638" y="2906713"/>
            <a:ext cx="84201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BR"/>
          </a:p>
        </p:txBody>
      </p:sp>
      <p:sp>
        <p:nvSpPr>
          <p:cNvPr id="3" name="Content Placeholder 2"/>
          <p:cNvSpPr>
            <a:spLocks noGrp="1"/>
          </p:cNvSpPr>
          <p:nvPr>
            <p:ph sz="half" idx="1"/>
          </p:nvPr>
        </p:nvSpPr>
        <p:spPr>
          <a:xfrm>
            <a:off x="495303"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4" name="Content Placeholder 3"/>
          <p:cNvSpPr>
            <a:spLocks noGrp="1"/>
          </p:cNvSpPr>
          <p:nvPr>
            <p:ph sz="half" idx="2"/>
          </p:nvPr>
        </p:nvSpPr>
        <p:spPr>
          <a:xfrm>
            <a:off x="5029199" y="1600206"/>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slideLayout" Target="../slideLayouts/slideLayout120.xml"/><Relationship Id="rId18" Type="http://schemas.openxmlformats.org/officeDocument/2006/relationships/image" Target="../media/image2.jpeg"/><Relationship Id="rId3" Type="http://schemas.openxmlformats.org/officeDocument/2006/relationships/slideLayout" Target="../slideLayouts/slideLayout110.xml"/><Relationship Id="rId7" Type="http://schemas.openxmlformats.org/officeDocument/2006/relationships/slideLayout" Target="../slideLayouts/slideLayout114.xml"/><Relationship Id="rId12" Type="http://schemas.openxmlformats.org/officeDocument/2006/relationships/slideLayout" Target="../slideLayouts/slideLayout119.xml"/><Relationship Id="rId17" Type="http://schemas.openxmlformats.org/officeDocument/2006/relationships/tags" Target="../tags/tag9.xml"/><Relationship Id="rId2" Type="http://schemas.openxmlformats.org/officeDocument/2006/relationships/slideLayout" Target="../slideLayouts/slideLayout109.xml"/><Relationship Id="rId16" Type="http://schemas.openxmlformats.org/officeDocument/2006/relationships/theme" Target="../theme/theme10.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5" Type="http://schemas.openxmlformats.org/officeDocument/2006/relationships/slideLayout" Target="../slideLayouts/slideLayout112.xml"/><Relationship Id="rId15" Type="http://schemas.openxmlformats.org/officeDocument/2006/relationships/slideLayout" Target="../slideLayouts/slideLayout122.xml"/><Relationship Id="rId10" Type="http://schemas.openxmlformats.org/officeDocument/2006/relationships/slideLayout" Target="../slideLayouts/slideLayout117.xml"/><Relationship Id="rId19" Type="http://schemas.openxmlformats.org/officeDocument/2006/relationships/image" Target="../media/image3.jpeg"/><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slideLayout" Target="../slideLayouts/slideLayout12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tags" Target="../tags/tag10.xml"/><Relationship Id="rId3" Type="http://schemas.openxmlformats.org/officeDocument/2006/relationships/slideLayout" Target="../slideLayouts/slideLayout125.xml"/><Relationship Id="rId7" Type="http://schemas.openxmlformats.org/officeDocument/2006/relationships/slideLayout" Target="../slideLayouts/slideLayout129.xml"/><Relationship Id="rId12" Type="http://schemas.openxmlformats.org/officeDocument/2006/relationships/theme" Target="../theme/theme11.xml"/><Relationship Id="rId2" Type="http://schemas.openxmlformats.org/officeDocument/2006/relationships/slideLayout" Target="../slideLayouts/slideLayout124.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5" Type="http://schemas.openxmlformats.org/officeDocument/2006/relationships/slideLayout" Target="../slideLayouts/slideLayout127.xml"/><Relationship Id="rId15" Type="http://schemas.openxmlformats.org/officeDocument/2006/relationships/image" Target="../media/image3.jpeg"/><Relationship Id="rId10" Type="http://schemas.openxmlformats.org/officeDocument/2006/relationships/slideLayout" Target="../slideLayouts/slideLayout132.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image" Target="../media/image2.jpe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41.xml"/><Relationship Id="rId13" Type="http://schemas.openxmlformats.org/officeDocument/2006/relationships/tags" Target="../tags/tag11.xml"/><Relationship Id="rId3" Type="http://schemas.openxmlformats.org/officeDocument/2006/relationships/slideLayout" Target="../slideLayouts/slideLayout136.xml"/><Relationship Id="rId7" Type="http://schemas.openxmlformats.org/officeDocument/2006/relationships/slideLayout" Target="../slideLayouts/slideLayout140.xml"/><Relationship Id="rId12" Type="http://schemas.openxmlformats.org/officeDocument/2006/relationships/theme" Target="../theme/theme12.xml"/><Relationship Id="rId2" Type="http://schemas.openxmlformats.org/officeDocument/2006/relationships/slideLayout" Target="../slideLayouts/slideLayout135.xml"/><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slideLayout" Target="../slideLayouts/slideLayout144.xml"/><Relationship Id="rId5" Type="http://schemas.openxmlformats.org/officeDocument/2006/relationships/slideLayout" Target="../slideLayouts/slideLayout138.xml"/><Relationship Id="rId15" Type="http://schemas.openxmlformats.org/officeDocument/2006/relationships/image" Target="../media/image3.jpeg"/><Relationship Id="rId10" Type="http://schemas.openxmlformats.org/officeDocument/2006/relationships/slideLayout" Target="../slideLayouts/slideLayout143.xml"/><Relationship Id="rId4" Type="http://schemas.openxmlformats.org/officeDocument/2006/relationships/slideLayout" Target="../slideLayouts/slideLayout137.xml"/><Relationship Id="rId9" Type="http://schemas.openxmlformats.org/officeDocument/2006/relationships/slideLayout" Target="../slideLayouts/slideLayout142.xml"/><Relationship Id="rId14" Type="http://schemas.openxmlformats.org/officeDocument/2006/relationships/image" Target="../media/image2.jpe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theme" Target="../theme/theme13.xml"/><Relationship Id="rId3" Type="http://schemas.openxmlformats.org/officeDocument/2006/relationships/slideLayout" Target="../slideLayouts/slideLayout147.xml"/><Relationship Id="rId7" Type="http://schemas.openxmlformats.org/officeDocument/2006/relationships/slideLayout" Target="../slideLayouts/slideLayout151.xml"/><Relationship Id="rId12" Type="http://schemas.openxmlformats.org/officeDocument/2006/relationships/slideLayout" Target="../slideLayouts/slideLayout156.xml"/><Relationship Id="rId2" Type="http://schemas.openxmlformats.org/officeDocument/2006/relationships/slideLayout" Target="../slideLayouts/slideLayout146.xml"/><Relationship Id="rId16" Type="http://schemas.openxmlformats.org/officeDocument/2006/relationships/image" Target="../media/image3.jpeg"/><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slideLayout" Target="../slideLayouts/slideLayout155.xml"/><Relationship Id="rId5" Type="http://schemas.openxmlformats.org/officeDocument/2006/relationships/slideLayout" Target="../slideLayouts/slideLayout149.xml"/><Relationship Id="rId15" Type="http://schemas.openxmlformats.org/officeDocument/2006/relationships/image" Target="../media/image2.jpeg"/><Relationship Id="rId10" Type="http://schemas.openxmlformats.org/officeDocument/2006/relationships/slideLayout" Target="../slideLayouts/slideLayout154.xml"/><Relationship Id="rId4" Type="http://schemas.openxmlformats.org/officeDocument/2006/relationships/slideLayout" Target="../slideLayouts/slideLayout148.xml"/><Relationship Id="rId9" Type="http://schemas.openxmlformats.org/officeDocument/2006/relationships/slideLayout" Target="../slideLayouts/slideLayout153.xml"/><Relationship Id="rId14" Type="http://schemas.openxmlformats.org/officeDocument/2006/relationships/tags" Target="../tags/tag12.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3" Type="http://schemas.openxmlformats.org/officeDocument/2006/relationships/slideLayout" Target="../slideLayouts/slideLayout159.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image" Target="../media/image3.jpeg"/><Relationship Id="rId2" Type="http://schemas.openxmlformats.org/officeDocument/2006/relationships/slideLayout" Target="../slideLayouts/slideLayout158.xml"/><Relationship Id="rId16" Type="http://schemas.openxmlformats.org/officeDocument/2006/relationships/image" Target="../media/image2.jpeg"/><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5" Type="http://schemas.openxmlformats.org/officeDocument/2006/relationships/slideLayout" Target="../slideLayouts/slideLayout161.xml"/><Relationship Id="rId15" Type="http://schemas.openxmlformats.org/officeDocument/2006/relationships/tags" Target="../tags/tag13.xml"/><Relationship Id="rId10" Type="http://schemas.openxmlformats.org/officeDocument/2006/relationships/slideLayout" Target="../slideLayouts/slideLayout166.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77.xml"/><Relationship Id="rId13" Type="http://schemas.openxmlformats.org/officeDocument/2006/relationships/slideLayout" Target="../slideLayouts/slideLayout182.xml"/><Relationship Id="rId3" Type="http://schemas.openxmlformats.org/officeDocument/2006/relationships/slideLayout" Target="../slideLayouts/slideLayout172.xml"/><Relationship Id="rId7" Type="http://schemas.openxmlformats.org/officeDocument/2006/relationships/slideLayout" Target="../slideLayouts/slideLayout176.xml"/><Relationship Id="rId12" Type="http://schemas.openxmlformats.org/officeDocument/2006/relationships/slideLayout" Target="../slideLayouts/slideLayout181.xml"/><Relationship Id="rId17" Type="http://schemas.openxmlformats.org/officeDocument/2006/relationships/image" Target="../media/image3.jpeg"/><Relationship Id="rId2" Type="http://schemas.openxmlformats.org/officeDocument/2006/relationships/slideLayout" Target="../slideLayouts/slideLayout171.xml"/><Relationship Id="rId16" Type="http://schemas.openxmlformats.org/officeDocument/2006/relationships/image" Target="../media/image2.jpeg"/><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slideLayout" Target="../slideLayouts/slideLayout180.xml"/><Relationship Id="rId5" Type="http://schemas.openxmlformats.org/officeDocument/2006/relationships/slideLayout" Target="../slideLayouts/slideLayout174.xml"/><Relationship Id="rId15" Type="http://schemas.openxmlformats.org/officeDocument/2006/relationships/tags" Target="../tags/tag14.xml"/><Relationship Id="rId10" Type="http://schemas.openxmlformats.org/officeDocument/2006/relationships/slideLayout" Target="../slideLayouts/slideLayout179.xml"/><Relationship Id="rId4" Type="http://schemas.openxmlformats.org/officeDocument/2006/relationships/slideLayout" Target="../slideLayouts/slideLayout173.xml"/><Relationship Id="rId9" Type="http://schemas.openxmlformats.org/officeDocument/2006/relationships/slideLayout" Target="../slideLayouts/slideLayout178.xml"/><Relationship Id="rId14"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90.xml"/><Relationship Id="rId13" Type="http://schemas.openxmlformats.org/officeDocument/2006/relationships/slideLayout" Target="../slideLayouts/slideLayout195.xml"/><Relationship Id="rId3" Type="http://schemas.openxmlformats.org/officeDocument/2006/relationships/slideLayout" Target="../slideLayouts/slideLayout185.xml"/><Relationship Id="rId7" Type="http://schemas.openxmlformats.org/officeDocument/2006/relationships/slideLayout" Target="../slideLayouts/slideLayout189.xml"/><Relationship Id="rId12" Type="http://schemas.openxmlformats.org/officeDocument/2006/relationships/slideLayout" Target="../slideLayouts/slideLayout194.xml"/><Relationship Id="rId17" Type="http://schemas.openxmlformats.org/officeDocument/2006/relationships/image" Target="../media/image3.jpeg"/><Relationship Id="rId2" Type="http://schemas.openxmlformats.org/officeDocument/2006/relationships/slideLayout" Target="../slideLayouts/slideLayout184.xml"/><Relationship Id="rId16" Type="http://schemas.openxmlformats.org/officeDocument/2006/relationships/image" Target="../media/image2.jpeg"/><Relationship Id="rId1" Type="http://schemas.openxmlformats.org/officeDocument/2006/relationships/slideLayout" Target="../slideLayouts/slideLayout183.xml"/><Relationship Id="rId6" Type="http://schemas.openxmlformats.org/officeDocument/2006/relationships/slideLayout" Target="../slideLayouts/slideLayout188.xml"/><Relationship Id="rId11" Type="http://schemas.openxmlformats.org/officeDocument/2006/relationships/slideLayout" Target="../slideLayouts/slideLayout193.xml"/><Relationship Id="rId5" Type="http://schemas.openxmlformats.org/officeDocument/2006/relationships/slideLayout" Target="../slideLayouts/slideLayout187.xml"/><Relationship Id="rId15" Type="http://schemas.openxmlformats.org/officeDocument/2006/relationships/tags" Target="../tags/tag15.xml"/><Relationship Id="rId10" Type="http://schemas.openxmlformats.org/officeDocument/2006/relationships/slideLayout" Target="../slideLayouts/slideLayout192.xml"/><Relationship Id="rId4" Type="http://schemas.openxmlformats.org/officeDocument/2006/relationships/slideLayout" Target="../slideLayouts/slideLayout186.xml"/><Relationship Id="rId9" Type="http://schemas.openxmlformats.org/officeDocument/2006/relationships/slideLayout" Target="../slideLayouts/slideLayout191.xml"/><Relationship Id="rId14"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3" Type="http://schemas.openxmlformats.org/officeDocument/2006/relationships/slideLayout" Target="../slideLayouts/slideLayout198.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image" Target="../media/image3.jpeg"/><Relationship Id="rId2" Type="http://schemas.openxmlformats.org/officeDocument/2006/relationships/slideLayout" Target="../slideLayouts/slideLayout197.xml"/><Relationship Id="rId16" Type="http://schemas.openxmlformats.org/officeDocument/2006/relationships/image" Target="../media/image2.jpeg"/><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5" Type="http://schemas.openxmlformats.org/officeDocument/2006/relationships/slideLayout" Target="../slideLayouts/slideLayout200.xml"/><Relationship Id="rId15" Type="http://schemas.openxmlformats.org/officeDocument/2006/relationships/tags" Target="../tags/tag16.xml"/><Relationship Id="rId10" Type="http://schemas.openxmlformats.org/officeDocument/2006/relationships/slideLayout" Target="../slideLayouts/slideLayout205.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slideLayout" Target="../slideLayouts/slideLayout221.xml"/><Relationship Id="rId3" Type="http://schemas.openxmlformats.org/officeDocument/2006/relationships/slideLayout" Target="../slideLayouts/slideLayout211.xml"/><Relationship Id="rId7" Type="http://schemas.openxmlformats.org/officeDocument/2006/relationships/slideLayout" Target="../slideLayouts/slideLayout215.xml"/><Relationship Id="rId12" Type="http://schemas.openxmlformats.org/officeDocument/2006/relationships/slideLayout" Target="../slideLayouts/slideLayout220.xml"/><Relationship Id="rId17" Type="http://schemas.openxmlformats.org/officeDocument/2006/relationships/image" Target="../media/image3.jpeg"/><Relationship Id="rId2" Type="http://schemas.openxmlformats.org/officeDocument/2006/relationships/slideLayout" Target="../slideLayouts/slideLayout210.xml"/><Relationship Id="rId16" Type="http://schemas.openxmlformats.org/officeDocument/2006/relationships/image" Target="../media/image2.jpeg"/><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slideLayout" Target="../slideLayouts/slideLayout219.xml"/><Relationship Id="rId5" Type="http://schemas.openxmlformats.org/officeDocument/2006/relationships/slideLayout" Target="../slideLayouts/slideLayout213.xml"/><Relationship Id="rId15" Type="http://schemas.openxmlformats.org/officeDocument/2006/relationships/tags" Target="../tags/tag17.xml"/><Relationship Id="rId10" Type="http://schemas.openxmlformats.org/officeDocument/2006/relationships/slideLayout" Target="../slideLayouts/slideLayout218.xml"/><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29.xml"/><Relationship Id="rId13" Type="http://schemas.openxmlformats.org/officeDocument/2006/relationships/theme" Target="../theme/theme19.xml"/><Relationship Id="rId3" Type="http://schemas.openxmlformats.org/officeDocument/2006/relationships/slideLayout" Target="../slideLayouts/slideLayout224.xml"/><Relationship Id="rId7" Type="http://schemas.openxmlformats.org/officeDocument/2006/relationships/slideLayout" Target="../slideLayouts/slideLayout228.xml"/><Relationship Id="rId12" Type="http://schemas.openxmlformats.org/officeDocument/2006/relationships/slideLayout" Target="../slideLayouts/slideLayout233.xml"/><Relationship Id="rId2" Type="http://schemas.openxmlformats.org/officeDocument/2006/relationships/slideLayout" Target="../slideLayouts/slideLayout223.xml"/><Relationship Id="rId16" Type="http://schemas.openxmlformats.org/officeDocument/2006/relationships/image" Target="../media/image3.jpeg"/><Relationship Id="rId1" Type="http://schemas.openxmlformats.org/officeDocument/2006/relationships/slideLayout" Target="../slideLayouts/slideLayout222.xml"/><Relationship Id="rId6" Type="http://schemas.openxmlformats.org/officeDocument/2006/relationships/slideLayout" Target="../slideLayouts/slideLayout227.xml"/><Relationship Id="rId11" Type="http://schemas.openxmlformats.org/officeDocument/2006/relationships/slideLayout" Target="../slideLayouts/slideLayout232.xml"/><Relationship Id="rId5" Type="http://schemas.openxmlformats.org/officeDocument/2006/relationships/slideLayout" Target="../slideLayouts/slideLayout226.xml"/><Relationship Id="rId15" Type="http://schemas.openxmlformats.org/officeDocument/2006/relationships/image" Target="../media/image2.jpeg"/><Relationship Id="rId10" Type="http://schemas.openxmlformats.org/officeDocument/2006/relationships/slideLayout" Target="../slideLayouts/slideLayout231.xml"/><Relationship Id="rId4" Type="http://schemas.openxmlformats.org/officeDocument/2006/relationships/slideLayout" Target="../slideLayouts/slideLayout225.xml"/><Relationship Id="rId9" Type="http://schemas.openxmlformats.org/officeDocument/2006/relationships/slideLayout" Target="../slideLayouts/slideLayout230.xml"/><Relationship Id="rId14" Type="http://schemas.openxmlformats.org/officeDocument/2006/relationships/tags" Target="../tags/tag1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image" Target="../media/image2.jpe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tags" Target="../tags/tag2.xml"/><Relationship Id="rId2" Type="http://schemas.openxmlformats.org/officeDocument/2006/relationships/slideLayout" Target="../slideLayouts/slideLayout13.xml"/><Relationship Id="rId16"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image" Target="../media/image3.jpeg"/><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241.xml"/><Relationship Id="rId13" Type="http://schemas.openxmlformats.org/officeDocument/2006/relationships/slideLayout" Target="../slideLayouts/slideLayout246.xml"/><Relationship Id="rId3" Type="http://schemas.openxmlformats.org/officeDocument/2006/relationships/slideLayout" Target="../slideLayouts/slideLayout236.xml"/><Relationship Id="rId7" Type="http://schemas.openxmlformats.org/officeDocument/2006/relationships/slideLayout" Target="../slideLayouts/slideLayout240.xml"/><Relationship Id="rId12" Type="http://schemas.openxmlformats.org/officeDocument/2006/relationships/slideLayout" Target="../slideLayouts/slideLayout245.xml"/><Relationship Id="rId17" Type="http://schemas.openxmlformats.org/officeDocument/2006/relationships/image" Target="../media/image3.jpeg"/><Relationship Id="rId2" Type="http://schemas.openxmlformats.org/officeDocument/2006/relationships/slideLayout" Target="../slideLayouts/slideLayout235.xml"/><Relationship Id="rId16" Type="http://schemas.openxmlformats.org/officeDocument/2006/relationships/image" Target="../media/image2.jpeg"/><Relationship Id="rId1" Type="http://schemas.openxmlformats.org/officeDocument/2006/relationships/slideLayout" Target="../slideLayouts/slideLayout234.xml"/><Relationship Id="rId6" Type="http://schemas.openxmlformats.org/officeDocument/2006/relationships/slideLayout" Target="../slideLayouts/slideLayout239.xml"/><Relationship Id="rId11" Type="http://schemas.openxmlformats.org/officeDocument/2006/relationships/slideLayout" Target="../slideLayouts/slideLayout244.xml"/><Relationship Id="rId5" Type="http://schemas.openxmlformats.org/officeDocument/2006/relationships/slideLayout" Target="../slideLayouts/slideLayout238.xml"/><Relationship Id="rId15" Type="http://schemas.openxmlformats.org/officeDocument/2006/relationships/tags" Target="../tags/tag19.xml"/><Relationship Id="rId10" Type="http://schemas.openxmlformats.org/officeDocument/2006/relationships/slideLayout" Target="../slideLayouts/slideLayout243.xml"/><Relationship Id="rId4" Type="http://schemas.openxmlformats.org/officeDocument/2006/relationships/slideLayout" Target="../slideLayouts/slideLayout237.xml"/><Relationship Id="rId9" Type="http://schemas.openxmlformats.org/officeDocument/2006/relationships/slideLayout" Target="../slideLayouts/slideLayout242.xml"/><Relationship Id="rId14"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254.xml"/><Relationship Id="rId13" Type="http://schemas.openxmlformats.org/officeDocument/2006/relationships/slideLayout" Target="../slideLayouts/slideLayout259.xml"/><Relationship Id="rId3" Type="http://schemas.openxmlformats.org/officeDocument/2006/relationships/slideLayout" Target="../slideLayouts/slideLayout249.xml"/><Relationship Id="rId7" Type="http://schemas.openxmlformats.org/officeDocument/2006/relationships/slideLayout" Target="../slideLayouts/slideLayout253.xml"/><Relationship Id="rId12" Type="http://schemas.openxmlformats.org/officeDocument/2006/relationships/slideLayout" Target="../slideLayouts/slideLayout258.xml"/><Relationship Id="rId17" Type="http://schemas.openxmlformats.org/officeDocument/2006/relationships/image" Target="../media/image3.jpeg"/><Relationship Id="rId2" Type="http://schemas.openxmlformats.org/officeDocument/2006/relationships/slideLayout" Target="../slideLayouts/slideLayout248.xml"/><Relationship Id="rId16" Type="http://schemas.openxmlformats.org/officeDocument/2006/relationships/image" Target="../media/image2.jpeg"/><Relationship Id="rId1" Type="http://schemas.openxmlformats.org/officeDocument/2006/relationships/slideLayout" Target="../slideLayouts/slideLayout247.xml"/><Relationship Id="rId6" Type="http://schemas.openxmlformats.org/officeDocument/2006/relationships/slideLayout" Target="../slideLayouts/slideLayout252.xml"/><Relationship Id="rId11" Type="http://schemas.openxmlformats.org/officeDocument/2006/relationships/slideLayout" Target="../slideLayouts/slideLayout257.xml"/><Relationship Id="rId5" Type="http://schemas.openxmlformats.org/officeDocument/2006/relationships/slideLayout" Target="../slideLayouts/slideLayout251.xml"/><Relationship Id="rId15" Type="http://schemas.openxmlformats.org/officeDocument/2006/relationships/tags" Target="../tags/tag20.xml"/><Relationship Id="rId10" Type="http://schemas.openxmlformats.org/officeDocument/2006/relationships/slideLayout" Target="../slideLayouts/slideLayout256.xml"/><Relationship Id="rId4" Type="http://schemas.openxmlformats.org/officeDocument/2006/relationships/slideLayout" Target="../slideLayouts/slideLayout250.xml"/><Relationship Id="rId9" Type="http://schemas.openxmlformats.org/officeDocument/2006/relationships/slideLayout" Target="../slideLayouts/slideLayout255.xml"/><Relationship Id="rId14"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267.xml"/><Relationship Id="rId13" Type="http://schemas.openxmlformats.org/officeDocument/2006/relationships/tags" Target="../tags/tag21.xml"/><Relationship Id="rId3" Type="http://schemas.openxmlformats.org/officeDocument/2006/relationships/slideLayout" Target="../slideLayouts/slideLayout262.xml"/><Relationship Id="rId7" Type="http://schemas.openxmlformats.org/officeDocument/2006/relationships/slideLayout" Target="../slideLayouts/slideLayout266.xml"/><Relationship Id="rId12" Type="http://schemas.openxmlformats.org/officeDocument/2006/relationships/theme" Target="../theme/theme22.xml"/><Relationship Id="rId2" Type="http://schemas.openxmlformats.org/officeDocument/2006/relationships/slideLayout" Target="../slideLayouts/slideLayout261.xml"/><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slideLayout" Target="../slideLayouts/slideLayout270.xml"/><Relationship Id="rId5" Type="http://schemas.openxmlformats.org/officeDocument/2006/relationships/slideLayout" Target="../slideLayouts/slideLayout264.xml"/><Relationship Id="rId15" Type="http://schemas.openxmlformats.org/officeDocument/2006/relationships/image" Target="../media/image3.jpeg"/><Relationship Id="rId10" Type="http://schemas.openxmlformats.org/officeDocument/2006/relationships/slideLayout" Target="../slideLayouts/slideLayout269.xml"/><Relationship Id="rId4" Type="http://schemas.openxmlformats.org/officeDocument/2006/relationships/slideLayout" Target="../slideLayouts/slideLayout263.xml"/><Relationship Id="rId9" Type="http://schemas.openxmlformats.org/officeDocument/2006/relationships/slideLayout" Target="../slideLayouts/slideLayout268.xml"/><Relationship Id="rId14" Type="http://schemas.openxmlformats.org/officeDocument/2006/relationships/image" Target="../media/image2.jpe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78.xml"/><Relationship Id="rId13" Type="http://schemas.openxmlformats.org/officeDocument/2006/relationships/tags" Target="../tags/tag22.xml"/><Relationship Id="rId3" Type="http://schemas.openxmlformats.org/officeDocument/2006/relationships/slideLayout" Target="../slideLayouts/slideLayout273.xml"/><Relationship Id="rId7" Type="http://schemas.openxmlformats.org/officeDocument/2006/relationships/slideLayout" Target="../slideLayouts/slideLayout277.xml"/><Relationship Id="rId12" Type="http://schemas.openxmlformats.org/officeDocument/2006/relationships/theme" Target="../theme/theme23.xml"/><Relationship Id="rId2" Type="http://schemas.openxmlformats.org/officeDocument/2006/relationships/slideLayout" Target="../slideLayouts/slideLayout272.xml"/><Relationship Id="rId1" Type="http://schemas.openxmlformats.org/officeDocument/2006/relationships/slideLayout" Target="../slideLayouts/slideLayout271.xml"/><Relationship Id="rId6" Type="http://schemas.openxmlformats.org/officeDocument/2006/relationships/slideLayout" Target="../slideLayouts/slideLayout276.xml"/><Relationship Id="rId11" Type="http://schemas.openxmlformats.org/officeDocument/2006/relationships/slideLayout" Target="../slideLayouts/slideLayout281.xml"/><Relationship Id="rId5" Type="http://schemas.openxmlformats.org/officeDocument/2006/relationships/slideLayout" Target="../slideLayouts/slideLayout275.xml"/><Relationship Id="rId15" Type="http://schemas.openxmlformats.org/officeDocument/2006/relationships/image" Target="../media/image3.jpeg"/><Relationship Id="rId10" Type="http://schemas.openxmlformats.org/officeDocument/2006/relationships/slideLayout" Target="../slideLayouts/slideLayout280.xml"/><Relationship Id="rId4" Type="http://schemas.openxmlformats.org/officeDocument/2006/relationships/slideLayout" Target="../slideLayouts/slideLayout274.xml"/><Relationship Id="rId9" Type="http://schemas.openxmlformats.org/officeDocument/2006/relationships/slideLayout" Target="../slideLayouts/slideLayout279.xml"/><Relationship Id="rId14" Type="http://schemas.openxmlformats.org/officeDocument/2006/relationships/image" Target="../media/image2.jpe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89.xml"/><Relationship Id="rId13" Type="http://schemas.openxmlformats.org/officeDocument/2006/relationships/tags" Target="../tags/tag23.xml"/><Relationship Id="rId3" Type="http://schemas.openxmlformats.org/officeDocument/2006/relationships/slideLayout" Target="../slideLayouts/slideLayout284.xml"/><Relationship Id="rId7" Type="http://schemas.openxmlformats.org/officeDocument/2006/relationships/slideLayout" Target="../slideLayouts/slideLayout288.xml"/><Relationship Id="rId12" Type="http://schemas.openxmlformats.org/officeDocument/2006/relationships/theme" Target="../theme/theme24.xml"/><Relationship Id="rId2" Type="http://schemas.openxmlformats.org/officeDocument/2006/relationships/slideLayout" Target="../slideLayouts/slideLayout283.xml"/><Relationship Id="rId1" Type="http://schemas.openxmlformats.org/officeDocument/2006/relationships/slideLayout" Target="../slideLayouts/slideLayout282.xml"/><Relationship Id="rId6" Type="http://schemas.openxmlformats.org/officeDocument/2006/relationships/slideLayout" Target="../slideLayouts/slideLayout287.xml"/><Relationship Id="rId11" Type="http://schemas.openxmlformats.org/officeDocument/2006/relationships/slideLayout" Target="../slideLayouts/slideLayout292.xml"/><Relationship Id="rId5" Type="http://schemas.openxmlformats.org/officeDocument/2006/relationships/slideLayout" Target="../slideLayouts/slideLayout286.xml"/><Relationship Id="rId15" Type="http://schemas.openxmlformats.org/officeDocument/2006/relationships/image" Target="../media/image3.jpeg"/><Relationship Id="rId10" Type="http://schemas.openxmlformats.org/officeDocument/2006/relationships/slideLayout" Target="../slideLayouts/slideLayout291.xml"/><Relationship Id="rId4" Type="http://schemas.openxmlformats.org/officeDocument/2006/relationships/slideLayout" Target="../slideLayouts/slideLayout285.xml"/><Relationship Id="rId9" Type="http://schemas.openxmlformats.org/officeDocument/2006/relationships/slideLayout" Target="../slideLayouts/slideLayout290.xml"/><Relationship Id="rId14" Type="http://schemas.openxmlformats.org/officeDocument/2006/relationships/image" Target="../media/image2.jpe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300.xml"/><Relationship Id="rId13" Type="http://schemas.openxmlformats.org/officeDocument/2006/relationships/slideLayout" Target="../slideLayouts/slideLayout305.xml"/><Relationship Id="rId3" Type="http://schemas.openxmlformats.org/officeDocument/2006/relationships/slideLayout" Target="../slideLayouts/slideLayout295.xml"/><Relationship Id="rId7" Type="http://schemas.openxmlformats.org/officeDocument/2006/relationships/slideLayout" Target="../slideLayouts/slideLayout299.xml"/><Relationship Id="rId12" Type="http://schemas.openxmlformats.org/officeDocument/2006/relationships/slideLayout" Target="../slideLayouts/slideLayout304.xml"/><Relationship Id="rId17" Type="http://schemas.openxmlformats.org/officeDocument/2006/relationships/image" Target="../media/image3.jpeg"/><Relationship Id="rId2" Type="http://schemas.openxmlformats.org/officeDocument/2006/relationships/slideLayout" Target="../slideLayouts/slideLayout294.xml"/><Relationship Id="rId16" Type="http://schemas.openxmlformats.org/officeDocument/2006/relationships/image" Target="../media/image2.jpeg"/><Relationship Id="rId1" Type="http://schemas.openxmlformats.org/officeDocument/2006/relationships/slideLayout" Target="../slideLayouts/slideLayout293.xml"/><Relationship Id="rId6" Type="http://schemas.openxmlformats.org/officeDocument/2006/relationships/slideLayout" Target="../slideLayouts/slideLayout298.xml"/><Relationship Id="rId11" Type="http://schemas.openxmlformats.org/officeDocument/2006/relationships/slideLayout" Target="../slideLayouts/slideLayout303.xml"/><Relationship Id="rId5" Type="http://schemas.openxmlformats.org/officeDocument/2006/relationships/slideLayout" Target="../slideLayouts/slideLayout297.xml"/><Relationship Id="rId15" Type="http://schemas.openxmlformats.org/officeDocument/2006/relationships/tags" Target="../tags/tag24.xml"/><Relationship Id="rId10" Type="http://schemas.openxmlformats.org/officeDocument/2006/relationships/slideLayout" Target="../slideLayouts/slideLayout302.xml"/><Relationship Id="rId4" Type="http://schemas.openxmlformats.org/officeDocument/2006/relationships/slideLayout" Target="../slideLayouts/slideLayout296.xml"/><Relationship Id="rId9" Type="http://schemas.openxmlformats.org/officeDocument/2006/relationships/slideLayout" Target="../slideLayouts/slideLayout301.xml"/><Relationship Id="rId14" Type="http://schemas.openxmlformats.org/officeDocument/2006/relationships/theme" Target="../theme/theme25.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313.xml"/><Relationship Id="rId13" Type="http://schemas.openxmlformats.org/officeDocument/2006/relationships/slideLayout" Target="../slideLayouts/slideLayout318.xml"/><Relationship Id="rId3" Type="http://schemas.openxmlformats.org/officeDocument/2006/relationships/slideLayout" Target="../slideLayouts/slideLayout308.xml"/><Relationship Id="rId7" Type="http://schemas.openxmlformats.org/officeDocument/2006/relationships/slideLayout" Target="../slideLayouts/slideLayout312.xml"/><Relationship Id="rId12" Type="http://schemas.openxmlformats.org/officeDocument/2006/relationships/slideLayout" Target="../slideLayouts/slideLayout317.xml"/><Relationship Id="rId17" Type="http://schemas.openxmlformats.org/officeDocument/2006/relationships/image" Target="../media/image3.jpeg"/><Relationship Id="rId2" Type="http://schemas.openxmlformats.org/officeDocument/2006/relationships/slideLayout" Target="../slideLayouts/slideLayout307.xml"/><Relationship Id="rId16" Type="http://schemas.openxmlformats.org/officeDocument/2006/relationships/image" Target="../media/image2.jpeg"/><Relationship Id="rId1" Type="http://schemas.openxmlformats.org/officeDocument/2006/relationships/slideLayout" Target="../slideLayouts/slideLayout306.xml"/><Relationship Id="rId6" Type="http://schemas.openxmlformats.org/officeDocument/2006/relationships/slideLayout" Target="../slideLayouts/slideLayout311.xml"/><Relationship Id="rId11" Type="http://schemas.openxmlformats.org/officeDocument/2006/relationships/slideLayout" Target="../slideLayouts/slideLayout316.xml"/><Relationship Id="rId5" Type="http://schemas.openxmlformats.org/officeDocument/2006/relationships/slideLayout" Target="../slideLayouts/slideLayout310.xml"/><Relationship Id="rId15" Type="http://schemas.openxmlformats.org/officeDocument/2006/relationships/tags" Target="../tags/tag25.xml"/><Relationship Id="rId10" Type="http://schemas.openxmlformats.org/officeDocument/2006/relationships/slideLayout" Target="../slideLayouts/slideLayout315.xml"/><Relationship Id="rId4" Type="http://schemas.openxmlformats.org/officeDocument/2006/relationships/slideLayout" Target="../slideLayouts/slideLayout309.xml"/><Relationship Id="rId9" Type="http://schemas.openxmlformats.org/officeDocument/2006/relationships/slideLayout" Target="../slideLayouts/slideLayout314.xml"/><Relationship Id="rId14" Type="http://schemas.openxmlformats.org/officeDocument/2006/relationships/theme" Target="../theme/theme26.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326.xml"/><Relationship Id="rId13" Type="http://schemas.openxmlformats.org/officeDocument/2006/relationships/tags" Target="../tags/tag26.xml"/><Relationship Id="rId3" Type="http://schemas.openxmlformats.org/officeDocument/2006/relationships/slideLayout" Target="../slideLayouts/slideLayout321.xml"/><Relationship Id="rId7" Type="http://schemas.openxmlformats.org/officeDocument/2006/relationships/slideLayout" Target="../slideLayouts/slideLayout325.xml"/><Relationship Id="rId12" Type="http://schemas.openxmlformats.org/officeDocument/2006/relationships/theme" Target="../theme/theme27.xml"/><Relationship Id="rId2" Type="http://schemas.openxmlformats.org/officeDocument/2006/relationships/slideLayout" Target="../slideLayouts/slideLayout320.xml"/><Relationship Id="rId1" Type="http://schemas.openxmlformats.org/officeDocument/2006/relationships/slideLayout" Target="../slideLayouts/slideLayout319.xml"/><Relationship Id="rId6" Type="http://schemas.openxmlformats.org/officeDocument/2006/relationships/slideLayout" Target="../slideLayouts/slideLayout324.xml"/><Relationship Id="rId11" Type="http://schemas.openxmlformats.org/officeDocument/2006/relationships/slideLayout" Target="../slideLayouts/slideLayout329.xml"/><Relationship Id="rId5" Type="http://schemas.openxmlformats.org/officeDocument/2006/relationships/slideLayout" Target="../slideLayouts/slideLayout323.xml"/><Relationship Id="rId15" Type="http://schemas.openxmlformats.org/officeDocument/2006/relationships/image" Target="../media/image3.jpeg"/><Relationship Id="rId10" Type="http://schemas.openxmlformats.org/officeDocument/2006/relationships/slideLayout" Target="../slideLayouts/slideLayout328.xml"/><Relationship Id="rId4" Type="http://schemas.openxmlformats.org/officeDocument/2006/relationships/slideLayout" Target="../slideLayouts/slideLayout322.xml"/><Relationship Id="rId9" Type="http://schemas.openxmlformats.org/officeDocument/2006/relationships/slideLayout" Target="../slideLayouts/slideLayout327.xml"/><Relationship Id="rId14" Type="http://schemas.openxmlformats.org/officeDocument/2006/relationships/image" Target="../media/image2.jpeg"/></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337.xml"/><Relationship Id="rId13" Type="http://schemas.openxmlformats.org/officeDocument/2006/relationships/image" Target="../media/image5.jpeg"/><Relationship Id="rId3" Type="http://schemas.openxmlformats.org/officeDocument/2006/relationships/slideLayout" Target="../slideLayouts/slideLayout332.xml"/><Relationship Id="rId7" Type="http://schemas.openxmlformats.org/officeDocument/2006/relationships/slideLayout" Target="../slideLayouts/slideLayout336.xml"/><Relationship Id="rId12" Type="http://schemas.openxmlformats.org/officeDocument/2006/relationships/theme" Target="../theme/theme28.xml"/><Relationship Id="rId2" Type="http://schemas.openxmlformats.org/officeDocument/2006/relationships/slideLayout" Target="../slideLayouts/slideLayout331.xml"/><Relationship Id="rId1" Type="http://schemas.openxmlformats.org/officeDocument/2006/relationships/slideLayout" Target="../slideLayouts/slideLayout330.xml"/><Relationship Id="rId6" Type="http://schemas.openxmlformats.org/officeDocument/2006/relationships/slideLayout" Target="../slideLayouts/slideLayout335.xml"/><Relationship Id="rId11" Type="http://schemas.openxmlformats.org/officeDocument/2006/relationships/slideLayout" Target="../slideLayouts/slideLayout340.xml"/><Relationship Id="rId5" Type="http://schemas.openxmlformats.org/officeDocument/2006/relationships/slideLayout" Target="../slideLayouts/slideLayout334.xml"/><Relationship Id="rId10" Type="http://schemas.openxmlformats.org/officeDocument/2006/relationships/slideLayout" Target="../slideLayouts/slideLayout339.xml"/><Relationship Id="rId4" Type="http://schemas.openxmlformats.org/officeDocument/2006/relationships/slideLayout" Target="../slideLayouts/slideLayout333.xml"/><Relationship Id="rId9" Type="http://schemas.openxmlformats.org/officeDocument/2006/relationships/slideLayout" Target="../slideLayouts/slideLayout338.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348.xml"/><Relationship Id="rId13" Type="http://schemas.openxmlformats.org/officeDocument/2006/relationships/image" Target="../media/image6.jpeg"/><Relationship Id="rId3" Type="http://schemas.openxmlformats.org/officeDocument/2006/relationships/slideLayout" Target="../slideLayouts/slideLayout343.xml"/><Relationship Id="rId7" Type="http://schemas.openxmlformats.org/officeDocument/2006/relationships/slideLayout" Target="../slideLayouts/slideLayout347.xml"/><Relationship Id="rId12" Type="http://schemas.openxmlformats.org/officeDocument/2006/relationships/theme" Target="../theme/theme29.xml"/><Relationship Id="rId2" Type="http://schemas.openxmlformats.org/officeDocument/2006/relationships/slideLayout" Target="../slideLayouts/slideLayout342.xml"/><Relationship Id="rId1" Type="http://schemas.openxmlformats.org/officeDocument/2006/relationships/slideLayout" Target="../slideLayouts/slideLayout341.xml"/><Relationship Id="rId6" Type="http://schemas.openxmlformats.org/officeDocument/2006/relationships/slideLayout" Target="../slideLayouts/slideLayout346.xml"/><Relationship Id="rId11" Type="http://schemas.openxmlformats.org/officeDocument/2006/relationships/slideLayout" Target="../slideLayouts/slideLayout351.xml"/><Relationship Id="rId5" Type="http://schemas.openxmlformats.org/officeDocument/2006/relationships/slideLayout" Target="../slideLayouts/slideLayout345.xml"/><Relationship Id="rId10" Type="http://schemas.openxmlformats.org/officeDocument/2006/relationships/slideLayout" Target="../slideLayouts/slideLayout350.xml"/><Relationship Id="rId4" Type="http://schemas.openxmlformats.org/officeDocument/2006/relationships/slideLayout" Target="../slideLayouts/slideLayout344.xml"/><Relationship Id="rId9" Type="http://schemas.openxmlformats.org/officeDocument/2006/relationships/slideLayout" Target="../slideLayouts/slideLayout349.xml"/><Relationship Id="rId14" Type="http://schemas.openxmlformats.org/officeDocument/2006/relationships/image" Target="../media/image7.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tags" Target="../tags/tag3.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theme" Target="../theme/theme3.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image" Target="../media/image3.jpeg"/><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image" Target="../media/image2.jpeg"/></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359.xml"/><Relationship Id="rId13" Type="http://schemas.openxmlformats.org/officeDocument/2006/relationships/tags" Target="../tags/tag27.xml"/><Relationship Id="rId3" Type="http://schemas.openxmlformats.org/officeDocument/2006/relationships/slideLayout" Target="../slideLayouts/slideLayout354.xml"/><Relationship Id="rId7" Type="http://schemas.openxmlformats.org/officeDocument/2006/relationships/slideLayout" Target="../slideLayouts/slideLayout358.xml"/><Relationship Id="rId12" Type="http://schemas.openxmlformats.org/officeDocument/2006/relationships/theme" Target="../theme/theme30.xml"/><Relationship Id="rId2" Type="http://schemas.openxmlformats.org/officeDocument/2006/relationships/slideLayout" Target="../slideLayouts/slideLayout353.xml"/><Relationship Id="rId1" Type="http://schemas.openxmlformats.org/officeDocument/2006/relationships/slideLayout" Target="../slideLayouts/slideLayout352.xml"/><Relationship Id="rId6" Type="http://schemas.openxmlformats.org/officeDocument/2006/relationships/slideLayout" Target="../slideLayouts/slideLayout357.xml"/><Relationship Id="rId11" Type="http://schemas.openxmlformats.org/officeDocument/2006/relationships/slideLayout" Target="../slideLayouts/slideLayout362.xml"/><Relationship Id="rId5" Type="http://schemas.openxmlformats.org/officeDocument/2006/relationships/slideLayout" Target="../slideLayouts/slideLayout356.xml"/><Relationship Id="rId15" Type="http://schemas.openxmlformats.org/officeDocument/2006/relationships/image" Target="../media/image3.jpeg"/><Relationship Id="rId10" Type="http://schemas.openxmlformats.org/officeDocument/2006/relationships/slideLayout" Target="../slideLayouts/slideLayout361.xml"/><Relationship Id="rId4" Type="http://schemas.openxmlformats.org/officeDocument/2006/relationships/slideLayout" Target="../slideLayouts/slideLayout355.xml"/><Relationship Id="rId9" Type="http://schemas.openxmlformats.org/officeDocument/2006/relationships/slideLayout" Target="../slideLayouts/slideLayout360.xml"/><Relationship Id="rId14" Type="http://schemas.openxmlformats.org/officeDocument/2006/relationships/image" Target="../media/image2.jpeg"/></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370.xml"/><Relationship Id="rId13" Type="http://schemas.openxmlformats.org/officeDocument/2006/relationships/tags" Target="../tags/tag28.xml"/><Relationship Id="rId3" Type="http://schemas.openxmlformats.org/officeDocument/2006/relationships/slideLayout" Target="../slideLayouts/slideLayout365.xml"/><Relationship Id="rId7" Type="http://schemas.openxmlformats.org/officeDocument/2006/relationships/slideLayout" Target="../slideLayouts/slideLayout369.xml"/><Relationship Id="rId12" Type="http://schemas.openxmlformats.org/officeDocument/2006/relationships/theme" Target="../theme/theme31.xml"/><Relationship Id="rId2" Type="http://schemas.openxmlformats.org/officeDocument/2006/relationships/slideLayout" Target="../slideLayouts/slideLayout364.xml"/><Relationship Id="rId1" Type="http://schemas.openxmlformats.org/officeDocument/2006/relationships/slideLayout" Target="../slideLayouts/slideLayout363.xml"/><Relationship Id="rId6" Type="http://schemas.openxmlformats.org/officeDocument/2006/relationships/slideLayout" Target="../slideLayouts/slideLayout368.xml"/><Relationship Id="rId11" Type="http://schemas.openxmlformats.org/officeDocument/2006/relationships/slideLayout" Target="../slideLayouts/slideLayout373.xml"/><Relationship Id="rId5" Type="http://schemas.openxmlformats.org/officeDocument/2006/relationships/slideLayout" Target="../slideLayouts/slideLayout367.xml"/><Relationship Id="rId15" Type="http://schemas.openxmlformats.org/officeDocument/2006/relationships/image" Target="../media/image3.jpeg"/><Relationship Id="rId10" Type="http://schemas.openxmlformats.org/officeDocument/2006/relationships/slideLayout" Target="../slideLayouts/slideLayout372.xml"/><Relationship Id="rId4" Type="http://schemas.openxmlformats.org/officeDocument/2006/relationships/slideLayout" Target="../slideLayouts/slideLayout366.xml"/><Relationship Id="rId9" Type="http://schemas.openxmlformats.org/officeDocument/2006/relationships/slideLayout" Target="../slideLayouts/slideLayout371.xml"/><Relationship Id="rId14" Type="http://schemas.openxmlformats.org/officeDocument/2006/relationships/image" Target="../media/image2.jpeg"/></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381.xml"/><Relationship Id="rId13" Type="http://schemas.openxmlformats.org/officeDocument/2006/relationships/tags" Target="../tags/tag29.xml"/><Relationship Id="rId3" Type="http://schemas.openxmlformats.org/officeDocument/2006/relationships/slideLayout" Target="../slideLayouts/slideLayout376.xml"/><Relationship Id="rId7" Type="http://schemas.openxmlformats.org/officeDocument/2006/relationships/slideLayout" Target="../slideLayouts/slideLayout380.xml"/><Relationship Id="rId12" Type="http://schemas.openxmlformats.org/officeDocument/2006/relationships/theme" Target="../theme/theme32.xml"/><Relationship Id="rId2" Type="http://schemas.openxmlformats.org/officeDocument/2006/relationships/slideLayout" Target="../slideLayouts/slideLayout375.xml"/><Relationship Id="rId1" Type="http://schemas.openxmlformats.org/officeDocument/2006/relationships/slideLayout" Target="../slideLayouts/slideLayout374.xml"/><Relationship Id="rId6" Type="http://schemas.openxmlformats.org/officeDocument/2006/relationships/slideLayout" Target="../slideLayouts/slideLayout379.xml"/><Relationship Id="rId11" Type="http://schemas.openxmlformats.org/officeDocument/2006/relationships/slideLayout" Target="../slideLayouts/slideLayout384.xml"/><Relationship Id="rId5" Type="http://schemas.openxmlformats.org/officeDocument/2006/relationships/slideLayout" Target="../slideLayouts/slideLayout378.xml"/><Relationship Id="rId15" Type="http://schemas.openxmlformats.org/officeDocument/2006/relationships/image" Target="../media/image3.jpeg"/><Relationship Id="rId10" Type="http://schemas.openxmlformats.org/officeDocument/2006/relationships/slideLayout" Target="../slideLayouts/slideLayout383.xml"/><Relationship Id="rId4" Type="http://schemas.openxmlformats.org/officeDocument/2006/relationships/slideLayout" Target="../slideLayouts/slideLayout377.xml"/><Relationship Id="rId9" Type="http://schemas.openxmlformats.org/officeDocument/2006/relationships/slideLayout" Target="../slideLayouts/slideLayout382.xml"/><Relationship Id="rId14" Type="http://schemas.openxmlformats.org/officeDocument/2006/relationships/image" Target="../media/image2.jpeg"/></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392.xml"/><Relationship Id="rId13" Type="http://schemas.openxmlformats.org/officeDocument/2006/relationships/slideLayout" Target="../slideLayouts/slideLayout397.xml"/><Relationship Id="rId18" Type="http://schemas.openxmlformats.org/officeDocument/2006/relationships/image" Target="../media/image3.jpeg"/><Relationship Id="rId3" Type="http://schemas.openxmlformats.org/officeDocument/2006/relationships/slideLayout" Target="../slideLayouts/slideLayout387.xml"/><Relationship Id="rId7" Type="http://schemas.openxmlformats.org/officeDocument/2006/relationships/slideLayout" Target="../slideLayouts/slideLayout391.xml"/><Relationship Id="rId12" Type="http://schemas.openxmlformats.org/officeDocument/2006/relationships/slideLayout" Target="../slideLayouts/slideLayout396.xml"/><Relationship Id="rId17" Type="http://schemas.openxmlformats.org/officeDocument/2006/relationships/image" Target="../media/image2.jpeg"/><Relationship Id="rId2" Type="http://schemas.openxmlformats.org/officeDocument/2006/relationships/slideLayout" Target="../slideLayouts/slideLayout386.xml"/><Relationship Id="rId16" Type="http://schemas.openxmlformats.org/officeDocument/2006/relationships/tags" Target="../tags/tag30.xml"/><Relationship Id="rId1" Type="http://schemas.openxmlformats.org/officeDocument/2006/relationships/slideLayout" Target="../slideLayouts/slideLayout385.xml"/><Relationship Id="rId6" Type="http://schemas.openxmlformats.org/officeDocument/2006/relationships/slideLayout" Target="../slideLayouts/slideLayout390.xml"/><Relationship Id="rId11" Type="http://schemas.openxmlformats.org/officeDocument/2006/relationships/slideLayout" Target="../slideLayouts/slideLayout395.xml"/><Relationship Id="rId5" Type="http://schemas.openxmlformats.org/officeDocument/2006/relationships/slideLayout" Target="../slideLayouts/slideLayout389.xml"/><Relationship Id="rId15" Type="http://schemas.openxmlformats.org/officeDocument/2006/relationships/theme" Target="../theme/theme33.xml"/><Relationship Id="rId10" Type="http://schemas.openxmlformats.org/officeDocument/2006/relationships/slideLayout" Target="../slideLayouts/slideLayout394.xml"/><Relationship Id="rId4" Type="http://schemas.openxmlformats.org/officeDocument/2006/relationships/slideLayout" Target="../slideLayouts/slideLayout388.xml"/><Relationship Id="rId9" Type="http://schemas.openxmlformats.org/officeDocument/2006/relationships/slideLayout" Target="../slideLayouts/slideLayout393.xml"/><Relationship Id="rId14" Type="http://schemas.openxmlformats.org/officeDocument/2006/relationships/slideLayout" Target="../slideLayouts/slideLayout39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tags" Target="../tags/tag4.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theme" Target="../theme/theme4.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image" Target="../media/image3.jpeg"/><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image" Target="../media/image2.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theme" Target="../theme/theme5.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2" Type="http://schemas.openxmlformats.org/officeDocument/2006/relationships/slideLayout" Target="../slideLayouts/slideLayout50.xml"/><Relationship Id="rId16" Type="http://schemas.openxmlformats.org/officeDocument/2006/relationships/image" Target="../media/image3.jpeg"/><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image" Target="../media/image2.jpeg"/><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tags" Target="../tags/tag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image" Target="../media/image3.jpeg"/><Relationship Id="rId2" Type="http://schemas.openxmlformats.org/officeDocument/2006/relationships/slideLayout" Target="../slideLayouts/slideLayout62.xml"/><Relationship Id="rId16" Type="http://schemas.openxmlformats.org/officeDocument/2006/relationships/image" Target="../media/image2.jpeg"/><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tags" Target="../tags/tag6.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tags" Target="../tags/tag7.xml"/><Relationship Id="rId3" Type="http://schemas.openxmlformats.org/officeDocument/2006/relationships/slideLayout" Target="../slideLayouts/slideLayout76.xml"/><Relationship Id="rId7" Type="http://schemas.openxmlformats.org/officeDocument/2006/relationships/slideLayout" Target="../slideLayouts/slideLayout80.xml"/><Relationship Id="rId12" Type="http://schemas.openxmlformats.org/officeDocument/2006/relationships/theme" Target="../theme/theme7.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5" Type="http://schemas.openxmlformats.org/officeDocument/2006/relationships/slideLayout" Target="../slideLayouts/slideLayout78.xml"/><Relationship Id="rId15" Type="http://schemas.openxmlformats.org/officeDocument/2006/relationships/image" Target="../media/image3.jpeg"/><Relationship Id="rId10" Type="http://schemas.openxmlformats.org/officeDocument/2006/relationships/slideLayout" Target="../slideLayouts/slideLayout83.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image" Target="../media/image2.jpe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image" Target="../media/image4.jpeg"/><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theme" Target="../theme/theme8.xml"/><Relationship Id="rId2" Type="http://schemas.openxmlformats.org/officeDocument/2006/relationships/slideLayout" Target="../slideLayouts/slideLayout86.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0" Type="http://schemas.openxmlformats.org/officeDocument/2006/relationships/slideLayout" Target="../slideLayouts/slideLayout94.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image" Target="../media/image1.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theme" Target="../theme/theme9.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2" Type="http://schemas.openxmlformats.org/officeDocument/2006/relationships/slideLayout" Target="../slideLayouts/slideLayout97.xml"/><Relationship Id="rId16" Type="http://schemas.openxmlformats.org/officeDocument/2006/relationships/image" Target="../media/image3.jpeg"/><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5" Type="http://schemas.openxmlformats.org/officeDocument/2006/relationships/slideLayout" Target="../slideLayouts/slideLayout100.xml"/><Relationship Id="rId15" Type="http://schemas.openxmlformats.org/officeDocument/2006/relationships/image" Target="../media/image2.jpeg"/><Relationship Id="rId10" Type="http://schemas.openxmlformats.org/officeDocument/2006/relationships/slideLayout" Target="../slideLayouts/slideLayout105.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Text Box 6"/>
          <p:cNvSpPr txBox="1">
            <a:spLocks noChangeArrowheads="1"/>
          </p:cNvSpPr>
          <p:nvPr/>
        </p:nvSpPr>
        <p:spPr bwMode="auto">
          <a:xfrm>
            <a:off x="44450" y="6465888"/>
            <a:ext cx="5629275" cy="366712"/>
          </a:xfrm>
          <a:prstGeom prst="rect">
            <a:avLst/>
          </a:prstGeom>
          <a:noFill/>
          <a:ln>
            <a:noFill/>
          </a:ln>
          <a:extLst/>
        </p:spPr>
        <p:txBody>
          <a:bodyPr>
            <a:spAutoFit/>
          </a:bodyPr>
          <a:lstStyle/>
          <a:p>
            <a:pPr>
              <a:defRPr/>
            </a:pPr>
            <a:endParaRPr lang="en-GB"/>
          </a:p>
        </p:txBody>
      </p:sp>
      <p:pic>
        <p:nvPicPr>
          <p:cNvPr id="1028" name="Picture 7" descr="TIM_NovaLogova_fundo-transparente_ENG_Branco"/>
          <p:cNvPicPr>
            <a:picLocks noChangeAspect="1" noChangeArrowheads="1"/>
          </p:cNvPicPr>
          <p:nvPr/>
        </p:nvPicPr>
        <p:blipFill>
          <a:blip r:embed="rId13" cstate="print"/>
          <a:srcRect/>
          <a:stretch>
            <a:fillRect/>
          </a:stretch>
        </p:blipFill>
        <p:spPr bwMode="auto">
          <a:xfrm>
            <a:off x="93663" y="938224"/>
            <a:ext cx="3384550" cy="1031875"/>
          </a:xfrm>
          <a:prstGeom prst="rect">
            <a:avLst/>
          </a:prstGeom>
          <a:noFill/>
          <a:ln w="9525">
            <a:noFill/>
            <a:miter lim="800000"/>
            <a:headEnd/>
            <a:tailEnd/>
          </a:ln>
        </p:spPr>
      </p:pic>
      <p:sp>
        <p:nvSpPr>
          <p:cNvPr id="1029" name="Text Box 8"/>
          <p:cNvSpPr txBox="1">
            <a:spLocks noChangeArrowheads="1"/>
          </p:cNvSpPr>
          <p:nvPr/>
        </p:nvSpPr>
        <p:spPr bwMode="auto">
          <a:xfrm>
            <a:off x="8750300" y="6148395"/>
            <a:ext cx="1063625" cy="307777"/>
          </a:xfrm>
          <a:prstGeom prst="rect">
            <a:avLst/>
          </a:prstGeom>
          <a:noFill/>
          <a:ln>
            <a:noFill/>
          </a:ln>
          <a:extLst/>
        </p:spPr>
        <p:txBody>
          <a:bodyPr>
            <a:spAutoFit/>
          </a:bodyPr>
          <a:lstStyle/>
          <a:p>
            <a:pPr algn="r">
              <a:defRPr/>
            </a:pPr>
            <a:r>
              <a:rPr lang="en-GB" sz="1400">
                <a:solidFill>
                  <a:schemeClr val="bg1"/>
                </a:solidFill>
              </a:rPr>
              <a:t>TIM Brasil</a:t>
            </a:r>
            <a:endParaRPr lang="en-GB">
              <a:solidFill>
                <a:schemeClr val="bg1"/>
              </a:solidFill>
            </a:endParaRPr>
          </a:p>
        </p:txBody>
      </p:sp>
    </p:spTree>
  </p:cSld>
  <p:clrMap bg1="lt1" tx1="dk1" bg2="lt2" tx2="dk2" accent1="accent1" accent2="accent2" accent3="accent3" accent4="accent4" accent5="accent5" accent6="accent6" hlink="hlink" folHlink="folHlink"/>
  <p:sldLayoutIdLst>
    <p:sldLayoutId id="2147484044" r:id="rId1"/>
    <p:sldLayoutId id="2147484043" r:id="rId2"/>
    <p:sldLayoutId id="2147484042" r:id="rId3"/>
    <p:sldLayoutId id="2147484041" r:id="rId4"/>
    <p:sldLayoutId id="2147484040" r:id="rId5"/>
    <p:sldLayoutId id="2147484039" r:id="rId6"/>
    <p:sldLayoutId id="2147484038" r:id="rId7"/>
    <p:sldLayoutId id="2147484037" r:id="rId8"/>
    <p:sldLayoutId id="2147484036" r:id="rId9"/>
    <p:sldLayoutId id="2147484035" r:id="rId10"/>
    <p:sldLayoutId id="2147484034" r:id="rId11"/>
  </p:sldLayoutIdLst>
  <p:txStyles>
    <p:titleStyle>
      <a:lvl1pPr algn="l" rtl="0" eaLnBrk="0" fontAlgn="base" hangingPunct="0">
        <a:lnSpc>
          <a:spcPct val="80000"/>
        </a:lnSpc>
        <a:spcBef>
          <a:spcPct val="0"/>
        </a:spcBef>
        <a:spcAft>
          <a:spcPct val="0"/>
        </a:spcAft>
        <a:defRPr sz="2200" b="1">
          <a:solidFill>
            <a:srgbClr val="EE1C23"/>
          </a:solidFill>
          <a:latin typeface="+mj-lt"/>
          <a:ea typeface="Arial" charset="0"/>
          <a:cs typeface="+mj-cs"/>
        </a:defRPr>
      </a:lvl1pPr>
      <a:lvl2pPr algn="l" rtl="0" eaLnBrk="0" fontAlgn="base" hangingPunct="0">
        <a:lnSpc>
          <a:spcPct val="80000"/>
        </a:lnSpc>
        <a:spcBef>
          <a:spcPct val="0"/>
        </a:spcBef>
        <a:spcAft>
          <a:spcPct val="0"/>
        </a:spcAft>
        <a:defRPr sz="2200" b="1">
          <a:solidFill>
            <a:srgbClr val="EE1C23"/>
          </a:solidFill>
          <a:latin typeface="Franklin Gothic Medium" pitchFamily="34" charset="0"/>
          <a:ea typeface="Arial" charset="0"/>
          <a:cs typeface="Arial" charset="0"/>
        </a:defRPr>
      </a:lvl2pPr>
      <a:lvl3pPr algn="l" rtl="0" eaLnBrk="0" fontAlgn="base" hangingPunct="0">
        <a:lnSpc>
          <a:spcPct val="80000"/>
        </a:lnSpc>
        <a:spcBef>
          <a:spcPct val="0"/>
        </a:spcBef>
        <a:spcAft>
          <a:spcPct val="0"/>
        </a:spcAft>
        <a:defRPr sz="2200" b="1">
          <a:solidFill>
            <a:srgbClr val="EE1C23"/>
          </a:solidFill>
          <a:latin typeface="Franklin Gothic Medium" pitchFamily="34" charset="0"/>
          <a:ea typeface="Arial" charset="0"/>
          <a:cs typeface="Arial" charset="0"/>
        </a:defRPr>
      </a:lvl3pPr>
      <a:lvl4pPr algn="l" rtl="0" eaLnBrk="0" fontAlgn="base" hangingPunct="0">
        <a:lnSpc>
          <a:spcPct val="80000"/>
        </a:lnSpc>
        <a:spcBef>
          <a:spcPct val="0"/>
        </a:spcBef>
        <a:spcAft>
          <a:spcPct val="0"/>
        </a:spcAft>
        <a:defRPr sz="2200" b="1">
          <a:solidFill>
            <a:srgbClr val="EE1C23"/>
          </a:solidFill>
          <a:latin typeface="Franklin Gothic Medium" pitchFamily="34" charset="0"/>
          <a:ea typeface="Arial" charset="0"/>
          <a:cs typeface="Arial" charset="0"/>
        </a:defRPr>
      </a:lvl4pPr>
      <a:lvl5pPr algn="l" rtl="0" eaLnBrk="0" fontAlgn="base" hangingPunct="0">
        <a:lnSpc>
          <a:spcPct val="80000"/>
        </a:lnSpc>
        <a:spcBef>
          <a:spcPct val="0"/>
        </a:spcBef>
        <a:spcAft>
          <a:spcPct val="0"/>
        </a:spcAft>
        <a:defRPr sz="2200" b="1">
          <a:solidFill>
            <a:srgbClr val="EE1C23"/>
          </a:solidFill>
          <a:latin typeface="Franklin Gothic Medium" pitchFamily="34" charset="0"/>
          <a:ea typeface="Arial" charset="0"/>
          <a:cs typeface="Arial" charset="0"/>
        </a:defRPr>
      </a:lvl5pPr>
      <a:lvl6pPr marL="457200" algn="l" rtl="0" fontAlgn="base">
        <a:lnSpc>
          <a:spcPct val="80000"/>
        </a:lnSpc>
        <a:spcBef>
          <a:spcPct val="0"/>
        </a:spcBef>
        <a:spcAft>
          <a:spcPct val="0"/>
        </a:spcAft>
        <a:defRPr sz="2200" b="1">
          <a:solidFill>
            <a:srgbClr val="EE1C23"/>
          </a:solidFill>
          <a:latin typeface="Franklin Gothic Medium" pitchFamily="34" charset="0"/>
          <a:cs typeface="Arial" charset="0"/>
        </a:defRPr>
      </a:lvl6pPr>
      <a:lvl7pPr marL="914400" algn="l" rtl="0" fontAlgn="base">
        <a:lnSpc>
          <a:spcPct val="80000"/>
        </a:lnSpc>
        <a:spcBef>
          <a:spcPct val="0"/>
        </a:spcBef>
        <a:spcAft>
          <a:spcPct val="0"/>
        </a:spcAft>
        <a:defRPr sz="2200" b="1">
          <a:solidFill>
            <a:srgbClr val="EE1C23"/>
          </a:solidFill>
          <a:latin typeface="Franklin Gothic Medium" pitchFamily="34" charset="0"/>
          <a:cs typeface="Arial" charset="0"/>
        </a:defRPr>
      </a:lvl7pPr>
      <a:lvl8pPr marL="1371600" algn="l" rtl="0" fontAlgn="base">
        <a:lnSpc>
          <a:spcPct val="80000"/>
        </a:lnSpc>
        <a:spcBef>
          <a:spcPct val="0"/>
        </a:spcBef>
        <a:spcAft>
          <a:spcPct val="0"/>
        </a:spcAft>
        <a:defRPr sz="2200" b="1">
          <a:solidFill>
            <a:srgbClr val="EE1C23"/>
          </a:solidFill>
          <a:latin typeface="Franklin Gothic Medium" pitchFamily="34" charset="0"/>
          <a:cs typeface="Arial" charset="0"/>
        </a:defRPr>
      </a:lvl8pPr>
      <a:lvl9pPr marL="1828800" algn="l" rtl="0" fontAlgn="base">
        <a:lnSpc>
          <a:spcPct val="80000"/>
        </a:lnSpc>
        <a:spcBef>
          <a:spcPct val="0"/>
        </a:spcBef>
        <a:spcAft>
          <a:spcPct val="0"/>
        </a:spcAft>
        <a:defRPr sz="2200" b="1">
          <a:solidFill>
            <a:srgbClr val="EE1C23"/>
          </a:solidFill>
          <a:latin typeface="Franklin Gothic Medium" pitchFamily="34" charset="0"/>
          <a:cs typeface="Arial" charset="0"/>
        </a:defRPr>
      </a:lvl9pPr>
    </p:titleStyle>
    <p:bodyStyle>
      <a:lvl1pPr marL="342900" indent="-342900" algn="just" rtl="0" eaLnBrk="0" fontAlgn="base" hangingPunct="0">
        <a:lnSpc>
          <a:spcPct val="110000"/>
        </a:lnSpc>
        <a:spcBef>
          <a:spcPct val="20000"/>
        </a:spcBef>
        <a:spcAft>
          <a:spcPct val="10000"/>
        </a:spcAft>
        <a:buClr>
          <a:schemeClr val="accent1"/>
        </a:buClr>
        <a:buFont typeface="Franklin Gothic Medium" pitchFamily="34" charset="0"/>
        <a:buChar char="4"/>
        <a:defRPr sz="2000">
          <a:solidFill>
            <a:schemeClr val="tx1"/>
          </a:solidFill>
          <a:latin typeface="+mn-lt"/>
          <a:ea typeface="Arial" charset="0"/>
          <a:cs typeface="+mn-cs"/>
        </a:defRPr>
      </a:lvl1pPr>
      <a:lvl2pPr marL="812800" indent="-277813" algn="just" rtl="0" eaLnBrk="0" fontAlgn="base" hangingPunct="0">
        <a:lnSpc>
          <a:spcPct val="110000"/>
        </a:lnSpc>
        <a:spcBef>
          <a:spcPct val="20000"/>
        </a:spcBef>
        <a:spcAft>
          <a:spcPct val="10000"/>
        </a:spcAft>
        <a:buClr>
          <a:schemeClr val="accent1"/>
        </a:buClr>
        <a:buFont typeface="Franklin Gothic Medium" pitchFamily="34" charset="0"/>
        <a:buChar char="4"/>
        <a:defRPr sz="2800" b="1">
          <a:solidFill>
            <a:schemeClr val="tx1"/>
          </a:solidFill>
          <a:latin typeface="+mn-lt"/>
          <a:ea typeface="Arial" charset="0"/>
          <a:cs typeface="+mn-cs"/>
        </a:defRPr>
      </a:lvl2pPr>
      <a:lvl3pPr marL="1524000" indent="-266700" algn="just" rtl="0" eaLnBrk="0" fontAlgn="base" hangingPunct="0">
        <a:lnSpc>
          <a:spcPct val="110000"/>
        </a:lnSpc>
        <a:spcBef>
          <a:spcPct val="20000"/>
        </a:spcBef>
        <a:spcAft>
          <a:spcPct val="10000"/>
        </a:spcAft>
        <a:buClr>
          <a:schemeClr val="accent1"/>
        </a:buClr>
        <a:buFont typeface="Franklin Gothic Medium" pitchFamily="34" charset="0"/>
        <a:buChar char="4"/>
        <a:defRPr sz="2400">
          <a:solidFill>
            <a:schemeClr val="tx1"/>
          </a:solidFill>
          <a:latin typeface="+mn-lt"/>
          <a:ea typeface="Arial" charset="0"/>
          <a:cs typeface="+mn-cs"/>
        </a:defRPr>
      </a:lvl3pPr>
      <a:lvl4pPr marL="2157413" indent="-188913" algn="just" rtl="0" eaLnBrk="0" fontAlgn="base" hangingPunct="0">
        <a:lnSpc>
          <a:spcPct val="110000"/>
        </a:lnSpc>
        <a:spcBef>
          <a:spcPct val="20000"/>
        </a:spcBef>
        <a:spcAft>
          <a:spcPct val="10000"/>
        </a:spcAft>
        <a:buClr>
          <a:schemeClr val="accent1"/>
        </a:buClr>
        <a:buFont typeface="Franklin Gothic Medium" pitchFamily="34" charset="0"/>
        <a:buChar char="4"/>
        <a:defRPr sz="1600" b="1">
          <a:solidFill>
            <a:schemeClr val="tx1"/>
          </a:solidFill>
          <a:latin typeface="+mn-lt"/>
          <a:ea typeface="Arial" charset="0"/>
          <a:cs typeface="+mn-cs"/>
        </a:defRPr>
      </a:lvl4pPr>
      <a:lvl5pPr marL="2603500" indent="-177800" algn="just" rtl="0" eaLnBrk="0" fontAlgn="base" hangingPunct="0">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ea typeface="Arial" charset="0"/>
          <a:cs typeface="+mn-cs"/>
        </a:defRPr>
      </a:lvl5pPr>
      <a:lvl6pPr marL="30607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6pPr>
      <a:lvl7pPr marL="35179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7pPr>
      <a:lvl8pPr marL="39751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8pPr>
      <a:lvl9pPr marL="44323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9810" name="Picture 8" descr="TIM_MENTE_SEM_FRONTEIRAS_0803 0008"/>
          <p:cNvPicPr>
            <a:picLocks noChangeAspect="1" noChangeArrowheads="1"/>
          </p:cNvPicPr>
          <p:nvPr/>
        </p:nvPicPr>
        <p:blipFill>
          <a:blip r:embed="rId18" cstate="print"/>
          <a:srcRect/>
          <a:stretch>
            <a:fillRect/>
          </a:stretch>
        </p:blipFill>
        <p:spPr bwMode="auto">
          <a:xfrm>
            <a:off x="0" y="-12700"/>
            <a:ext cx="9906000" cy="896938"/>
          </a:xfrm>
          <a:prstGeom prst="rect">
            <a:avLst/>
          </a:prstGeom>
          <a:noFill/>
          <a:ln w="9525">
            <a:noFill/>
            <a:miter lim="800000"/>
            <a:headEnd/>
            <a:tailEnd/>
          </a:ln>
        </p:spPr>
      </p:pic>
      <p:sp>
        <p:nvSpPr>
          <p:cNvPr id="10243" name="Rectangle 2"/>
          <p:cNvSpPr>
            <a:spLocks noChangeArrowheads="1"/>
          </p:cNvSpPr>
          <p:nvPr/>
        </p:nvSpPr>
        <p:spPr bwMode="auto">
          <a:xfrm>
            <a:off x="0" y="0"/>
            <a:ext cx="9906000" cy="6851650"/>
          </a:xfrm>
          <a:prstGeom prst="rect">
            <a:avLst/>
          </a:prstGeom>
          <a:noFill/>
          <a:ln w="12700" cap="sq">
            <a:solidFill>
              <a:srgbClr val="595959"/>
            </a:solidFill>
            <a:miter lim="800000"/>
            <a:headEnd type="none" w="sm" len="sm"/>
            <a:tailEnd type="none" w="sm" len="sm"/>
          </a:ln>
        </p:spPr>
        <p:txBody>
          <a:bodyPr wrap="none" anchor="ctr"/>
          <a:lstStyle/>
          <a:p>
            <a:pPr algn="r" eaLnBrk="0" hangingPunct="0">
              <a:defRPr/>
            </a:pPr>
            <a:endParaRPr lang="pt-BR" sz="1000" b="0" i="1">
              <a:solidFill>
                <a:srgbClr val="004990"/>
              </a:solidFill>
              <a:latin typeface="Franklin Gothic Medium" charset="0"/>
            </a:endParaRPr>
          </a:p>
        </p:txBody>
      </p:sp>
      <p:sp>
        <p:nvSpPr>
          <p:cNvPr id="119812" name="Rectangle 13"/>
          <p:cNvSpPr>
            <a:spLocks noGrp="1" noChangeArrowheads="1"/>
          </p:cNvSpPr>
          <p:nvPr>
            <p:ph type="title"/>
          </p:nvPr>
        </p:nvSpPr>
        <p:spPr bwMode="auto">
          <a:xfrm>
            <a:off x="307983" y="227013"/>
            <a:ext cx="79803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it-IT" smtClean="0"/>
              <a:t>Click to edit Master title style</a:t>
            </a:r>
          </a:p>
        </p:txBody>
      </p:sp>
      <p:sp>
        <p:nvSpPr>
          <p:cNvPr id="10245" name="Rectangle 37"/>
          <p:cNvSpPr>
            <a:spLocks noChangeArrowheads="1"/>
          </p:cNvSpPr>
          <p:nvPr>
            <p:custDataLst>
              <p:tags r:id="rId17"/>
            </p:custDataLst>
          </p:nvPr>
        </p:nvSpPr>
        <p:spPr bwMode="auto">
          <a:xfrm>
            <a:off x="9631741" y="6597664"/>
            <a:ext cx="125034" cy="123111"/>
          </a:xfrm>
          <a:prstGeom prst="rect">
            <a:avLst/>
          </a:prstGeom>
          <a:noFill/>
          <a:ln w="9525">
            <a:noFill/>
            <a:miter lim="800000"/>
            <a:headEnd/>
            <a:tailEnd/>
          </a:ln>
        </p:spPr>
        <p:txBody>
          <a:bodyPr wrap="none" lIns="0" tIns="0" rIns="0" bIns="0">
            <a:spAutoFit/>
          </a:bodyPr>
          <a:lstStyle/>
          <a:p>
            <a:pPr algn="r" defTabSz="762000" eaLnBrk="0" hangingPunct="0">
              <a:defRPr/>
            </a:pPr>
            <a:fld id="{48E4439A-3FED-415A-8E03-DE44F2D62AAA}" type="slidenum">
              <a:rPr lang="it-IT" sz="800" b="0">
                <a:solidFill>
                  <a:srgbClr val="8995B4"/>
                </a:solidFill>
              </a:rPr>
              <a:pPr algn="r" defTabSz="762000" eaLnBrk="0" hangingPunct="0">
                <a:defRPr/>
              </a:pPr>
              <a:t>‹nº›</a:t>
            </a:fld>
            <a:endParaRPr lang="it-IT" sz="800" b="0">
              <a:solidFill>
                <a:srgbClr val="8995B4"/>
              </a:solidFill>
            </a:endParaRPr>
          </a:p>
        </p:txBody>
      </p:sp>
      <p:pic>
        <p:nvPicPr>
          <p:cNvPr id="119814" name="Picture 10" descr="LogosTIM2009_VoceSemFronteiras"/>
          <p:cNvPicPr>
            <a:picLocks noChangeAspect="1" noChangeArrowheads="1"/>
          </p:cNvPicPr>
          <p:nvPr/>
        </p:nvPicPr>
        <p:blipFill>
          <a:blip r:embed="rId19" cstate="email">
            <a:clrChange>
              <a:clrFrom>
                <a:srgbClr val="000000"/>
              </a:clrFrom>
              <a:clrTo>
                <a:srgbClr val="000000">
                  <a:alpha val="0"/>
                </a:srgbClr>
              </a:clrTo>
            </a:clrChange>
            <a:extLst>
              <a:ext uri="{28A0092B-C50C-407E-A947-70E740481C1C}">
                <a14:useLocalDpi xmlns="" xmlns:a14="http://schemas.microsoft.com/office/drawing/2010/main"/>
              </a:ext>
            </a:extLst>
          </a:blip>
          <a:srcRect/>
          <a:stretch>
            <a:fillRect/>
          </a:stretch>
        </p:blipFill>
        <p:spPr bwMode="auto">
          <a:xfrm>
            <a:off x="8374063" y="131766"/>
            <a:ext cx="1249362" cy="61753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155" r:id="rId1"/>
    <p:sldLayoutId id="2147484154" r:id="rId2"/>
    <p:sldLayoutId id="2147484153" r:id="rId3"/>
    <p:sldLayoutId id="2147484152" r:id="rId4"/>
    <p:sldLayoutId id="2147484151" r:id="rId5"/>
    <p:sldLayoutId id="2147484150" r:id="rId6"/>
    <p:sldLayoutId id="2147484149" r:id="rId7"/>
    <p:sldLayoutId id="2147484148" r:id="rId8"/>
    <p:sldLayoutId id="2147484147" r:id="rId9"/>
    <p:sldLayoutId id="2147484146" r:id="rId10"/>
    <p:sldLayoutId id="2147484145" r:id="rId11"/>
    <p:sldLayoutId id="2147484144" r:id="rId12"/>
    <p:sldLayoutId id="2147484143" r:id="rId13"/>
    <p:sldLayoutId id="2147484142" r:id="rId14"/>
    <p:sldLayoutId id="2147484141" r:id="rId15"/>
  </p:sldLayoutIdLst>
  <p:txStyles>
    <p:titleStyle>
      <a:lvl1pPr algn="l" rtl="0" eaLnBrk="0" fontAlgn="base" hangingPunct="0">
        <a:lnSpc>
          <a:spcPct val="80000"/>
        </a:lnSpc>
        <a:spcBef>
          <a:spcPct val="0"/>
        </a:spcBef>
        <a:spcAft>
          <a:spcPct val="0"/>
        </a:spcAft>
        <a:defRPr sz="2600" b="1">
          <a:solidFill>
            <a:schemeClr val="bg1"/>
          </a:solidFill>
          <a:latin typeface="+mj-lt"/>
          <a:ea typeface="Arial" charset="0"/>
          <a:cs typeface="+mj-cs"/>
        </a:defRPr>
      </a:lvl1pPr>
      <a:lvl2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charset="0"/>
        </a:defRPr>
      </a:lvl2pPr>
      <a:lvl3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charset="0"/>
        </a:defRPr>
      </a:lvl3pPr>
      <a:lvl4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charset="0"/>
        </a:defRPr>
      </a:lvl4pPr>
      <a:lvl5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charset="0"/>
        </a:defRPr>
      </a:lvl5pPr>
      <a:lvl6pPr marL="457200" algn="l" rtl="0" fontAlgn="base">
        <a:lnSpc>
          <a:spcPct val="80000"/>
        </a:lnSpc>
        <a:spcBef>
          <a:spcPct val="0"/>
        </a:spcBef>
        <a:spcAft>
          <a:spcPct val="0"/>
        </a:spcAft>
        <a:defRPr sz="2200" b="1">
          <a:solidFill>
            <a:schemeClr val="tx1"/>
          </a:solidFill>
          <a:latin typeface="Franklin Gothic Medium" pitchFamily="34" charset="0"/>
          <a:cs typeface="Arial" charset="0"/>
        </a:defRPr>
      </a:lvl6pPr>
      <a:lvl7pPr marL="914400" algn="l" rtl="0" fontAlgn="base">
        <a:lnSpc>
          <a:spcPct val="80000"/>
        </a:lnSpc>
        <a:spcBef>
          <a:spcPct val="0"/>
        </a:spcBef>
        <a:spcAft>
          <a:spcPct val="0"/>
        </a:spcAft>
        <a:defRPr sz="2200" b="1">
          <a:solidFill>
            <a:schemeClr val="tx1"/>
          </a:solidFill>
          <a:latin typeface="Franklin Gothic Medium" pitchFamily="34" charset="0"/>
          <a:cs typeface="Arial" charset="0"/>
        </a:defRPr>
      </a:lvl7pPr>
      <a:lvl8pPr marL="1371600" algn="l" rtl="0" fontAlgn="base">
        <a:lnSpc>
          <a:spcPct val="80000"/>
        </a:lnSpc>
        <a:spcBef>
          <a:spcPct val="0"/>
        </a:spcBef>
        <a:spcAft>
          <a:spcPct val="0"/>
        </a:spcAft>
        <a:defRPr sz="2200" b="1">
          <a:solidFill>
            <a:schemeClr val="tx1"/>
          </a:solidFill>
          <a:latin typeface="Franklin Gothic Medium" pitchFamily="34" charset="0"/>
          <a:cs typeface="Arial" charset="0"/>
        </a:defRPr>
      </a:lvl8pPr>
      <a:lvl9pPr marL="1828800" algn="l" rtl="0" fontAlgn="base">
        <a:lnSpc>
          <a:spcPct val="80000"/>
        </a:lnSpc>
        <a:spcBef>
          <a:spcPct val="0"/>
        </a:spcBef>
        <a:spcAft>
          <a:spcPct val="0"/>
        </a:spcAft>
        <a:defRPr sz="2200" b="1">
          <a:solidFill>
            <a:schemeClr val="tx1"/>
          </a:solidFill>
          <a:latin typeface="Franklin Gothic Medium" pitchFamily="34" charset="0"/>
          <a:cs typeface="Arial" charset="0"/>
        </a:defRPr>
      </a:lvl9pPr>
    </p:titleStyle>
    <p:bodyStyle>
      <a:lvl1pPr marL="342900" indent="-342900" algn="just" rtl="0" eaLnBrk="0" fontAlgn="base" hangingPunct="0">
        <a:lnSpc>
          <a:spcPct val="110000"/>
        </a:lnSpc>
        <a:spcBef>
          <a:spcPct val="20000"/>
        </a:spcBef>
        <a:spcAft>
          <a:spcPct val="10000"/>
        </a:spcAft>
        <a:buClr>
          <a:schemeClr val="accent1"/>
        </a:buClr>
        <a:buFont typeface="Franklin Gothic Medium" pitchFamily="34" charset="0"/>
        <a:buChar char="4"/>
        <a:defRPr sz="2000">
          <a:solidFill>
            <a:schemeClr val="tx1"/>
          </a:solidFill>
          <a:latin typeface="+mn-lt"/>
          <a:ea typeface="Arial" charset="0"/>
          <a:cs typeface="+mn-cs"/>
        </a:defRPr>
      </a:lvl1pPr>
      <a:lvl2pPr marL="812800" indent="-277813" algn="just" rtl="0" eaLnBrk="0" fontAlgn="base" hangingPunct="0">
        <a:lnSpc>
          <a:spcPct val="110000"/>
        </a:lnSpc>
        <a:spcBef>
          <a:spcPct val="20000"/>
        </a:spcBef>
        <a:spcAft>
          <a:spcPct val="10000"/>
        </a:spcAft>
        <a:buClr>
          <a:schemeClr val="accent1"/>
        </a:buClr>
        <a:buFont typeface="Franklin Gothic Medium" pitchFamily="34" charset="0"/>
        <a:buChar char="4"/>
        <a:defRPr sz="2800" b="1">
          <a:solidFill>
            <a:schemeClr val="tx1"/>
          </a:solidFill>
          <a:latin typeface="+mn-lt"/>
          <a:ea typeface="Arial" charset="0"/>
          <a:cs typeface="+mn-cs"/>
        </a:defRPr>
      </a:lvl2pPr>
      <a:lvl3pPr marL="1524000" indent="-266700" algn="just" rtl="0" eaLnBrk="0" fontAlgn="base" hangingPunct="0">
        <a:lnSpc>
          <a:spcPct val="110000"/>
        </a:lnSpc>
        <a:spcBef>
          <a:spcPct val="20000"/>
        </a:spcBef>
        <a:spcAft>
          <a:spcPct val="10000"/>
        </a:spcAft>
        <a:buClr>
          <a:schemeClr val="accent1"/>
        </a:buClr>
        <a:buFont typeface="Franklin Gothic Medium" pitchFamily="34" charset="0"/>
        <a:buChar char="4"/>
        <a:defRPr sz="2400">
          <a:solidFill>
            <a:schemeClr val="tx1"/>
          </a:solidFill>
          <a:latin typeface="+mn-lt"/>
          <a:ea typeface="Arial" charset="0"/>
          <a:cs typeface="+mn-cs"/>
        </a:defRPr>
      </a:lvl3pPr>
      <a:lvl4pPr marL="2157413" indent="-188913" algn="just" rtl="0" eaLnBrk="0" fontAlgn="base" hangingPunct="0">
        <a:lnSpc>
          <a:spcPct val="110000"/>
        </a:lnSpc>
        <a:spcBef>
          <a:spcPct val="20000"/>
        </a:spcBef>
        <a:spcAft>
          <a:spcPct val="10000"/>
        </a:spcAft>
        <a:buClr>
          <a:schemeClr val="accent1"/>
        </a:buClr>
        <a:buFont typeface="Franklin Gothic Medium" pitchFamily="34" charset="0"/>
        <a:buChar char="4"/>
        <a:defRPr sz="1600" b="1">
          <a:solidFill>
            <a:schemeClr val="tx1"/>
          </a:solidFill>
          <a:latin typeface="+mn-lt"/>
          <a:ea typeface="Arial" charset="0"/>
          <a:cs typeface="+mn-cs"/>
        </a:defRPr>
      </a:lvl4pPr>
      <a:lvl5pPr marL="2603500" indent="-177800" algn="just" rtl="0" eaLnBrk="0" fontAlgn="base" hangingPunct="0">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ea typeface="Arial" charset="0"/>
          <a:cs typeface="+mn-cs"/>
        </a:defRPr>
      </a:lvl5pPr>
      <a:lvl6pPr marL="30607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6pPr>
      <a:lvl7pPr marL="35179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7pPr>
      <a:lvl8pPr marL="39751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8pPr>
      <a:lvl9pPr marL="44323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36194" name="Picture 8" descr="TIM_MENTE_SEM_FRONTEIRAS_0803 0008"/>
          <p:cNvPicPr>
            <a:picLocks noChangeAspect="1" noChangeArrowheads="1"/>
          </p:cNvPicPr>
          <p:nvPr/>
        </p:nvPicPr>
        <p:blipFill>
          <a:blip r:embed="rId14" cstate="print"/>
          <a:srcRect/>
          <a:stretch>
            <a:fillRect/>
          </a:stretch>
        </p:blipFill>
        <p:spPr bwMode="auto">
          <a:xfrm>
            <a:off x="0" y="-12700"/>
            <a:ext cx="9906000" cy="896938"/>
          </a:xfrm>
          <a:prstGeom prst="rect">
            <a:avLst/>
          </a:prstGeom>
          <a:noFill/>
          <a:ln w="9525">
            <a:noFill/>
            <a:miter lim="800000"/>
            <a:headEnd/>
            <a:tailEnd/>
          </a:ln>
        </p:spPr>
      </p:pic>
      <p:sp>
        <p:nvSpPr>
          <p:cNvPr id="11267" name="Rectangle 2"/>
          <p:cNvSpPr>
            <a:spLocks noChangeArrowheads="1"/>
          </p:cNvSpPr>
          <p:nvPr/>
        </p:nvSpPr>
        <p:spPr bwMode="auto">
          <a:xfrm>
            <a:off x="0" y="0"/>
            <a:ext cx="9906000" cy="6851650"/>
          </a:xfrm>
          <a:prstGeom prst="rect">
            <a:avLst/>
          </a:prstGeom>
          <a:noFill/>
          <a:ln w="12700" cap="sq">
            <a:solidFill>
              <a:srgbClr val="595959"/>
            </a:solidFill>
            <a:miter lim="800000"/>
            <a:headEnd type="none" w="sm" len="sm"/>
            <a:tailEnd type="none" w="sm" len="sm"/>
          </a:ln>
        </p:spPr>
        <p:txBody>
          <a:bodyPr wrap="none" anchor="ctr"/>
          <a:lstStyle/>
          <a:p>
            <a:pPr algn="r" eaLnBrk="0" hangingPunct="0">
              <a:defRPr/>
            </a:pPr>
            <a:endParaRPr lang="pt-BR" sz="1000" b="0" i="1">
              <a:latin typeface="Franklin Gothic Medium" charset="0"/>
            </a:endParaRPr>
          </a:p>
        </p:txBody>
      </p:sp>
      <p:sp>
        <p:nvSpPr>
          <p:cNvPr id="136196" name="Rectangle 13"/>
          <p:cNvSpPr>
            <a:spLocks noGrp="1" noChangeArrowheads="1"/>
          </p:cNvSpPr>
          <p:nvPr>
            <p:ph type="title"/>
          </p:nvPr>
        </p:nvSpPr>
        <p:spPr bwMode="auto">
          <a:xfrm>
            <a:off x="307983" y="227013"/>
            <a:ext cx="79803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it-IT" smtClean="0"/>
              <a:t>Click to edit Master title style</a:t>
            </a:r>
          </a:p>
        </p:txBody>
      </p:sp>
      <p:sp>
        <p:nvSpPr>
          <p:cNvPr id="11269" name="Rectangle 37"/>
          <p:cNvSpPr>
            <a:spLocks noChangeArrowheads="1"/>
          </p:cNvSpPr>
          <p:nvPr>
            <p:custDataLst>
              <p:tags r:id="rId13"/>
            </p:custDataLst>
          </p:nvPr>
        </p:nvSpPr>
        <p:spPr bwMode="auto">
          <a:xfrm>
            <a:off x="9631741" y="6597664"/>
            <a:ext cx="125034" cy="123111"/>
          </a:xfrm>
          <a:prstGeom prst="rect">
            <a:avLst/>
          </a:prstGeom>
          <a:noFill/>
          <a:ln w="9525">
            <a:noFill/>
            <a:miter lim="800000"/>
            <a:headEnd/>
            <a:tailEnd/>
          </a:ln>
        </p:spPr>
        <p:txBody>
          <a:bodyPr wrap="none" lIns="0" tIns="0" rIns="0" bIns="0">
            <a:spAutoFit/>
          </a:bodyPr>
          <a:lstStyle/>
          <a:p>
            <a:pPr algn="r" defTabSz="762000" eaLnBrk="0" hangingPunct="0">
              <a:defRPr/>
            </a:pPr>
            <a:fld id="{A177E702-6274-40A4-929F-7DB310D85D64}" type="slidenum">
              <a:rPr lang="it-IT" sz="800" b="0">
                <a:solidFill>
                  <a:srgbClr val="8995B4"/>
                </a:solidFill>
              </a:rPr>
              <a:pPr algn="r" defTabSz="762000" eaLnBrk="0" hangingPunct="0">
                <a:defRPr/>
              </a:pPr>
              <a:t>‹nº›</a:t>
            </a:fld>
            <a:endParaRPr lang="it-IT" sz="800" b="0">
              <a:solidFill>
                <a:srgbClr val="8995B4"/>
              </a:solidFill>
            </a:endParaRPr>
          </a:p>
        </p:txBody>
      </p:sp>
      <p:pic>
        <p:nvPicPr>
          <p:cNvPr id="136198" name="Picture 10" descr="LogosTIM2009_VoceSemFronteiras"/>
          <p:cNvPicPr>
            <a:picLocks noChangeAspect="1" noChangeArrowheads="1"/>
          </p:cNvPicPr>
          <p:nvPr/>
        </p:nvPicPr>
        <p:blipFill>
          <a:blip r:embed="rId15" cstate="email">
            <a:clrChange>
              <a:clrFrom>
                <a:srgbClr val="000000"/>
              </a:clrFrom>
              <a:clrTo>
                <a:srgbClr val="000000">
                  <a:alpha val="0"/>
                </a:srgbClr>
              </a:clrTo>
            </a:clrChange>
            <a:extLst>
              <a:ext uri="{28A0092B-C50C-407E-A947-70E740481C1C}">
                <a14:useLocalDpi xmlns="" xmlns:a14="http://schemas.microsoft.com/office/drawing/2010/main"/>
              </a:ext>
            </a:extLst>
          </a:blip>
          <a:srcRect/>
          <a:stretch>
            <a:fillRect/>
          </a:stretch>
        </p:blipFill>
        <p:spPr bwMode="auto">
          <a:xfrm>
            <a:off x="8374063" y="131766"/>
            <a:ext cx="1249362" cy="61753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166" r:id="rId1"/>
    <p:sldLayoutId id="2147484165" r:id="rId2"/>
    <p:sldLayoutId id="2147484164" r:id="rId3"/>
    <p:sldLayoutId id="2147484163" r:id="rId4"/>
    <p:sldLayoutId id="2147484162" r:id="rId5"/>
    <p:sldLayoutId id="2147484161" r:id="rId6"/>
    <p:sldLayoutId id="2147484160" r:id="rId7"/>
    <p:sldLayoutId id="2147484159" r:id="rId8"/>
    <p:sldLayoutId id="2147484158" r:id="rId9"/>
    <p:sldLayoutId id="2147484157" r:id="rId10"/>
    <p:sldLayoutId id="2147484156" r:id="rId11"/>
  </p:sldLayoutIdLst>
  <p:txStyles>
    <p:titleStyle>
      <a:lvl1pPr algn="l" rtl="0" eaLnBrk="0" fontAlgn="base" hangingPunct="0">
        <a:lnSpc>
          <a:spcPct val="80000"/>
        </a:lnSpc>
        <a:spcBef>
          <a:spcPct val="0"/>
        </a:spcBef>
        <a:spcAft>
          <a:spcPct val="0"/>
        </a:spcAft>
        <a:defRPr sz="2600" b="1">
          <a:solidFill>
            <a:schemeClr val="bg1"/>
          </a:solidFill>
          <a:latin typeface="+mj-lt"/>
          <a:ea typeface="Arial" charset="0"/>
          <a:cs typeface="+mj-cs"/>
        </a:defRPr>
      </a:lvl1pPr>
      <a:lvl2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2pPr>
      <a:lvl3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3pPr>
      <a:lvl4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4pPr>
      <a:lvl5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5pPr>
      <a:lvl6pPr marL="4572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6pPr>
      <a:lvl7pPr marL="9144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7pPr>
      <a:lvl8pPr marL="13716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8pPr>
      <a:lvl9pPr marL="18288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9pPr>
    </p:titleStyle>
    <p:bodyStyle>
      <a:lvl1pPr marL="342900" indent="-342900" algn="just" rtl="0" eaLnBrk="0" fontAlgn="base" hangingPunct="0">
        <a:lnSpc>
          <a:spcPct val="110000"/>
        </a:lnSpc>
        <a:spcBef>
          <a:spcPct val="20000"/>
        </a:spcBef>
        <a:spcAft>
          <a:spcPct val="10000"/>
        </a:spcAft>
        <a:buClr>
          <a:schemeClr val="accent1"/>
        </a:buClr>
        <a:buFont typeface="Franklin Gothic Medium" pitchFamily="34" charset="0"/>
        <a:buChar char="4"/>
        <a:defRPr sz="2000">
          <a:solidFill>
            <a:schemeClr val="tx1"/>
          </a:solidFill>
          <a:latin typeface="+mn-lt"/>
          <a:ea typeface="Arial" charset="0"/>
          <a:cs typeface="+mn-cs"/>
        </a:defRPr>
      </a:lvl1pPr>
      <a:lvl2pPr marL="812800" indent="-277813" algn="just" rtl="0" eaLnBrk="0" fontAlgn="base" hangingPunct="0">
        <a:lnSpc>
          <a:spcPct val="110000"/>
        </a:lnSpc>
        <a:spcBef>
          <a:spcPct val="20000"/>
        </a:spcBef>
        <a:spcAft>
          <a:spcPct val="10000"/>
        </a:spcAft>
        <a:buClr>
          <a:schemeClr val="accent1"/>
        </a:buClr>
        <a:buFont typeface="Franklin Gothic Medium" pitchFamily="34" charset="0"/>
        <a:buChar char="4"/>
        <a:defRPr sz="2800" b="1">
          <a:solidFill>
            <a:schemeClr val="tx1"/>
          </a:solidFill>
          <a:latin typeface="+mn-lt"/>
          <a:ea typeface="Arial" charset="0"/>
          <a:cs typeface="+mn-cs"/>
        </a:defRPr>
      </a:lvl2pPr>
      <a:lvl3pPr marL="1524000" indent="-266700" algn="just" rtl="0" eaLnBrk="0" fontAlgn="base" hangingPunct="0">
        <a:lnSpc>
          <a:spcPct val="110000"/>
        </a:lnSpc>
        <a:spcBef>
          <a:spcPct val="20000"/>
        </a:spcBef>
        <a:spcAft>
          <a:spcPct val="10000"/>
        </a:spcAft>
        <a:buClr>
          <a:schemeClr val="accent1"/>
        </a:buClr>
        <a:buFont typeface="Franklin Gothic Medium" pitchFamily="34" charset="0"/>
        <a:buChar char="4"/>
        <a:defRPr sz="2400">
          <a:solidFill>
            <a:schemeClr val="tx1"/>
          </a:solidFill>
          <a:latin typeface="+mn-lt"/>
          <a:ea typeface="Arial" charset="0"/>
          <a:cs typeface="+mn-cs"/>
        </a:defRPr>
      </a:lvl3pPr>
      <a:lvl4pPr marL="2157413" indent="-188913" algn="just" rtl="0" eaLnBrk="0" fontAlgn="base" hangingPunct="0">
        <a:lnSpc>
          <a:spcPct val="110000"/>
        </a:lnSpc>
        <a:spcBef>
          <a:spcPct val="20000"/>
        </a:spcBef>
        <a:spcAft>
          <a:spcPct val="10000"/>
        </a:spcAft>
        <a:buClr>
          <a:schemeClr val="accent1"/>
        </a:buClr>
        <a:buFont typeface="Franklin Gothic Medium" pitchFamily="34" charset="0"/>
        <a:buChar char="4"/>
        <a:defRPr sz="1600" b="1">
          <a:solidFill>
            <a:schemeClr val="tx1"/>
          </a:solidFill>
          <a:latin typeface="+mn-lt"/>
          <a:ea typeface="Arial" charset="0"/>
          <a:cs typeface="+mn-cs"/>
        </a:defRPr>
      </a:lvl4pPr>
      <a:lvl5pPr marL="2603500" indent="-177800" algn="just" rtl="0" eaLnBrk="0" fontAlgn="base" hangingPunct="0">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ea typeface="Arial" charset="0"/>
          <a:cs typeface="+mn-cs"/>
        </a:defRPr>
      </a:lvl5pPr>
      <a:lvl6pPr marL="30607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6pPr>
      <a:lvl7pPr marL="35179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7pPr>
      <a:lvl8pPr marL="39751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8pPr>
      <a:lvl9pPr marL="44323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48482" name="Picture 8" descr="TIM_MENTE_SEM_FRONTEIRAS_0803 0008"/>
          <p:cNvPicPr>
            <a:picLocks noChangeAspect="1" noChangeArrowheads="1"/>
          </p:cNvPicPr>
          <p:nvPr/>
        </p:nvPicPr>
        <p:blipFill>
          <a:blip r:embed="rId14" cstate="print"/>
          <a:srcRect/>
          <a:stretch>
            <a:fillRect/>
          </a:stretch>
        </p:blipFill>
        <p:spPr bwMode="auto">
          <a:xfrm>
            <a:off x="0" y="-12700"/>
            <a:ext cx="9906000" cy="896938"/>
          </a:xfrm>
          <a:prstGeom prst="rect">
            <a:avLst/>
          </a:prstGeom>
          <a:noFill/>
          <a:ln w="9525">
            <a:noFill/>
            <a:miter lim="800000"/>
            <a:headEnd/>
            <a:tailEnd/>
          </a:ln>
        </p:spPr>
      </p:pic>
      <p:sp>
        <p:nvSpPr>
          <p:cNvPr id="12291" name="Rectangle 2"/>
          <p:cNvSpPr>
            <a:spLocks noChangeArrowheads="1"/>
          </p:cNvSpPr>
          <p:nvPr/>
        </p:nvSpPr>
        <p:spPr bwMode="auto">
          <a:xfrm>
            <a:off x="0" y="0"/>
            <a:ext cx="9906000" cy="6851650"/>
          </a:xfrm>
          <a:prstGeom prst="rect">
            <a:avLst/>
          </a:prstGeom>
          <a:noFill/>
          <a:ln w="12700" cap="sq">
            <a:solidFill>
              <a:srgbClr val="595959"/>
            </a:solidFill>
            <a:miter lim="800000"/>
            <a:headEnd type="none" w="sm" len="sm"/>
            <a:tailEnd type="none" w="sm" len="sm"/>
          </a:ln>
        </p:spPr>
        <p:txBody>
          <a:bodyPr wrap="none" anchor="ctr"/>
          <a:lstStyle/>
          <a:p>
            <a:pPr algn="r" eaLnBrk="0" hangingPunct="0">
              <a:defRPr/>
            </a:pPr>
            <a:endParaRPr lang="pt-BR" sz="1000" b="0" i="1">
              <a:latin typeface="Franklin Gothic Medium" charset="0"/>
            </a:endParaRPr>
          </a:p>
        </p:txBody>
      </p:sp>
      <p:sp>
        <p:nvSpPr>
          <p:cNvPr id="148484" name="Rectangle 13"/>
          <p:cNvSpPr>
            <a:spLocks noGrp="1" noChangeArrowheads="1"/>
          </p:cNvSpPr>
          <p:nvPr>
            <p:ph type="title"/>
          </p:nvPr>
        </p:nvSpPr>
        <p:spPr bwMode="auto">
          <a:xfrm>
            <a:off x="307983" y="227013"/>
            <a:ext cx="79803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it-IT" smtClean="0"/>
              <a:t>Click to edit Master title style</a:t>
            </a:r>
          </a:p>
        </p:txBody>
      </p:sp>
      <p:sp>
        <p:nvSpPr>
          <p:cNvPr id="12293" name="Rectangle 37"/>
          <p:cNvSpPr>
            <a:spLocks noChangeArrowheads="1"/>
          </p:cNvSpPr>
          <p:nvPr>
            <p:custDataLst>
              <p:tags r:id="rId13"/>
            </p:custDataLst>
          </p:nvPr>
        </p:nvSpPr>
        <p:spPr bwMode="auto">
          <a:xfrm>
            <a:off x="9631741" y="6597664"/>
            <a:ext cx="125034" cy="123111"/>
          </a:xfrm>
          <a:prstGeom prst="rect">
            <a:avLst/>
          </a:prstGeom>
          <a:noFill/>
          <a:ln w="9525">
            <a:noFill/>
            <a:miter lim="800000"/>
            <a:headEnd/>
            <a:tailEnd/>
          </a:ln>
        </p:spPr>
        <p:txBody>
          <a:bodyPr wrap="none" lIns="0" tIns="0" rIns="0" bIns="0">
            <a:spAutoFit/>
          </a:bodyPr>
          <a:lstStyle/>
          <a:p>
            <a:pPr algn="r" defTabSz="762000" eaLnBrk="0" hangingPunct="0">
              <a:defRPr/>
            </a:pPr>
            <a:fld id="{1C81D25A-139F-4B61-BB4F-13D5ECAF035D}" type="slidenum">
              <a:rPr lang="it-IT" sz="800" b="0">
                <a:solidFill>
                  <a:srgbClr val="8995B4"/>
                </a:solidFill>
              </a:rPr>
              <a:pPr algn="r" defTabSz="762000" eaLnBrk="0" hangingPunct="0">
                <a:defRPr/>
              </a:pPr>
              <a:t>‹nº›</a:t>
            </a:fld>
            <a:endParaRPr lang="it-IT" sz="800" b="0">
              <a:solidFill>
                <a:srgbClr val="8995B4"/>
              </a:solidFill>
            </a:endParaRPr>
          </a:p>
        </p:txBody>
      </p:sp>
      <p:pic>
        <p:nvPicPr>
          <p:cNvPr id="148486" name="Picture 10" descr="LogosTIM2009_VoceSemFronteiras"/>
          <p:cNvPicPr>
            <a:picLocks noChangeAspect="1" noChangeArrowheads="1"/>
          </p:cNvPicPr>
          <p:nvPr/>
        </p:nvPicPr>
        <p:blipFill>
          <a:blip r:embed="rId15" cstate="email">
            <a:clrChange>
              <a:clrFrom>
                <a:srgbClr val="000000"/>
              </a:clrFrom>
              <a:clrTo>
                <a:srgbClr val="000000">
                  <a:alpha val="0"/>
                </a:srgbClr>
              </a:clrTo>
            </a:clrChange>
            <a:extLst>
              <a:ext uri="{28A0092B-C50C-407E-A947-70E740481C1C}">
                <a14:useLocalDpi xmlns="" xmlns:a14="http://schemas.microsoft.com/office/drawing/2010/main"/>
              </a:ext>
            </a:extLst>
          </a:blip>
          <a:srcRect/>
          <a:stretch>
            <a:fillRect/>
          </a:stretch>
        </p:blipFill>
        <p:spPr bwMode="auto">
          <a:xfrm>
            <a:off x="8374063" y="131766"/>
            <a:ext cx="1249362" cy="61753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177" r:id="rId1"/>
    <p:sldLayoutId id="2147484176" r:id="rId2"/>
    <p:sldLayoutId id="2147484175" r:id="rId3"/>
    <p:sldLayoutId id="2147484174" r:id="rId4"/>
    <p:sldLayoutId id="2147484173" r:id="rId5"/>
    <p:sldLayoutId id="2147484172" r:id="rId6"/>
    <p:sldLayoutId id="2147484171" r:id="rId7"/>
    <p:sldLayoutId id="2147484170" r:id="rId8"/>
    <p:sldLayoutId id="2147484169" r:id="rId9"/>
    <p:sldLayoutId id="2147484168" r:id="rId10"/>
    <p:sldLayoutId id="2147484167" r:id="rId11"/>
  </p:sldLayoutIdLst>
  <p:txStyles>
    <p:titleStyle>
      <a:lvl1pPr algn="l" rtl="0" eaLnBrk="0" fontAlgn="base" hangingPunct="0">
        <a:lnSpc>
          <a:spcPct val="80000"/>
        </a:lnSpc>
        <a:spcBef>
          <a:spcPct val="0"/>
        </a:spcBef>
        <a:spcAft>
          <a:spcPct val="0"/>
        </a:spcAft>
        <a:defRPr sz="2600" b="1">
          <a:solidFill>
            <a:schemeClr val="bg1"/>
          </a:solidFill>
          <a:latin typeface="+mj-lt"/>
          <a:ea typeface="Arial" charset="0"/>
          <a:cs typeface="+mj-cs"/>
        </a:defRPr>
      </a:lvl1pPr>
      <a:lvl2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2pPr>
      <a:lvl3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3pPr>
      <a:lvl4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4pPr>
      <a:lvl5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5pPr>
      <a:lvl6pPr marL="4572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6pPr>
      <a:lvl7pPr marL="9144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7pPr>
      <a:lvl8pPr marL="13716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8pPr>
      <a:lvl9pPr marL="18288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9pPr>
    </p:titleStyle>
    <p:bodyStyle>
      <a:lvl1pPr marL="342900" indent="-342900" algn="just" rtl="0" eaLnBrk="0" fontAlgn="base" hangingPunct="0">
        <a:lnSpc>
          <a:spcPct val="110000"/>
        </a:lnSpc>
        <a:spcBef>
          <a:spcPct val="20000"/>
        </a:spcBef>
        <a:spcAft>
          <a:spcPct val="10000"/>
        </a:spcAft>
        <a:buClr>
          <a:schemeClr val="accent1"/>
        </a:buClr>
        <a:buFont typeface="Franklin Gothic Medium" pitchFamily="34" charset="0"/>
        <a:buChar char="4"/>
        <a:defRPr sz="2000">
          <a:solidFill>
            <a:schemeClr val="tx1"/>
          </a:solidFill>
          <a:latin typeface="+mn-lt"/>
          <a:ea typeface="Arial" charset="0"/>
          <a:cs typeface="+mn-cs"/>
        </a:defRPr>
      </a:lvl1pPr>
      <a:lvl2pPr marL="812800" indent="-277813" algn="just" rtl="0" eaLnBrk="0" fontAlgn="base" hangingPunct="0">
        <a:lnSpc>
          <a:spcPct val="110000"/>
        </a:lnSpc>
        <a:spcBef>
          <a:spcPct val="20000"/>
        </a:spcBef>
        <a:spcAft>
          <a:spcPct val="10000"/>
        </a:spcAft>
        <a:buClr>
          <a:schemeClr val="accent1"/>
        </a:buClr>
        <a:buFont typeface="Franklin Gothic Medium" pitchFamily="34" charset="0"/>
        <a:buChar char="4"/>
        <a:defRPr sz="2800" b="1">
          <a:solidFill>
            <a:schemeClr val="tx1"/>
          </a:solidFill>
          <a:latin typeface="+mn-lt"/>
          <a:ea typeface="Arial" charset="0"/>
          <a:cs typeface="+mn-cs"/>
        </a:defRPr>
      </a:lvl2pPr>
      <a:lvl3pPr marL="1524000" indent="-266700" algn="just" rtl="0" eaLnBrk="0" fontAlgn="base" hangingPunct="0">
        <a:lnSpc>
          <a:spcPct val="110000"/>
        </a:lnSpc>
        <a:spcBef>
          <a:spcPct val="20000"/>
        </a:spcBef>
        <a:spcAft>
          <a:spcPct val="10000"/>
        </a:spcAft>
        <a:buClr>
          <a:schemeClr val="accent1"/>
        </a:buClr>
        <a:buFont typeface="Franklin Gothic Medium" pitchFamily="34" charset="0"/>
        <a:buChar char="4"/>
        <a:defRPr sz="2400">
          <a:solidFill>
            <a:schemeClr val="tx1"/>
          </a:solidFill>
          <a:latin typeface="+mn-lt"/>
          <a:ea typeface="Arial" charset="0"/>
          <a:cs typeface="+mn-cs"/>
        </a:defRPr>
      </a:lvl3pPr>
      <a:lvl4pPr marL="2157413" indent="-188913" algn="just" rtl="0" eaLnBrk="0" fontAlgn="base" hangingPunct="0">
        <a:lnSpc>
          <a:spcPct val="110000"/>
        </a:lnSpc>
        <a:spcBef>
          <a:spcPct val="20000"/>
        </a:spcBef>
        <a:spcAft>
          <a:spcPct val="10000"/>
        </a:spcAft>
        <a:buClr>
          <a:schemeClr val="accent1"/>
        </a:buClr>
        <a:buFont typeface="Franklin Gothic Medium" pitchFamily="34" charset="0"/>
        <a:buChar char="4"/>
        <a:defRPr sz="1600" b="1">
          <a:solidFill>
            <a:schemeClr val="tx1"/>
          </a:solidFill>
          <a:latin typeface="+mn-lt"/>
          <a:ea typeface="Arial" charset="0"/>
          <a:cs typeface="+mn-cs"/>
        </a:defRPr>
      </a:lvl4pPr>
      <a:lvl5pPr marL="2603500" indent="-177800" algn="just" rtl="0" eaLnBrk="0" fontAlgn="base" hangingPunct="0">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ea typeface="Arial" charset="0"/>
          <a:cs typeface="+mn-cs"/>
        </a:defRPr>
      </a:lvl5pPr>
      <a:lvl6pPr marL="30607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6pPr>
      <a:lvl7pPr marL="35179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7pPr>
      <a:lvl8pPr marL="39751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8pPr>
      <a:lvl9pPr marL="44323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60770" name="Picture 8" descr="TIM_MENTE_SEM_FRONTEIRAS_0803 0008"/>
          <p:cNvPicPr>
            <a:picLocks noChangeAspect="1" noChangeArrowheads="1"/>
          </p:cNvPicPr>
          <p:nvPr/>
        </p:nvPicPr>
        <p:blipFill>
          <a:blip r:embed="rId15" cstate="print"/>
          <a:srcRect/>
          <a:stretch>
            <a:fillRect/>
          </a:stretch>
        </p:blipFill>
        <p:spPr bwMode="auto">
          <a:xfrm>
            <a:off x="0" y="-12700"/>
            <a:ext cx="9906000" cy="896938"/>
          </a:xfrm>
          <a:prstGeom prst="rect">
            <a:avLst/>
          </a:prstGeom>
          <a:noFill/>
          <a:ln w="9525">
            <a:noFill/>
            <a:miter lim="800000"/>
            <a:headEnd/>
            <a:tailEnd/>
          </a:ln>
        </p:spPr>
      </p:pic>
      <p:sp>
        <p:nvSpPr>
          <p:cNvPr id="45059" name="Rectangle 2"/>
          <p:cNvSpPr>
            <a:spLocks noChangeArrowheads="1"/>
          </p:cNvSpPr>
          <p:nvPr/>
        </p:nvSpPr>
        <p:spPr bwMode="auto">
          <a:xfrm>
            <a:off x="0" y="0"/>
            <a:ext cx="9906000" cy="6851650"/>
          </a:xfrm>
          <a:prstGeom prst="rect">
            <a:avLst/>
          </a:prstGeom>
          <a:noFill/>
          <a:ln w="12700" cap="sq">
            <a:solidFill>
              <a:srgbClr val="595959"/>
            </a:solidFill>
            <a:miter lim="800000"/>
            <a:headEnd type="none" w="sm" len="sm"/>
            <a:tailEnd type="none" w="sm" len="sm"/>
          </a:ln>
          <a:extLst/>
        </p:spPr>
        <p:txBody>
          <a:bodyPr wrap="none" anchor="ctr"/>
          <a:lstStyle/>
          <a:p>
            <a:pPr algn="r" eaLnBrk="0" hangingPunct="0">
              <a:defRPr/>
            </a:pPr>
            <a:endParaRPr lang="pt-BR" sz="1000" b="0" i="1">
              <a:solidFill>
                <a:srgbClr val="004990"/>
              </a:solidFill>
              <a:latin typeface="Franklin Gothic Medium" pitchFamily="34" charset="0"/>
              <a:cs typeface="Arial" pitchFamily="34" charset="0"/>
            </a:endParaRPr>
          </a:p>
        </p:txBody>
      </p:sp>
      <p:sp>
        <p:nvSpPr>
          <p:cNvPr id="160772" name="Rectangle 13"/>
          <p:cNvSpPr>
            <a:spLocks noGrp="1" noChangeArrowheads="1"/>
          </p:cNvSpPr>
          <p:nvPr>
            <p:ph type="title"/>
          </p:nvPr>
        </p:nvSpPr>
        <p:spPr bwMode="auto">
          <a:xfrm>
            <a:off x="307983" y="227013"/>
            <a:ext cx="79803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it-IT" smtClean="0"/>
              <a:t>Click to edit Master title style</a:t>
            </a:r>
          </a:p>
        </p:txBody>
      </p:sp>
      <p:sp>
        <p:nvSpPr>
          <p:cNvPr id="45061" name="Rectangle 37"/>
          <p:cNvSpPr>
            <a:spLocks noChangeArrowheads="1"/>
          </p:cNvSpPr>
          <p:nvPr>
            <p:custDataLst>
              <p:tags r:id="rId14"/>
            </p:custDataLst>
          </p:nvPr>
        </p:nvSpPr>
        <p:spPr bwMode="auto">
          <a:xfrm>
            <a:off x="9631741" y="6597664"/>
            <a:ext cx="125034" cy="123111"/>
          </a:xfrm>
          <a:prstGeom prst="rect">
            <a:avLst/>
          </a:prstGeom>
          <a:noFill/>
          <a:ln>
            <a:noFill/>
          </a:ln>
          <a:extLst/>
        </p:spPr>
        <p:txBody>
          <a:bodyPr wrap="none" lIns="0" tIns="0" rIns="0" bIns="0">
            <a:spAutoFit/>
          </a:bodyPr>
          <a:lstStyle/>
          <a:p>
            <a:pPr algn="r" defTabSz="762000" eaLnBrk="0" hangingPunct="0">
              <a:defRPr/>
            </a:pPr>
            <a:fld id="{668E90A6-9564-4A28-A909-51C8029EE59B}" type="slidenum">
              <a:rPr lang="it-IT" sz="800" b="0">
                <a:solidFill>
                  <a:srgbClr val="8995B4"/>
                </a:solidFill>
                <a:latin typeface="Arial" pitchFamily="34" charset="0"/>
                <a:cs typeface="Arial" pitchFamily="34" charset="0"/>
              </a:rPr>
              <a:pPr algn="r" defTabSz="762000" eaLnBrk="0" hangingPunct="0">
                <a:defRPr/>
              </a:pPr>
              <a:t>‹nº›</a:t>
            </a:fld>
            <a:endParaRPr lang="it-IT" sz="800" b="0">
              <a:solidFill>
                <a:srgbClr val="8995B4"/>
              </a:solidFill>
              <a:latin typeface="Arial" pitchFamily="34" charset="0"/>
              <a:cs typeface="Arial" pitchFamily="34" charset="0"/>
            </a:endParaRPr>
          </a:p>
        </p:txBody>
      </p:sp>
      <p:pic>
        <p:nvPicPr>
          <p:cNvPr id="160774" name="Picture 10" descr="LogosTIM2009_VoceSemFronteiras"/>
          <p:cNvPicPr>
            <a:picLocks noChangeAspect="1" noChangeArrowheads="1"/>
          </p:cNvPicPr>
          <p:nvPr/>
        </p:nvPicPr>
        <p:blipFill>
          <a:blip r:embed="rId16" cstate="email">
            <a:clrChange>
              <a:clrFrom>
                <a:srgbClr val="000000"/>
              </a:clrFrom>
              <a:clrTo>
                <a:srgbClr val="000000">
                  <a:alpha val="0"/>
                </a:srgbClr>
              </a:clrTo>
            </a:clrChange>
            <a:extLst>
              <a:ext uri="{28A0092B-C50C-407E-A947-70E740481C1C}">
                <a14:useLocalDpi xmlns="" xmlns:a14="http://schemas.microsoft.com/office/drawing/2010/main"/>
              </a:ext>
            </a:extLst>
          </a:blip>
          <a:srcRect/>
          <a:stretch>
            <a:fillRect/>
          </a:stretch>
        </p:blipFill>
        <p:spPr bwMode="auto">
          <a:xfrm>
            <a:off x="8374063" y="131766"/>
            <a:ext cx="1249362" cy="61753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189" r:id="rId1"/>
    <p:sldLayoutId id="2147484188" r:id="rId2"/>
    <p:sldLayoutId id="2147484187" r:id="rId3"/>
    <p:sldLayoutId id="2147484186" r:id="rId4"/>
    <p:sldLayoutId id="2147484185" r:id="rId5"/>
    <p:sldLayoutId id="2147484184" r:id="rId6"/>
    <p:sldLayoutId id="2147484183" r:id="rId7"/>
    <p:sldLayoutId id="2147484182" r:id="rId8"/>
    <p:sldLayoutId id="2147484181" r:id="rId9"/>
    <p:sldLayoutId id="2147484180" r:id="rId10"/>
    <p:sldLayoutId id="2147484179" r:id="rId11"/>
    <p:sldLayoutId id="2147484178" r:id="rId12"/>
  </p:sldLayoutIdLst>
  <p:txStyles>
    <p:titleStyle>
      <a:lvl1pPr algn="l" rtl="0" eaLnBrk="0" fontAlgn="base" hangingPunct="0">
        <a:lnSpc>
          <a:spcPct val="80000"/>
        </a:lnSpc>
        <a:spcBef>
          <a:spcPct val="0"/>
        </a:spcBef>
        <a:spcAft>
          <a:spcPct val="0"/>
        </a:spcAft>
        <a:defRPr sz="2600" b="1">
          <a:solidFill>
            <a:schemeClr val="bg1"/>
          </a:solidFill>
          <a:latin typeface="+mj-lt"/>
          <a:ea typeface="Arial" charset="0"/>
          <a:cs typeface="+mj-cs"/>
        </a:defRPr>
      </a:lvl1pPr>
      <a:lvl2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2pPr>
      <a:lvl3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3pPr>
      <a:lvl4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4pPr>
      <a:lvl5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5pPr>
      <a:lvl6pPr marL="4572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6pPr>
      <a:lvl7pPr marL="9144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7pPr>
      <a:lvl8pPr marL="13716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8pPr>
      <a:lvl9pPr marL="18288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9pPr>
    </p:titleStyle>
    <p:bodyStyle>
      <a:lvl1pPr marL="342900" indent="-342900" algn="just" rtl="0" eaLnBrk="0" fontAlgn="base" hangingPunct="0">
        <a:lnSpc>
          <a:spcPct val="110000"/>
        </a:lnSpc>
        <a:spcBef>
          <a:spcPct val="20000"/>
        </a:spcBef>
        <a:spcAft>
          <a:spcPct val="10000"/>
        </a:spcAft>
        <a:buClr>
          <a:schemeClr val="accent1"/>
        </a:buClr>
        <a:buFont typeface="Franklin Gothic Medium" pitchFamily="34" charset="0"/>
        <a:buChar char="4"/>
        <a:defRPr sz="2000">
          <a:solidFill>
            <a:schemeClr val="tx1"/>
          </a:solidFill>
          <a:latin typeface="+mn-lt"/>
          <a:ea typeface="Arial" charset="0"/>
          <a:cs typeface="+mn-cs"/>
        </a:defRPr>
      </a:lvl1pPr>
      <a:lvl2pPr marL="812800" indent="-277813" algn="just" rtl="0" eaLnBrk="0" fontAlgn="base" hangingPunct="0">
        <a:lnSpc>
          <a:spcPct val="110000"/>
        </a:lnSpc>
        <a:spcBef>
          <a:spcPct val="20000"/>
        </a:spcBef>
        <a:spcAft>
          <a:spcPct val="10000"/>
        </a:spcAft>
        <a:buClr>
          <a:schemeClr val="accent1"/>
        </a:buClr>
        <a:buFont typeface="Franklin Gothic Medium" pitchFamily="34" charset="0"/>
        <a:buChar char="4"/>
        <a:defRPr sz="2800" b="1">
          <a:solidFill>
            <a:schemeClr val="tx1"/>
          </a:solidFill>
          <a:latin typeface="+mn-lt"/>
          <a:ea typeface="Arial" charset="0"/>
          <a:cs typeface="+mn-cs"/>
        </a:defRPr>
      </a:lvl2pPr>
      <a:lvl3pPr marL="1524000" indent="-266700" algn="just" rtl="0" eaLnBrk="0" fontAlgn="base" hangingPunct="0">
        <a:lnSpc>
          <a:spcPct val="110000"/>
        </a:lnSpc>
        <a:spcBef>
          <a:spcPct val="20000"/>
        </a:spcBef>
        <a:spcAft>
          <a:spcPct val="10000"/>
        </a:spcAft>
        <a:buClr>
          <a:schemeClr val="accent1"/>
        </a:buClr>
        <a:buFont typeface="Franklin Gothic Medium" pitchFamily="34" charset="0"/>
        <a:buChar char="4"/>
        <a:defRPr sz="2400">
          <a:solidFill>
            <a:schemeClr val="tx1"/>
          </a:solidFill>
          <a:latin typeface="+mn-lt"/>
          <a:ea typeface="Arial" charset="0"/>
          <a:cs typeface="+mn-cs"/>
        </a:defRPr>
      </a:lvl3pPr>
      <a:lvl4pPr marL="2157413" indent="-188913" algn="just" rtl="0" eaLnBrk="0" fontAlgn="base" hangingPunct="0">
        <a:lnSpc>
          <a:spcPct val="110000"/>
        </a:lnSpc>
        <a:spcBef>
          <a:spcPct val="20000"/>
        </a:spcBef>
        <a:spcAft>
          <a:spcPct val="10000"/>
        </a:spcAft>
        <a:buClr>
          <a:schemeClr val="accent1"/>
        </a:buClr>
        <a:buFont typeface="Franklin Gothic Medium" pitchFamily="34" charset="0"/>
        <a:buChar char="4"/>
        <a:defRPr sz="1600" b="1">
          <a:solidFill>
            <a:schemeClr val="tx1"/>
          </a:solidFill>
          <a:latin typeface="+mn-lt"/>
          <a:ea typeface="Arial" charset="0"/>
          <a:cs typeface="+mn-cs"/>
        </a:defRPr>
      </a:lvl4pPr>
      <a:lvl5pPr marL="2603500" indent="-177800" algn="just" rtl="0" eaLnBrk="0" fontAlgn="base" hangingPunct="0">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ea typeface="Arial" charset="0"/>
          <a:cs typeface="+mn-cs"/>
        </a:defRPr>
      </a:lvl5pPr>
      <a:lvl6pPr marL="30607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6pPr>
      <a:lvl7pPr marL="35179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7pPr>
      <a:lvl8pPr marL="39751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8pPr>
      <a:lvl9pPr marL="44323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74082" name="Picture 8" descr="TIM_MENTE_SEM_FRONTEIRAS_0803 0008"/>
          <p:cNvPicPr>
            <a:picLocks noChangeAspect="1" noChangeArrowheads="1"/>
          </p:cNvPicPr>
          <p:nvPr/>
        </p:nvPicPr>
        <p:blipFill>
          <a:blip r:embed="rId16" cstate="print"/>
          <a:srcRect/>
          <a:stretch>
            <a:fillRect/>
          </a:stretch>
        </p:blipFill>
        <p:spPr bwMode="auto">
          <a:xfrm>
            <a:off x="0" y="-12700"/>
            <a:ext cx="9906000" cy="896938"/>
          </a:xfrm>
          <a:prstGeom prst="rect">
            <a:avLst/>
          </a:prstGeom>
          <a:noFill/>
          <a:ln w="9525">
            <a:noFill/>
            <a:miter lim="800000"/>
            <a:headEnd/>
            <a:tailEnd/>
          </a:ln>
        </p:spPr>
      </p:pic>
      <p:sp>
        <p:nvSpPr>
          <p:cNvPr id="14339" name="Rectangle 2"/>
          <p:cNvSpPr>
            <a:spLocks noChangeArrowheads="1"/>
          </p:cNvSpPr>
          <p:nvPr/>
        </p:nvSpPr>
        <p:spPr bwMode="auto">
          <a:xfrm>
            <a:off x="0" y="0"/>
            <a:ext cx="9906000" cy="6851650"/>
          </a:xfrm>
          <a:prstGeom prst="rect">
            <a:avLst/>
          </a:prstGeom>
          <a:noFill/>
          <a:ln w="12700" cap="sq">
            <a:solidFill>
              <a:srgbClr val="595959"/>
            </a:solidFill>
            <a:miter lim="800000"/>
            <a:headEnd type="none" w="sm" len="sm"/>
            <a:tailEnd type="none" w="sm" len="sm"/>
          </a:ln>
          <a:extLst/>
        </p:spPr>
        <p:txBody>
          <a:bodyPr wrap="none" anchor="ctr"/>
          <a:lstStyle/>
          <a:p>
            <a:pPr algn="r" eaLnBrk="0" hangingPunct="0">
              <a:defRPr/>
            </a:pPr>
            <a:endParaRPr lang="pt-BR" sz="1000" b="0" i="1">
              <a:solidFill>
                <a:srgbClr val="004990"/>
              </a:solidFill>
              <a:latin typeface="Franklin Gothic Medium"/>
              <a:cs typeface="Arial"/>
            </a:endParaRPr>
          </a:p>
        </p:txBody>
      </p:sp>
      <p:sp>
        <p:nvSpPr>
          <p:cNvPr id="174084" name="Rectangle 13"/>
          <p:cNvSpPr>
            <a:spLocks noGrp="1" noChangeArrowheads="1"/>
          </p:cNvSpPr>
          <p:nvPr>
            <p:ph type="title"/>
          </p:nvPr>
        </p:nvSpPr>
        <p:spPr bwMode="auto">
          <a:xfrm>
            <a:off x="307983" y="227013"/>
            <a:ext cx="79803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it-IT" smtClean="0"/>
              <a:t>Click to edit Master title style</a:t>
            </a:r>
          </a:p>
        </p:txBody>
      </p:sp>
      <p:sp>
        <p:nvSpPr>
          <p:cNvPr id="14341" name="Rectangle 37"/>
          <p:cNvSpPr>
            <a:spLocks noChangeArrowheads="1"/>
          </p:cNvSpPr>
          <p:nvPr>
            <p:custDataLst>
              <p:tags r:id="rId15"/>
            </p:custDataLst>
          </p:nvPr>
        </p:nvSpPr>
        <p:spPr bwMode="auto">
          <a:xfrm>
            <a:off x="9631741" y="6597664"/>
            <a:ext cx="125034" cy="123111"/>
          </a:xfrm>
          <a:prstGeom prst="rect">
            <a:avLst/>
          </a:prstGeom>
          <a:noFill/>
          <a:ln>
            <a:noFill/>
          </a:ln>
          <a:extLst/>
        </p:spPr>
        <p:txBody>
          <a:bodyPr wrap="none" lIns="0" tIns="0" rIns="0" bIns="0">
            <a:spAutoFit/>
          </a:bodyPr>
          <a:lstStyle/>
          <a:p>
            <a:pPr algn="r" defTabSz="762000" eaLnBrk="0" hangingPunct="0">
              <a:defRPr/>
            </a:pPr>
            <a:fld id="{D293F510-6362-4626-B2B7-D43F4B9CB473}" type="slidenum">
              <a:rPr lang="it-IT" sz="800" b="0">
                <a:solidFill>
                  <a:srgbClr val="8995B4"/>
                </a:solidFill>
                <a:cs typeface="Arial"/>
              </a:rPr>
              <a:pPr algn="r" defTabSz="762000" eaLnBrk="0" hangingPunct="0">
                <a:defRPr/>
              </a:pPr>
              <a:t>‹nº›</a:t>
            </a:fld>
            <a:endParaRPr lang="it-IT" sz="800" b="0">
              <a:solidFill>
                <a:srgbClr val="8995B4"/>
              </a:solidFill>
              <a:cs typeface="Arial"/>
            </a:endParaRPr>
          </a:p>
        </p:txBody>
      </p:sp>
      <p:pic>
        <p:nvPicPr>
          <p:cNvPr id="174086" name="Picture 10" descr="LogosTIM2009_VoceSemFronteiras"/>
          <p:cNvPicPr>
            <a:picLocks noChangeAspect="1" noChangeArrowheads="1"/>
          </p:cNvPicPr>
          <p:nvPr/>
        </p:nvPicPr>
        <p:blipFill>
          <a:blip r:embed="rId17" cstate="email">
            <a:clrChange>
              <a:clrFrom>
                <a:srgbClr val="000000"/>
              </a:clrFrom>
              <a:clrTo>
                <a:srgbClr val="000000">
                  <a:alpha val="0"/>
                </a:srgbClr>
              </a:clrTo>
            </a:clrChange>
            <a:extLst>
              <a:ext uri="{28A0092B-C50C-407E-A947-70E740481C1C}">
                <a14:useLocalDpi xmlns="" xmlns:a14="http://schemas.microsoft.com/office/drawing/2010/main"/>
              </a:ext>
            </a:extLst>
          </a:blip>
          <a:srcRect/>
          <a:stretch>
            <a:fillRect/>
          </a:stretch>
        </p:blipFill>
        <p:spPr bwMode="auto">
          <a:xfrm>
            <a:off x="8374063" y="131766"/>
            <a:ext cx="1249362" cy="61753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202" r:id="rId1"/>
    <p:sldLayoutId id="2147484201" r:id="rId2"/>
    <p:sldLayoutId id="2147484200" r:id="rId3"/>
    <p:sldLayoutId id="2147484199" r:id="rId4"/>
    <p:sldLayoutId id="2147484198" r:id="rId5"/>
    <p:sldLayoutId id="2147484197" r:id="rId6"/>
    <p:sldLayoutId id="2147484196" r:id="rId7"/>
    <p:sldLayoutId id="2147484195" r:id="rId8"/>
    <p:sldLayoutId id="2147484194" r:id="rId9"/>
    <p:sldLayoutId id="2147484193" r:id="rId10"/>
    <p:sldLayoutId id="2147484192" r:id="rId11"/>
    <p:sldLayoutId id="2147484191" r:id="rId12"/>
    <p:sldLayoutId id="2147484190" r:id="rId13"/>
  </p:sldLayoutIdLst>
  <p:txStyles>
    <p:titleStyle>
      <a:lvl1pPr algn="l" rtl="0" eaLnBrk="0" fontAlgn="base" hangingPunct="0">
        <a:lnSpc>
          <a:spcPct val="80000"/>
        </a:lnSpc>
        <a:spcBef>
          <a:spcPct val="0"/>
        </a:spcBef>
        <a:spcAft>
          <a:spcPct val="0"/>
        </a:spcAft>
        <a:defRPr sz="2600" b="1">
          <a:solidFill>
            <a:schemeClr val="bg1"/>
          </a:solidFill>
          <a:latin typeface="+mj-lt"/>
          <a:ea typeface="Arial" charset="0"/>
          <a:cs typeface="+mj-cs"/>
        </a:defRPr>
      </a:lvl1pPr>
      <a:lvl2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2pPr>
      <a:lvl3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3pPr>
      <a:lvl4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4pPr>
      <a:lvl5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5pPr>
      <a:lvl6pPr marL="4572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6pPr>
      <a:lvl7pPr marL="9144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7pPr>
      <a:lvl8pPr marL="13716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8pPr>
      <a:lvl9pPr marL="18288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9pPr>
    </p:titleStyle>
    <p:bodyStyle>
      <a:lvl1pPr marL="342900" indent="-342900" algn="just" rtl="0" eaLnBrk="0" fontAlgn="base" hangingPunct="0">
        <a:lnSpc>
          <a:spcPct val="110000"/>
        </a:lnSpc>
        <a:spcBef>
          <a:spcPct val="20000"/>
        </a:spcBef>
        <a:spcAft>
          <a:spcPct val="10000"/>
        </a:spcAft>
        <a:buClr>
          <a:schemeClr val="accent1"/>
        </a:buClr>
        <a:buFont typeface="Franklin Gothic Medium" pitchFamily="34" charset="0"/>
        <a:buChar char="4"/>
        <a:defRPr sz="2000">
          <a:solidFill>
            <a:schemeClr val="tx1"/>
          </a:solidFill>
          <a:latin typeface="+mn-lt"/>
          <a:ea typeface="Arial" charset="0"/>
          <a:cs typeface="+mn-cs"/>
        </a:defRPr>
      </a:lvl1pPr>
      <a:lvl2pPr marL="812800" indent="-277813" algn="just" rtl="0" eaLnBrk="0" fontAlgn="base" hangingPunct="0">
        <a:lnSpc>
          <a:spcPct val="110000"/>
        </a:lnSpc>
        <a:spcBef>
          <a:spcPct val="20000"/>
        </a:spcBef>
        <a:spcAft>
          <a:spcPct val="10000"/>
        </a:spcAft>
        <a:buClr>
          <a:schemeClr val="accent1"/>
        </a:buClr>
        <a:buFont typeface="Franklin Gothic Medium" pitchFamily="34" charset="0"/>
        <a:buChar char="4"/>
        <a:defRPr sz="2800" b="1">
          <a:solidFill>
            <a:schemeClr val="tx1"/>
          </a:solidFill>
          <a:latin typeface="+mn-lt"/>
          <a:ea typeface="Arial" charset="0"/>
          <a:cs typeface="+mn-cs"/>
        </a:defRPr>
      </a:lvl2pPr>
      <a:lvl3pPr marL="1524000" indent="-266700" algn="just" rtl="0" eaLnBrk="0" fontAlgn="base" hangingPunct="0">
        <a:lnSpc>
          <a:spcPct val="110000"/>
        </a:lnSpc>
        <a:spcBef>
          <a:spcPct val="20000"/>
        </a:spcBef>
        <a:spcAft>
          <a:spcPct val="10000"/>
        </a:spcAft>
        <a:buClr>
          <a:schemeClr val="accent1"/>
        </a:buClr>
        <a:buFont typeface="Franklin Gothic Medium" pitchFamily="34" charset="0"/>
        <a:buChar char="4"/>
        <a:defRPr sz="2400">
          <a:solidFill>
            <a:schemeClr val="tx1"/>
          </a:solidFill>
          <a:latin typeface="+mn-lt"/>
          <a:ea typeface="Arial" charset="0"/>
          <a:cs typeface="+mn-cs"/>
        </a:defRPr>
      </a:lvl3pPr>
      <a:lvl4pPr marL="2157413" indent="-188913" algn="just" rtl="0" eaLnBrk="0" fontAlgn="base" hangingPunct="0">
        <a:lnSpc>
          <a:spcPct val="110000"/>
        </a:lnSpc>
        <a:spcBef>
          <a:spcPct val="20000"/>
        </a:spcBef>
        <a:spcAft>
          <a:spcPct val="10000"/>
        </a:spcAft>
        <a:buClr>
          <a:schemeClr val="accent1"/>
        </a:buClr>
        <a:buFont typeface="Franklin Gothic Medium" pitchFamily="34" charset="0"/>
        <a:buChar char="4"/>
        <a:defRPr sz="1600" b="1">
          <a:solidFill>
            <a:schemeClr val="tx1"/>
          </a:solidFill>
          <a:latin typeface="+mn-lt"/>
          <a:ea typeface="Arial" charset="0"/>
          <a:cs typeface="+mn-cs"/>
        </a:defRPr>
      </a:lvl4pPr>
      <a:lvl5pPr marL="2603500" indent="-177800" algn="just" rtl="0" eaLnBrk="0" fontAlgn="base" hangingPunct="0">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ea typeface="Arial" charset="0"/>
          <a:cs typeface="+mn-cs"/>
        </a:defRPr>
      </a:lvl5pPr>
      <a:lvl6pPr marL="30607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6pPr>
      <a:lvl7pPr marL="35179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7pPr>
      <a:lvl8pPr marL="39751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8pPr>
      <a:lvl9pPr marL="44323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88418" name="Picture 8" descr="TIM_MENTE_SEM_FRONTEIRAS_0803 0008"/>
          <p:cNvPicPr>
            <a:picLocks noChangeAspect="1" noChangeArrowheads="1"/>
          </p:cNvPicPr>
          <p:nvPr/>
        </p:nvPicPr>
        <p:blipFill>
          <a:blip r:embed="rId16" cstate="print"/>
          <a:srcRect/>
          <a:stretch>
            <a:fillRect/>
          </a:stretch>
        </p:blipFill>
        <p:spPr bwMode="auto">
          <a:xfrm>
            <a:off x="0" y="-12700"/>
            <a:ext cx="9906000" cy="896938"/>
          </a:xfrm>
          <a:prstGeom prst="rect">
            <a:avLst/>
          </a:prstGeom>
          <a:noFill/>
          <a:ln w="9525">
            <a:noFill/>
            <a:miter lim="800000"/>
            <a:headEnd/>
            <a:tailEnd/>
          </a:ln>
        </p:spPr>
      </p:pic>
      <p:sp>
        <p:nvSpPr>
          <p:cNvPr id="6147" name="Rectangle 2"/>
          <p:cNvSpPr>
            <a:spLocks noChangeArrowheads="1"/>
          </p:cNvSpPr>
          <p:nvPr/>
        </p:nvSpPr>
        <p:spPr bwMode="auto">
          <a:xfrm>
            <a:off x="0" y="0"/>
            <a:ext cx="9906000" cy="6851650"/>
          </a:xfrm>
          <a:prstGeom prst="rect">
            <a:avLst/>
          </a:prstGeom>
          <a:noFill/>
          <a:ln w="12700" cap="sq">
            <a:solidFill>
              <a:srgbClr val="595959"/>
            </a:solidFill>
            <a:miter lim="800000"/>
            <a:headEnd type="none" w="sm" len="sm"/>
            <a:tailEnd type="none" w="sm" len="sm"/>
          </a:ln>
          <a:extLst/>
        </p:spPr>
        <p:txBody>
          <a:bodyPr wrap="none" anchor="ctr"/>
          <a:lstStyle/>
          <a:p>
            <a:pPr algn="r" eaLnBrk="0" hangingPunct="0">
              <a:defRPr/>
            </a:pPr>
            <a:endParaRPr lang="pt-BR" sz="1000" b="0" i="1">
              <a:solidFill>
                <a:srgbClr val="004990"/>
              </a:solidFill>
              <a:latin typeface="Franklin Gothic Medium" pitchFamily="34" charset="0"/>
              <a:cs typeface="Arial" pitchFamily="34" charset="0"/>
            </a:endParaRPr>
          </a:p>
        </p:txBody>
      </p:sp>
      <p:sp>
        <p:nvSpPr>
          <p:cNvPr id="188420" name="Rectangle 13"/>
          <p:cNvSpPr>
            <a:spLocks noGrp="1" noChangeArrowheads="1"/>
          </p:cNvSpPr>
          <p:nvPr>
            <p:ph type="title"/>
          </p:nvPr>
        </p:nvSpPr>
        <p:spPr bwMode="auto">
          <a:xfrm>
            <a:off x="307983" y="227013"/>
            <a:ext cx="79803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it-IT" smtClean="0"/>
              <a:t>Click to edit Master title style</a:t>
            </a:r>
          </a:p>
        </p:txBody>
      </p:sp>
      <p:sp>
        <p:nvSpPr>
          <p:cNvPr id="6149" name="Rectangle 37"/>
          <p:cNvSpPr>
            <a:spLocks noChangeArrowheads="1"/>
          </p:cNvSpPr>
          <p:nvPr>
            <p:custDataLst>
              <p:tags r:id="rId15"/>
            </p:custDataLst>
          </p:nvPr>
        </p:nvSpPr>
        <p:spPr bwMode="auto">
          <a:xfrm>
            <a:off x="9631741" y="6597664"/>
            <a:ext cx="125034" cy="123111"/>
          </a:xfrm>
          <a:prstGeom prst="rect">
            <a:avLst/>
          </a:prstGeom>
          <a:noFill/>
          <a:ln>
            <a:noFill/>
          </a:ln>
          <a:extLst/>
        </p:spPr>
        <p:txBody>
          <a:bodyPr wrap="none" lIns="0" tIns="0" rIns="0" bIns="0">
            <a:spAutoFit/>
          </a:bodyPr>
          <a:lstStyle/>
          <a:p>
            <a:pPr algn="r" defTabSz="762000" eaLnBrk="0" hangingPunct="0">
              <a:defRPr/>
            </a:pPr>
            <a:fld id="{D1DCF001-B67B-461B-B2FE-104199B97C04}" type="slidenum">
              <a:rPr lang="it-IT" sz="800" b="0">
                <a:solidFill>
                  <a:srgbClr val="8995B4"/>
                </a:solidFill>
                <a:latin typeface="Arial" pitchFamily="34" charset="0"/>
                <a:cs typeface="Arial" pitchFamily="34" charset="0"/>
              </a:rPr>
              <a:pPr algn="r" defTabSz="762000" eaLnBrk="0" hangingPunct="0">
                <a:defRPr/>
              </a:pPr>
              <a:t>‹nº›</a:t>
            </a:fld>
            <a:endParaRPr lang="it-IT" sz="800" b="0">
              <a:solidFill>
                <a:srgbClr val="8995B4"/>
              </a:solidFill>
              <a:latin typeface="Arial" pitchFamily="34" charset="0"/>
              <a:cs typeface="Arial" pitchFamily="34" charset="0"/>
            </a:endParaRPr>
          </a:p>
        </p:txBody>
      </p:sp>
      <p:pic>
        <p:nvPicPr>
          <p:cNvPr id="188422" name="Picture 10" descr="LogosTIM2009_VoceSemFronteiras"/>
          <p:cNvPicPr>
            <a:picLocks noChangeAspect="1" noChangeArrowheads="1"/>
          </p:cNvPicPr>
          <p:nvPr/>
        </p:nvPicPr>
        <p:blipFill>
          <a:blip r:embed="rId17" cstate="email">
            <a:clrChange>
              <a:clrFrom>
                <a:srgbClr val="000000"/>
              </a:clrFrom>
              <a:clrTo>
                <a:srgbClr val="000000">
                  <a:alpha val="0"/>
                </a:srgbClr>
              </a:clrTo>
            </a:clrChange>
            <a:extLst>
              <a:ext uri="{28A0092B-C50C-407E-A947-70E740481C1C}">
                <a14:useLocalDpi xmlns="" xmlns:a14="http://schemas.microsoft.com/office/drawing/2010/main"/>
              </a:ext>
            </a:extLst>
          </a:blip>
          <a:srcRect/>
          <a:stretch>
            <a:fillRect/>
          </a:stretch>
        </p:blipFill>
        <p:spPr bwMode="auto">
          <a:xfrm>
            <a:off x="8374063" y="131766"/>
            <a:ext cx="1249362" cy="61753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215" r:id="rId1"/>
    <p:sldLayoutId id="2147484214" r:id="rId2"/>
    <p:sldLayoutId id="2147484213" r:id="rId3"/>
    <p:sldLayoutId id="2147484212" r:id="rId4"/>
    <p:sldLayoutId id="2147484211" r:id="rId5"/>
    <p:sldLayoutId id="2147484210" r:id="rId6"/>
    <p:sldLayoutId id="2147484209" r:id="rId7"/>
    <p:sldLayoutId id="2147484208" r:id="rId8"/>
    <p:sldLayoutId id="2147484207" r:id="rId9"/>
    <p:sldLayoutId id="2147484206" r:id="rId10"/>
    <p:sldLayoutId id="2147484205" r:id="rId11"/>
    <p:sldLayoutId id="2147484204" r:id="rId12"/>
    <p:sldLayoutId id="2147484203" r:id="rId13"/>
  </p:sldLayoutIdLst>
  <p:txStyles>
    <p:titleStyle>
      <a:lvl1pPr algn="l" rtl="0" eaLnBrk="0" fontAlgn="base" hangingPunct="0">
        <a:lnSpc>
          <a:spcPct val="80000"/>
        </a:lnSpc>
        <a:spcBef>
          <a:spcPct val="0"/>
        </a:spcBef>
        <a:spcAft>
          <a:spcPct val="0"/>
        </a:spcAft>
        <a:defRPr sz="2600" b="1">
          <a:solidFill>
            <a:schemeClr val="bg1"/>
          </a:solidFill>
          <a:latin typeface="+mj-lt"/>
          <a:ea typeface="+mj-ea"/>
          <a:cs typeface="+mj-cs"/>
        </a:defRPr>
      </a:lvl1pPr>
      <a:lvl2pPr algn="l" rtl="0" eaLnBrk="0" fontAlgn="base" hangingPunct="0">
        <a:lnSpc>
          <a:spcPct val="80000"/>
        </a:lnSpc>
        <a:spcBef>
          <a:spcPct val="0"/>
        </a:spcBef>
        <a:spcAft>
          <a:spcPct val="0"/>
        </a:spcAft>
        <a:defRPr sz="2600" b="1">
          <a:solidFill>
            <a:schemeClr val="bg1"/>
          </a:solidFill>
          <a:latin typeface="Franklin Gothic Medium" pitchFamily="34" charset="0"/>
          <a:cs typeface="Arial" pitchFamily="34" charset="0"/>
        </a:defRPr>
      </a:lvl2pPr>
      <a:lvl3pPr algn="l" rtl="0" eaLnBrk="0" fontAlgn="base" hangingPunct="0">
        <a:lnSpc>
          <a:spcPct val="80000"/>
        </a:lnSpc>
        <a:spcBef>
          <a:spcPct val="0"/>
        </a:spcBef>
        <a:spcAft>
          <a:spcPct val="0"/>
        </a:spcAft>
        <a:defRPr sz="2600" b="1">
          <a:solidFill>
            <a:schemeClr val="bg1"/>
          </a:solidFill>
          <a:latin typeface="Franklin Gothic Medium" pitchFamily="34" charset="0"/>
          <a:cs typeface="Arial" pitchFamily="34" charset="0"/>
        </a:defRPr>
      </a:lvl3pPr>
      <a:lvl4pPr algn="l" rtl="0" eaLnBrk="0" fontAlgn="base" hangingPunct="0">
        <a:lnSpc>
          <a:spcPct val="80000"/>
        </a:lnSpc>
        <a:spcBef>
          <a:spcPct val="0"/>
        </a:spcBef>
        <a:spcAft>
          <a:spcPct val="0"/>
        </a:spcAft>
        <a:defRPr sz="2600" b="1">
          <a:solidFill>
            <a:schemeClr val="bg1"/>
          </a:solidFill>
          <a:latin typeface="Franklin Gothic Medium" pitchFamily="34" charset="0"/>
          <a:cs typeface="Arial" pitchFamily="34" charset="0"/>
        </a:defRPr>
      </a:lvl4pPr>
      <a:lvl5pPr algn="l" rtl="0" eaLnBrk="0" fontAlgn="base" hangingPunct="0">
        <a:lnSpc>
          <a:spcPct val="80000"/>
        </a:lnSpc>
        <a:spcBef>
          <a:spcPct val="0"/>
        </a:spcBef>
        <a:spcAft>
          <a:spcPct val="0"/>
        </a:spcAft>
        <a:defRPr sz="2600" b="1">
          <a:solidFill>
            <a:schemeClr val="bg1"/>
          </a:solidFill>
          <a:latin typeface="Franklin Gothic Medium" pitchFamily="34" charset="0"/>
          <a:cs typeface="Arial" pitchFamily="34" charset="0"/>
        </a:defRPr>
      </a:lvl5pPr>
      <a:lvl6pPr marL="4572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6pPr>
      <a:lvl7pPr marL="9144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7pPr>
      <a:lvl8pPr marL="13716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8pPr>
      <a:lvl9pPr marL="18288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9pPr>
    </p:titleStyle>
    <p:bodyStyle>
      <a:lvl1pPr marL="342900" indent="-342900" algn="just" rtl="0" eaLnBrk="0" fontAlgn="base" hangingPunct="0">
        <a:lnSpc>
          <a:spcPct val="110000"/>
        </a:lnSpc>
        <a:spcBef>
          <a:spcPct val="20000"/>
        </a:spcBef>
        <a:spcAft>
          <a:spcPct val="10000"/>
        </a:spcAft>
        <a:buClr>
          <a:schemeClr val="accent1"/>
        </a:buClr>
        <a:buFont typeface="Franklin Gothic Medium" pitchFamily="34" charset="0"/>
        <a:buChar char="4"/>
        <a:defRPr sz="2000">
          <a:solidFill>
            <a:schemeClr val="tx1"/>
          </a:solidFill>
          <a:latin typeface="+mn-lt"/>
          <a:ea typeface="+mn-ea"/>
          <a:cs typeface="+mn-cs"/>
        </a:defRPr>
      </a:lvl1pPr>
      <a:lvl2pPr marL="812800" indent="-277813" algn="just" rtl="0" eaLnBrk="0" fontAlgn="base" hangingPunct="0">
        <a:lnSpc>
          <a:spcPct val="110000"/>
        </a:lnSpc>
        <a:spcBef>
          <a:spcPct val="20000"/>
        </a:spcBef>
        <a:spcAft>
          <a:spcPct val="10000"/>
        </a:spcAft>
        <a:buClr>
          <a:schemeClr val="accent1"/>
        </a:buClr>
        <a:buFont typeface="Franklin Gothic Medium" pitchFamily="34" charset="0"/>
        <a:buChar char="4"/>
        <a:defRPr sz="2800" b="1">
          <a:solidFill>
            <a:schemeClr val="tx1"/>
          </a:solidFill>
          <a:latin typeface="+mn-lt"/>
          <a:cs typeface="+mn-cs"/>
        </a:defRPr>
      </a:lvl2pPr>
      <a:lvl3pPr marL="1524000" indent="-266700" algn="just" rtl="0" eaLnBrk="0" fontAlgn="base" hangingPunct="0">
        <a:lnSpc>
          <a:spcPct val="110000"/>
        </a:lnSpc>
        <a:spcBef>
          <a:spcPct val="20000"/>
        </a:spcBef>
        <a:spcAft>
          <a:spcPct val="10000"/>
        </a:spcAft>
        <a:buClr>
          <a:schemeClr val="accent1"/>
        </a:buClr>
        <a:buFont typeface="Franklin Gothic Medium" pitchFamily="34" charset="0"/>
        <a:buChar char="4"/>
        <a:defRPr sz="2400">
          <a:solidFill>
            <a:schemeClr val="tx1"/>
          </a:solidFill>
          <a:latin typeface="+mn-lt"/>
          <a:cs typeface="+mn-cs"/>
        </a:defRPr>
      </a:lvl3pPr>
      <a:lvl4pPr marL="2157413" indent="-188913" algn="just" rtl="0" eaLnBrk="0" fontAlgn="base" hangingPunct="0">
        <a:lnSpc>
          <a:spcPct val="110000"/>
        </a:lnSpc>
        <a:spcBef>
          <a:spcPct val="20000"/>
        </a:spcBef>
        <a:spcAft>
          <a:spcPct val="10000"/>
        </a:spcAft>
        <a:buClr>
          <a:schemeClr val="accent1"/>
        </a:buClr>
        <a:buFont typeface="Franklin Gothic Medium" pitchFamily="34" charset="0"/>
        <a:buChar char="4"/>
        <a:defRPr sz="1600" b="1">
          <a:solidFill>
            <a:schemeClr val="tx1"/>
          </a:solidFill>
          <a:latin typeface="+mn-lt"/>
          <a:cs typeface="+mn-cs"/>
        </a:defRPr>
      </a:lvl4pPr>
      <a:lvl5pPr marL="2603500" indent="-177800" algn="just" rtl="0" eaLnBrk="0" fontAlgn="base" hangingPunct="0">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5pPr>
      <a:lvl6pPr marL="30607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6pPr>
      <a:lvl7pPr marL="35179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7pPr>
      <a:lvl8pPr marL="39751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8pPr>
      <a:lvl9pPr marL="44323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2754" name="Picture 8" descr="TIM_MENTE_SEM_FRONTEIRAS_0803 0008"/>
          <p:cNvPicPr>
            <a:picLocks noChangeAspect="1" noChangeArrowheads="1"/>
          </p:cNvPicPr>
          <p:nvPr/>
        </p:nvPicPr>
        <p:blipFill>
          <a:blip r:embed="rId16" cstate="print"/>
          <a:srcRect/>
          <a:stretch>
            <a:fillRect/>
          </a:stretch>
        </p:blipFill>
        <p:spPr bwMode="auto">
          <a:xfrm>
            <a:off x="0" y="-12700"/>
            <a:ext cx="9906000" cy="896938"/>
          </a:xfrm>
          <a:prstGeom prst="rect">
            <a:avLst/>
          </a:prstGeom>
          <a:noFill/>
          <a:ln w="9525">
            <a:noFill/>
            <a:miter lim="800000"/>
            <a:headEnd/>
            <a:tailEnd/>
          </a:ln>
        </p:spPr>
      </p:pic>
      <p:sp>
        <p:nvSpPr>
          <p:cNvPr id="6147" name="Rectangle 2"/>
          <p:cNvSpPr>
            <a:spLocks noChangeArrowheads="1"/>
          </p:cNvSpPr>
          <p:nvPr/>
        </p:nvSpPr>
        <p:spPr bwMode="auto">
          <a:xfrm>
            <a:off x="0" y="0"/>
            <a:ext cx="9906000" cy="6851650"/>
          </a:xfrm>
          <a:prstGeom prst="rect">
            <a:avLst/>
          </a:prstGeom>
          <a:noFill/>
          <a:ln w="12700" cap="sq">
            <a:solidFill>
              <a:srgbClr val="595959"/>
            </a:solidFill>
            <a:miter lim="800000"/>
            <a:headEnd type="none" w="sm" len="sm"/>
            <a:tailEnd type="none" w="sm" len="sm"/>
          </a:ln>
        </p:spPr>
        <p:txBody>
          <a:bodyPr wrap="none" anchor="ctr"/>
          <a:lstStyle/>
          <a:p>
            <a:pPr algn="r" eaLnBrk="0" hangingPunct="0">
              <a:defRPr/>
            </a:pPr>
            <a:endParaRPr lang="pt-BR" sz="1000" b="0" i="1">
              <a:solidFill>
                <a:srgbClr val="004990"/>
              </a:solidFill>
              <a:latin typeface="Franklin Gothic Medium" charset="0"/>
            </a:endParaRPr>
          </a:p>
        </p:txBody>
      </p:sp>
      <p:sp>
        <p:nvSpPr>
          <p:cNvPr id="202756" name="Rectangle 13"/>
          <p:cNvSpPr>
            <a:spLocks noGrp="1" noChangeArrowheads="1"/>
          </p:cNvSpPr>
          <p:nvPr>
            <p:ph type="title"/>
          </p:nvPr>
        </p:nvSpPr>
        <p:spPr bwMode="auto">
          <a:xfrm>
            <a:off x="307983" y="227013"/>
            <a:ext cx="79803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it-IT" smtClean="0"/>
              <a:t>Click to edit Master title style</a:t>
            </a:r>
          </a:p>
        </p:txBody>
      </p:sp>
      <p:sp>
        <p:nvSpPr>
          <p:cNvPr id="6149" name="Rectangle 37"/>
          <p:cNvSpPr>
            <a:spLocks noChangeArrowheads="1"/>
          </p:cNvSpPr>
          <p:nvPr>
            <p:custDataLst>
              <p:tags r:id="rId15"/>
            </p:custDataLst>
          </p:nvPr>
        </p:nvSpPr>
        <p:spPr bwMode="auto">
          <a:xfrm>
            <a:off x="9631741" y="6597664"/>
            <a:ext cx="125034" cy="123111"/>
          </a:xfrm>
          <a:prstGeom prst="rect">
            <a:avLst/>
          </a:prstGeom>
          <a:noFill/>
          <a:ln w="9525">
            <a:noFill/>
            <a:miter lim="800000"/>
            <a:headEnd/>
            <a:tailEnd/>
          </a:ln>
        </p:spPr>
        <p:txBody>
          <a:bodyPr wrap="none" lIns="0" tIns="0" rIns="0" bIns="0">
            <a:spAutoFit/>
          </a:bodyPr>
          <a:lstStyle/>
          <a:p>
            <a:pPr algn="r" defTabSz="762000" eaLnBrk="0" hangingPunct="0">
              <a:defRPr/>
            </a:pPr>
            <a:fld id="{AE39F068-5BFD-47EF-8F59-0B94D340BFDB}" type="slidenum">
              <a:rPr lang="it-IT" sz="800" b="0">
                <a:solidFill>
                  <a:srgbClr val="8995B4"/>
                </a:solidFill>
              </a:rPr>
              <a:pPr algn="r" defTabSz="762000" eaLnBrk="0" hangingPunct="0">
                <a:defRPr/>
              </a:pPr>
              <a:t>‹nº›</a:t>
            </a:fld>
            <a:endParaRPr lang="it-IT" sz="800" b="0">
              <a:solidFill>
                <a:srgbClr val="8995B4"/>
              </a:solidFill>
            </a:endParaRPr>
          </a:p>
        </p:txBody>
      </p:sp>
      <p:pic>
        <p:nvPicPr>
          <p:cNvPr id="202758" name="Picture 10" descr="LogosTIM2009_VoceSemFronteiras"/>
          <p:cNvPicPr>
            <a:picLocks noChangeAspect="1" noChangeArrowheads="1"/>
          </p:cNvPicPr>
          <p:nvPr/>
        </p:nvPicPr>
        <p:blipFill>
          <a:blip r:embed="rId17" cstate="email">
            <a:clrChange>
              <a:clrFrom>
                <a:srgbClr val="000000"/>
              </a:clrFrom>
              <a:clrTo>
                <a:srgbClr val="000000">
                  <a:alpha val="0"/>
                </a:srgbClr>
              </a:clrTo>
            </a:clrChange>
            <a:extLst>
              <a:ext uri="{28A0092B-C50C-407E-A947-70E740481C1C}">
                <a14:useLocalDpi xmlns="" xmlns:a14="http://schemas.microsoft.com/office/drawing/2010/main"/>
              </a:ext>
            </a:extLst>
          </a:blip>
          <a:srcRect/>
          <a:stretch>
            <a:fillRect/>
          </a:stretch>
        </p:blipFill>
        <p:spPr bwMode="auto">
          <a:xfrm>
            <a:off x="8374063" y="131766"/>
            <a:ext cx="1249362" cy="61753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228" r:id="rId1"/>
    <p:sldLayoutId id="2147484227" r:id="rId2"/>
    <p:sldLayoutId id="2147484226" r:id="rId3"/>
    <p:sldLayoutId id="2147484225" r:id="rId4"/>
    <p:sldLayoutId id="2147484224" r:id="rId5"/>
    <p:sldLayoutId id="2147484223" r:id="rId6"/>
    <p:sldLayoutId id="2147484222" r:id="rId7"/>
    <p:sldLayoutId id="2147484221" r:id="rId8"/>
    <p:sldLayoutId id="2147484220" r:id="rId9"/>
    <p:sldLayoutId id="2147484219" r:id="rId10"/>
    <p:sldLayoutId id="2147484218" r:id="rId11"/>
    <p:sldLayoutId id="2147484217" r:id="rId12"/>
    <p:sldLayoutId id="2147484216" r:id="rId13"/>
  </p:sldLayoutIdLst>
  <p:txStyles>
    <p:titleStyle>
      <a:lvl1pPr algn="l" rtl="0" eaLnBrk="0" fontAlgn="base" hangingPunct="0">
        <a:lnSpc>
          <a:spcPct val="80000"/>
        </a:lnSpc>
        <a:spcBef>
          <a:spcPct val="0"/>
        </a:spcBef>
        <a:spcAft>
          <a:spcPct val="0"/>
        </a:spcAft>
        <a:defRPr sz="2600" b="1">
          <a:solidFill>
            <a:schemeClr val="bg1"/>
          </a:solidFill>
          <a:latin typeface="+mj-lt"/>
          <a:ea typeface="Arial" charset="0"/>
          <a:cs typeface="+mj-cs"/>
        </a:defRPr>
      </a:lvl1pPr>
      <a:lvl2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2pPr>
      <a:lvl3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3pPr>
      <a:lvl4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4pPr>
      <a:lvl5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5pPr>
      <a:lvl6pPr marL="4572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6pPr>
      <a:lvl7pPr marL="9144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7pPr>
      <a:lvl8pPr marL="13716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8pPr>
      <a:lvl9pPr marL="18288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9pPr>
    </p:titleStyle>
    <p:bodyStyle>
      <a:lvl1pPr marL="342900" indent="-342900" algn="just" rtl="0" eaLnBrk="0" fontAlgn="base" hangingPunct="0">
        <a:lnSpc>
          <a:spcPct val="110000"/>
        </a:lnSpc>
        <a:spcBef>
          <a:spcPct val="20000"/>
        </a:spcBef>
        <a:spcAft>
          <a:spcPct val="10000"/>
        </a:spcAft>
        <a:buClr>
          <a:schemeClr val="accent1"/>
        </a:buClr>
        <a:buFont typeface="Franklin Gothic Medium" pitchFamily="34" charset="0"/>
        <a:buChar char="4"/>
        <a:defRPr sz="2000">
          <a:solidFill>
            <a:schemeClr val="tx1"/>
          </a:solidFill>
          <a:latin typeface="+mn-lt"/>
          <a:ea typeface="Arial" charset="0"/>
          <a:cs typeface="+mn-cs"/>
        </a:defRPr>
      </a:lvl1pPr>
      <a:lvl2pPr marL="812800" indent="-277813" algn="just" rtl="0" eaLnBrk="0" fontAlgn="base" hangingPunct="0">
        <a:lnSpc>
          <a:spcPct val="110000"/>
        </a:lnSpc>
        <a:spcBef>
          <a:spcPct val="20000"/>
        </a:spcBef>
        <a:spcAft>
          <a:spcPct val="10000"/>
        </a:spcAft>
        <a:buClr>
          <a:schemeClr val="accent1"/>
        </a:buClr>
        <a:buFont typeface="Franklin Gothic Medium" pitchFamily="34" charset="0"/>
        <a:buChar char="4"/>
        <a:defRPr sz="2800" b="1">
          <a:solidFill>
            <a:schemeClr val="tx1"/>
          </a:solidFill>
          <a:latin typeface="+mn-lt"/>
          <a:ea typeface="Arial" charset="0"/>
          <a:cs typeface="+mn-cs"/>
        </a:defRPr>
      </a:lvl2pPr>
      <a:lvl3pPr marL="1524000" indent="-266700" algn="just" rtl="0" eaLnBrk="0" fontAlgn="base" hangingPunct="0">
        <a:lnSpc>
          <a:spcPct val="110000"/>
        </a:lnSpc>
        <a:spcBef>
          <a:spcPct val="20000"/>
        </a:spcBef>
        <a:spcAft>
          <a:spcPct val="10000"/>
        </a:spcAft>
        <a:buClr>
          <a:schemeClr val="accent1"/>
        </a:buClr>
        <a:buFont typeface="Franklin Gothic Medium" pitchFamily="34" charset="0"/>
        <a:buChar char="4"/>
        <a:defRPr sz="2400">
          <a:solidFill>
            <a:schemeClr val="tx1"/>
          </a:solidFill>
          <a:latin typeface="+mn-lt"/>
          <a:ea typeface="Arial" charset="0"/>
          <a:cs typeface="+mn-cs"/>
        </a:defRPr>
      </a:lvl3pPr>
      <a:lvl4pPr marL="2157413" indent="-188913" algn="just" rtl="0" eaLnBrk="0" fontAlgn="base" hangingPunct="0">
        <a:lnSpc>
          <a:spcPct val="110000"/>
        </a:lnSpc>
        <a:spcBef>
          <a:spcPct val="20000"/>
        </a:spcBef>
        <a:spcAft>
          <a:spcPct val="10000"/>
        </a:spcAft>
        <a:buClr>
          <a:schemeClr val="accent1"/>
        </a:buClr>
        <a:buFont typeface="Franklin Gothic Medium" pitchFamily="34" charset="0"/>
        <a:buChar char="4"/>
        <a:defRPr sz="1600" b="1">
          <a:solidFill>
            <a:schemeClr val="tx1"/>
          </a:solidFill>
          <a:latin typeface="+mn-lt"/>
          <a:ea typeface="Arial" charset="0"/>
          <a:cs typeface="+mn-cs"/>
        </a:defRPr>
      </a:lvl4pPr>
      <a:lvl5pPr marL="2603500" indent="-177800" algn="just" rtl="0" eaLnBrk="0" fontAlgn="base" hangingPunct="0">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ea typeface="Arial" charset="0"/>
          <a:cs typeface="+mn-cs"/>
        </a:defRPr>
      </a:lvl5pPr>
      <a:lvl6pPr marL="30607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6pPr>
      <a:lvl7pPr marL="35179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7pPr>
      <a:lvl8pPr marL="39751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8pPr>
      <a:lvl9pPr marL="44323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17090" name="Picture 8" descr="TIM_MENTE_SEM_FRONTEIRAS_0803 0008"/>
          <p:cNvPicPr>
            <a:picLocks noChangeAspect="1" noChangeArrowheads="1"/>
          </p:cNvPicPr>
          <p:nvPr/>
        </p:nvPicPr>
        <p:blipFill>
          <a:blip r:embed="rId16" cstate="print"/>
          <a:srcRect/>
          <a:stretch>
            <a:fillRect/>
          </a:stretch>
        </p:blipFill>
        <p:spPr bwMode="auto">
          <a:xfrm>
            <a:off x="0" y="-12700"/>
            <a:ext cx="9906000" cy="896938"/>
          </a:xfrm>
          <a:prstGeom prst="rect">
            <a:avLst/>
          </a:prstGeom>
          <a:noFill/>
          <a:ln w="9525">
            <a:noFill/>
            <a:miter lim="800000"/>
            <a:headEnd/>
            <a:tailEnd/>
          </a:ln>
        </p:spPr>
      </p:pic>
      <p:sp>
        <p:nvSpPr>
          <p:cNvPr id="14339" name="Rectangle 2"/>
          <p:cNvSpPr>
            <a:spLocks noChangeArrowheads="1"/>
          </p:cNvSpPr>
          <p:nvPr/>
        </p:nvSpPr>
        <p:spPr bwMode="auto">
          <a:xfrm>
            <a:off x="0" y="0"/>
            <a:ext cx="9906000" cy="6851650"/>
          </a:xfrm>
          <a:prstGeom prst="rect">
            <a:avLst/>
          </a:prstGeom>
          <a:noFill/>
          <a:ln w="12700" cap="sq">
            <a:solidFill>
              <a:srgbClr val="595959"/>
            </a:solidFill>
            <a:miter lim="800000"/>
            <a:headEnd type="none" w="sm" len="sm"/>
            <a:tailEnd type="none" w="sm" len="sm"/>
          </a:ln>
          <a:extLst/>
        </p:spPr>
        <p:txBody>
          <a:bodyPr wrap="none" anchor="ctr"/>
          <a:lstStyle/>
          <a:p>
            <a:pPr algn="r" eaLnBrk="0" hangingPunct="0">
              <a:defRPr/>
            </a:pPr>
            <a:endParaRPr lang="pt-BR" sz="1000" b="0" i="1">
              <a:solidFill>
                <a:srgbClr val="004990"/>
              </a:solidFill>
              <a:latin typeface="Franklin Gothic Medium"/>
              <a:cs typeface="Arial"/>
            </a:endParaRPr>
          </a:p>
        </p:txBody>
      </p:sp>
      <p:sp>
        <p:nvSpPr>
          <p:cNvPr id="217092" name="Rectangle 13"/>
          <p:cNvSpPr>
            <a:spLocks noGrp="1" noChangeArrowheads="1"/>
          </p:cNvSpPr>
          <p:nvPr>
            <p:ph type="title"/>
          </p:nvPr>
        </p:nvSpPr>
        <p:spPr bwMode="auto">
          <a:xfrm>
            <a:off x="307983" y="227013"/>
            <a:ext cx="79803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it-IT" smtClean="0"/>
              <a:t>Click to edit Master title style</a:t>
            </a:r>
          </a:p>
        </p:txBody>
      </p:sp>
      <p:sp>
        <p:nvSpPr>
          <p:cNvPr id="14341" name="Rectangle 37"/>
          <p:cNvSpPr>
            <a:spLocks noChangeArrowheads="1"/>
          </p:cNvSpPr>
          <p:nvPr>
            <p:custDataLst>
              <p:tags r:id="rId15"/>
            </p:custDataLst>
          </p:nvPr>
        </p:nvSpPr>
        <p:spPr bwMode="auto">
          <a:xfrm>
            <a:off x="9631741" y="6597664"/>
            <a:ext cx="125034" cy="123111"/>
          </a:xfrm>
          <a:prstGeom prst="rect">
            <a:avLst/>
          </a:prstGeom>
          <a:noFill/>
          <a:ln>
            <a:noFill/>
          </a:ln>
          <a:extLst/>
        </p:spPr>
        <p:txBody>
          <a:bodyPr wrap="none" lIns="0" tIns="0" rIns="0" bIns="0">
            <a:spAutoFit/>
          </a:bodyPr>
          <a:lstStyle/>
          <a:p>
            <a:pPr algn="r" defTabSz="762000" eaLnBrk="0" hangingPunct="0">
              <a:defRPr/>
            </a:pPr>
            <a:fld id="{FBDB4248-74EB-49C4-A138-58C7DBB2785E}" type="slidenum">
              <a:rPr lang="it-IT" sz="800" b="0">
                <a:solidFill>
                  <a:srgbClr val="8995B4"/>
                </a:solidFill>
                <a:cs typeface="Arial"/>
              </a:rPr>
              <a:pPr algn="r" defTabSz="762000" eaLnBrk="0" hangingPunct="0">
                <a:defRPr/>
              </a:pPr>
              <a:t>‹nº›</a:t>
            </a:fld>
            <a:endParaRPr lang="it-IT" sz="800" b="0">
              <a:solidFill>
                <a:srgbClr val="8995B4"/>
              </a:solidFill>
              <a:cs typeface="Arial"/>
            </a:endParaRPr>
          </a:p>
        </p:txBody>
      </p:sp>
      <p:pic>
        <p:nvPicPr>
          <p:cNvPr id="217094" name="Picture 10" descr="LogosTIM2009_VoceSemFronteiras"/>
          <p:cNvPicPr>
            <a:picLocks noChangeAspect="1" noChangeArrowheads="1"/>
          </p:cNvPicPr>
          <p:nvPr/>
        </p:nvPicPr>
        <p:blipFill>
          <a:blip r:embed="rId17" cstate="email">
            <a:clrChange>
              <a:clrFrom>
                <a:srgbClr val="000000"/>
              </a:clrFrom>
              <a:clrTo>
                <a:srgbClr val="000000">
                  <a:alpha val="0"/>
                </a:srgbClr>
              </a:clrTo>
            </a:clrChange>
            <a:extLst>
              <a:ext uri="{28A0092B-C50C-407E-A947-70E740481C1C}">
                <a14:useLocalDpi xmlns="" xmlns:a14="http://schemas.microsoft.com/office/drawing/2010/main"/>
              </a:ext>
            </a:extLst>
          </a:blip>
          <a:srcRect/>
          <a:stretch>
            <a:fillRect/>
          </a:stretch>
        </p:blipFill>
        <p:spPr bwMode="auto">
          <a:xfrm>
            <a:off x="8374063" y="131766"/>
            <a:ext cx="1249362" cy="61753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241" r:id="rId1"/>
    <p:sldLayoutId id="2147484240" r:id="rId2"/>
    <p:sldLayoutId id="2147484239" r:id="rId3"/>
    <p:sldLayoutId id="2147484238" r:id="rId4"/>
    <p:sldLayoutId id="2147484237" r:id="rId5"/>
    <p:sldLayoutId id="2147484236" r:id="rId6"/>
    <p:sldLayoutId id="2147484235" r:id="rId7"/>
    <p:sldLayoutId id="2147484234" r:id="rId8"/>
    <p:sldLayoutId id="2147484233" r:id="rId9"/>
    <p:sldLayoutId id="2147484232" r:id="rId10"/>
    <p:sldLayoutId id="2147484231" r:id="rId11"/>
    <p:sldLayoutId id="2147484230" r:id="rId12"/>
    <p:sldLayoutId id="2147484229" r:id="rId13"/>
  </p:sldLayoutIdLst>
  <p:txStyles>
    <p:titleStyle>
      <a:lvl1pPr algn="l" rtl="0" eaLnBrk="0" fontAlgn="base" hangingPunct="0">
        <a:lnSpc>
          <a:spcPct val="80000"/>
        </a:lnSpc>
        <a:spcBef>
          <a:spcPct val="0"/>
        </a:spcBef>
        <a:spcAft>
          <a:spcPct val="0"/>
        </a:spcAft>
        <a:defRPr sz="2600" b="1">
          <a:solidFill>
            <a:schemeClr val="bg1"/>
          </a:solidFill>
          <a:latin typeface="+mj-lt"/>
          <a:ea typeface="Arial" charset="0"/>
          <a:cs typeface="+mj-cs"/>
        </a:defRPr>
      </a:lvl1pPr>
      <a:lvl2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2pPr>
      <a:lvl3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3pPr>
      <a:lvl4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4pPr>
      <a:lvl5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5pPr>
      <a:lvl6pPr marL="4572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6pPr>
      <a:lvl7pPr marL="9144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7pPr>
      <a:lvl8pPr marL="13716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8pPr>
      <a:lvl9pPr marL="18288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9pPr>
    </p:titleStyle>
    <p:bodyStyle>
      <a:lvl1pPr marL="342900" indent="-342900" algn="just" rtl="0" eaLnBrk="0" fontAlgn="base" hangingPunct="0">
        <a:lnSpc>
          <a:spcPct val="110000"/>
        </a:lnSpc>
        <a:spcBef>
          <a:spcPct val="20000"/>
        </a:spcBef>
        <a:spcAft>
          <a:spcPct val="10000"/>
        </a:spcAft>
        <a:buClr>
          <a:schemeClr val="accent1"/>
        </a:buClr>
        <a:buFont typeface="Franklin Gothic Medium" pitchFamily="34" charset="0"/>
        <a:buChar char="4"/>
        <a:defRPr sz="2000">
          <a:solidFill>
            <a:schemeClr val="tx1"/>
          </a:solidFill>
          <a:latin typeface="+mn-lt"/>
          <a:ea typeface="Arial" charset="0"/>
          <a:cs typeface="+mn-cs"/>
        </a:defRPr>
      </a:lvl1pPr>
      <a:lvl2pPr marL="812800" indent="-277813" algn="just" rtl="0" eaLnBrk="0" fontAlgn="base" hangingPunct="0">
        <a:lnSpc>
          <a:spcPct val="110000"/>
        </a:lnSpc>
        <a:spcBef>
          <a:spcPct val="20000"/>
        </a:spcBef>
        <a:spcAft>
          <a:spcPct val="10000"/>
        </a:spcAft>
        <a:buClr>
          <a:schemeClr val="accent1"/>
        </a:buClr>
        <a:buFont typeface="Franklin Gothic Medium" pitchFamily="34" charset="0"/>
        <a:buChar char="4"/>
        <a:defRPr sz="2800" b="1">
          <a:solidFill>
            <a:schemeClr val="tx1"/>
          </a:solidFill>
          <a:latin typeface="+mn-lt"/>
          <a:ea typeface="Arial" charset="0"/>
          <a:cs typeface="+mn-cs"/>
        </a:defRPr>
      </a:lvl2pPr>
      <a:lvl3pPr marL="1524000" indent="-266700" algn="just" rtl="0" eaLnBrk="0" fontAlgn="base" hangingPunct="0">
        <a:lnSpc>
          <a:spcPct val="110000"/>
        </a:lnSpc>
        <a:spcBef>
          <a:spcPct val="20000"/>
        </a:spcBef>
        <a:spcAft>
          <a:spcPct val="10000"/>
        </a:spcAft>
        <a:buClr>
          <a:schemeClr val="accent1"/>
        </a:buClr>
        <a:buFont typeface="Franklin Gothic Medium" pitchFamily="34" charset="0"/>
        <a:buChar char="4"/>
        <a:defRPr sz="2400">
          <a:solidFill>
            <a:schemeClr val="tx1"/>
          </a:solidFill>
          <a:latin typeface="+mn-lt"/>
          <a:ea typeface="Arial" charset="0"/>
          <a:cs typeface="+mn-cs"/>
        </a:defRPr>
      </a:lvl3pPr>
      <a:lvl4pPr marL="2157413" indent="-188913" algn="just" rtl="0" eaLnBrk="0" fontAlgn="base" hangingPunct="0">
        <a:lnSpc>
          <a:spcPct val="110000"/>
        </a:lnSpc>
        <a:spcBef>
          <a:spcPct val="20000"/>
        </a:spcBef>
        <a:spcAft>
          <a:spcPct val="10000"/>
        </a:spcAft>
        <a:buClr>
          <a:schemeClr val="accent1"/>
        </a:buClr>
        <a:buFont typeface="Franklin Gothic Medium" pitchFamily="34" charset="0"/>
        <a:buChar char="4"/>
        <a:defRPr sz="1600" b="1">
          <a:solidFill>
            <a:schemeClr val="tx1"/>
          </a:solidFill>
          <a:latin typeface="+mn-lt"/>
          <a:ea typeface="Arial" charset="0"/>
          <a:cs typeface="+mn-cs"/>
        </a:defRPr>
      </a:lvl4pPr>
      <a:lvl5pPr marL="2603500" indent="-177800" algn="just" rtl="0" eaLnBrk="0" fontAlgn="base" hangingPunct="0">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ea typeface="Arial" charset="0"/>
          <a:cs typeface="+mn-cs"/>
        </a:defRPr>
      </a:lvl5pPr>
      <a:lvl6pPr marL="30607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6pPr>
      <a:lvl7pPr marL="35179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7pPr>
      <a:lvl8pPr marL="39751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8pPr>
      <a:lvl9pPr marL="44323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31426" name="Picture 8" descr="TIM_MENTE_SEM_FRONTEIRAS_0803 0008"/>
          <p:cNvPicPr>
            <a:picLocks noChangeAspect="1" noChangeArrowheads="1"/>
          </p:cNvPicPr>
          <p:nvPr/>
        </p:nvPicPr>
        <p:blipFill>
          <a:blip r:embed="rId16" cstate="print"/>
          <a:srcRect/>
          <a:stretch>
            <a:fillRect/>
          </a:stretch>
        </p:blipFill>
        <p:spPr bwMode="auto">
          <a:xfrm>
            <a:off x="0" y="-12700"/>
            <a:ext cx="9906000" cy="896938"/>
          </a:xfrm>
          <a:prstGeom prst="rect">
            <a:avLst/>
          </a:prstGeom>
          <a:noFill/>
          <a:ln w="9525">
            <a:noFill/>
            <a:miter lim="800000"/>
            <a:headEnd/>
            <a:tailEnd/>
          </a:ln>
        </p:spPr>
      </p:pic>
      <p:sp>
        <p:nvSpPr>
          <p:cNvPr id="6147" name="Rectangle 2"/>
          <p:cNvSpPr>
            <a:spLocks noChangeArrowheads="1"/>
          </p:cNvSpPr>
          <p:nvPr/>
        </p:nvSpPr>
        <p:spPr bwMode="auto">
          <a:xfrm>
            <a:off x="0" y="0"/>
            <a:ext cx="9906000" cy="6851650"/>
          </a:xfrm>
          <a:prstGeom prst="rect">
            <a:avLst/>
          </a:prstGeom>
          <a:noFill/>
          <a:ln w="12700" cap="sq">
            <a:solidFill>
              <a:srgbClr val="595959"/>
            </a:solidFill>
            <a:miter lim="800000"/>
            <a:headEnd type="none" w="sm" len="sm"/>
            <a:tailEnd type="none" w="sm" len="sm"/>
          </a:ln>
        </p:spPr>
        <p:txBody>
          <a:bodyPr wrap="none" anchor="ctr"/>
          <a:lstStyle/>
          <a:p>
            <a:pPr algn="r" eaLnBrk="0" hangingPunct="0">
              <a:defRPr/>
            </a:pPr>
            <a:endParaRPr lang="pt-BR" sz="1000" b="0" i="1">
              <a:solidFill>
                <a:srgbClr val="004990"/>
              </a:solidFill>
              <a:latin typeface="Franklin Gothic Medium" charset="0"/>
            </a:endParaRPr>
          </a:p>
        </p:txBody>
      </p:sp>
      <p:sp>
        <p:nvSpPr>
          <p:cNvPr id="231428" name="Rectangle 13"/>
          <p:cNvSpPr>
            <a:spLocks noGrp="1" noChangeArrowheads="1"/>
          </p:cNvSpPr>
          <p:nvPr>
            <p:ph type="title"/>
          </p:nvPr>
        </p:nvSpPr>
        <p:spPr bwMode="auto">
          <a:xfrm>
            <a:off x="307983" y="227013"/>
            <a:ext cx="79803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it-IT" smtClean="0"/>
              <a:t>Click to edit Master title style</a:t>
            </a:r>
          </a:p>
        </p:txBody>
      </p:sp>
      <p:sp>
        <p:nvSpPr>
          <p:cNvPr id="6149" name="Rectangle 37"/>
          <p:cNvSpPr>
            <a:spLocks noChangeArrowheads="1"/>
          </p:cNvSpPr>
          <p:nvPr>
            <p:custDataLst>
              <p:tags r:id="rId15"/>
            </p:custDataLst>
          </p:nvPr>
        </p:nvSpPr>
        <p:spPr bwMode="auto">
          <a:xfrm>
            <a:off x="9631741" y="6597664"/>
            <a:ext cx="125034" cy="123111"/>
          </a:xfrm>
          <a:prstGeom prst="rect">
            <a:avLst/>
          </a:prstGeom>
          <a:noFill/>
          <a:ln w="9525">
            <a:noFill/>
            <a:miter lim="800000"/>
            <a:headEnd/>
            <a:tailEnd/>
          </a:ln>
        </p:spPr>
        <p:txBody>
          <a:bodyPr wrap="none" lIns="0" tIns="0" rIns="0" bIns="0">
            <a:spAutoFit/>
          </a:bodyPr>
          <a:lstStyle/>
          <a:p>
            <a:pPr algn="r" defTabSz="762000" eaLnBrk="0" hangingPunct="0">
              <a:defRPr/>
            </a:pPr>
            <a:fld id="{DB4EC87A-85B5-4D5A-930E-8F770AF616E8}" type="slidenum">
              <a:rPr lang="it-IT" sz="800" b="0">
                <a:solidFill>
                  <a:srgbClr val="8995B4"/>
                </a:solidFill>
              </a:rPr>
              <a:pPr algn="r" defTabSz="762000" eaLnBrk="0" hangingPunct="0">
                <a:defRPr/>
              </a:pPr>
              <a:t>‹nº›</a:t>
            </a:fld>
            <a:endParaRPr lang="it-IT" sz="800" b="0">
              <a:solidFill>
                <a:srgbClr val="8995B4"/>
              </a:solidFill>
            </a:endParaRPr>
          </a:p>
        </p:txBody>
      </p:sp>
      <p:pic>
        <p:nvPicPr>
          <p:cNvPr id="231430" name="Picture 10" descr="LogosTIM2009_VoceSemFronteiras"/>
          <p:cNvPicPr>
            <a:picLocks noChangeAspect="1" noChangeArrowheads="1"/>
          </p:cNvPicPr>
          <p:nvPr/>
        </p:nvPicPr>
        <p:blipFill>
          <a:blip r:embed="rId17" cstate="email">
            <a:clrChange>
              <a:clrFrom>
                <a:srgbClr val="000000"/>
              </a:clrFrom>
              <a:clrTo>
                <a:srgbClr val="000000">
                  <a:alpha val="0"/>
                </a:srgbClr>
              </a:clrTo>
            </a:clrChange>
            <a:extLst>
              <a:ext uri="{28A0092B-C50C-407E-A947-70E740481C1C}">
                <a14:useLocalDpi xmlns="" xmlns:a14="http://schemas.microsoft.com/office/drawing/2010/main"/>
              </a:ext>
            </a:extLst>
          </a:blip>
          <a:srcRect/>
          <a:stretch>
            <a:fillRect/>
          </a:stretch>
        </p:blipFill>
        <p:spPr bwMode="auto">
          <a:xfrm>
            <a:off x="8374063" y="131766"/>
            <a:ext cx="1249362" cy="61753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254" r:id="rId1"/>
    <p:sldLayoutId id="2147484253" r:id="rId2"/>
    <p:sldLayoutId id="2147484252" r:id="rId3"/>
    <p:sldLayoutId id="2147484251" r:id="rId4"/>
    <p:sldLayoutId id="2147484250" r:id="rId5"/>
    <p:sldLayoutId id="2147484249" r:id="rId6"/>
    <p:sldLayoutId id="2147484248" r:id="rId7"/>
    <p:sldLayoutId id="2147484247" r:id="rId8"/>
    <p:sldLayoutId id="2147484246" r:id="rId9"/>
    <p:sldLayoutId id="2147484245" r:id="rId10"/>
    <p:sldLayoutId id="2147484244" r:id="rId11"/>
    <p:sldLayoutId id="2147484243" r:id="rId12"/>
    <p:sldLayoutId id="2147484242" r:id="rId13"/>
  </p:sldLayoutIdLst>
  <p:txStyles>
    <p:titleStyle>
      <a:lvl1pPr algn="l" rtl="0" eaLnBrk="0" fontAlgn="base" hangingPunct="0">
        <a:lnSpc>
          <a:spcPct val="80000"/>
        </a:lnSpc>
        <a:spcBef>
          <a:spcPct val="0"/>
        </a:spcBef>
        <a:spcAft>
          <a:spcPct val="0"/>
        </a:spcAft>
        <a:defRPr sz="2600" b="1">
          <a:solidFill>
            <a:schemeClr val="bg1"/>
          </a:solidFill>
          <a:latin typeface="+mj-lt"/>
          <a:ea typeface="Arial" charset="0"/>
          <a:cs typeface="+mj-cs"/>
        </a:defRPr>
      </a:lvl1pPr>
      <a:lvl2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2pPr>
      <a:lvl3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3pPr>
      <a:lvl4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4pPr>
      <a:lvl5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5pPr>
      <a:lvl6pPr marL="4572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6pPr>
      <a:lvl7pPr marL="9144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7pPr>
      <a:lvl8pPr marL="13716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8pPr>
      <a:lvl9pPr marL="18288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9pPr>
    </p:titleStyle>
    <p:bodyStyle>
      <a:lvl1pPr marL="342900" indent="-342900" algn="just" rtl="0" eaLnBrk="0" fontAlgn="base" hangingPunct="0">
        <a:lnSpc>
          <a:spcPct val="110000"/>
        </a:lnSpc>
        <a:spcBef>
          <a:spcPct val="20000"/>
        </a:spcBef>
        <a:spcAft>
          <a:spcPct val="10000"/>
        </a:spcAft>
        <a:buClr>
          <a:schemeClr val="accent1"/>
        </a:buClr>
        <a:buFont typeface="Franklin Gothic Medium" pitchFamily="34" charset="0"/>
        <a:buChar char="4"/>
        <a:defRPr sz="2000">
          <a:solidFill>
            <a:schemeClr val="tx1"/>
          </a:solidFill>
          <a:latin typeface="+mn-lt"/>
          <a:ea typeface="Arial" charset="0"/>
          <a:cs typeface="+mn-cs"/>
        </a:defRPr>
      </a:lvl1pPr>
      <a:lvl2pPr marL="812800" indent="-277813" algn="just" rtl="0" eaLnBrk="0" fontAlgn="base" hangingPunct="0">
        <a:lnSpc>
          <a:spcPct val="110000"/>
        </a:lnSpc>
        <a:spcBef>
          <a:spcPct val="20000"/>
        </a:spcBef>
        <a:spcAft>
          <a:spcPct val="10000"/>
        </a:spcAft>
        <a:buClr>
          <a:schemeClr val="accent1"/>
        </a:buClr>
        <a:buFont typeface="Franklin Gothic Medium" pitchFamily="34" charset="0"/>
        <a:buChar char="4"/>
        <a:defRPr sz="2800" b="1">
          <a:solidFill>
            <a:schemeClr val="tx1"/>
          </a:solidFill>
          <a:latin typeface="+mn-lt"/>
          <a:ea typeface="Arial" charset="0"/>
          <a:cs typeface="+mn-cs"/>
        </a:defRPr>
      </a:lvl2pPr>
      <a:lvl3pPr marL="1524000" indent="-266700" algn="just" rtl="0" eaLnBrk="0" fontAlgn="base" hangingPunct="0">
        <a:lnSpc>
          <a:spcPct val="110000"/>
        </a:lnSpc>
        <a:spcBef>
          <a:spcPct val="20000"/>
        </a:spcBef>
        <a:spcAft>
          <a:spcPct val="10000"/>
        </a:spcAft>
        <a:buClr>
          <a:schemeClr val="accent1"/>
        </a:buClr>
        <a:buFont typeface="Franklin Gothic Medium" pitchFamily="34" charset="0"/>
        <a:buChar char="4"/>
        <a:defRPr sz="2400">
          <a:solidFill>
            <a:schemeClr val="tx1"/>
          </a:solidFill>
          <a:latin typeface="+mn-lt"/>
          <a:ea typeface="Arial" charset="0"/>
          <a:cs typeface="+mn-cs"/>
        </a:defRPr>
      </a:lvl3pPr>
      <a:lvl4pPr marL="2157413" indent="-188913" algn="just" rtl="0" eaLnBrk="0" fontAlgn="base" hangingPunct="0">
        <a:lnSpc>
          <a:spcPct val="110000"/>
        </a:lnSpc>
        <a:spcBef>
          <a:spcPct val="20000"/>
        </a:spcBef>
        <a:spcAft>
          <a:spcPct val="10000"/>
        </a:spcAft>
        <a:buClr>
          <a:schemeClr val="accent1"/>
        </a:buClr>
        <a:buFont typeface="Franklin Gothic Medium" pitchFamily="34" charset="0"/>
        <a:buChar char="4"/>
        <a:defRPr sz="1600" b="1">
          <a:solidFill>
            <a:schemeClr val="tx1"/>
          </a:solidFill>
          <a:latin typeface="+mn-lt"/>
          <a:ea typeface="Arial" charset="0"/>
          <a:cs typeface="+mn-cs"/>
        </a:defRPr>
      </a:lvl4pPr>
      <a:lvl5pPr marL="2603500" indent="-177800" algn="just" rtl="0" eaLnBrk="0" fontAlgn="base" hangingPunct="0">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ea typeface="Arial" charset="0"/>
          <a:cs typeface="+mn-cs"/>
        </a:defRPr>
      </a:lvl5pPr>
      <a:lvl6pPr marL="30607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6pPr>
      <a:lvl7pPr marL="35179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7pPr>
      <a:lvl8pPr marL="39751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8pPr>
      <a:lvl9pPr marL="44323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45762" name="Picture 8" descr="TIM_MENTE_SEM_FRONTEIRAS_0803 0008"/>
          <p:cNvPicPr>
            <a:picLocks noChangeAspect="1" noChangeArrowheads="1"/>
          </p:cNvPicPr>
          <p:nvPr/>
        </p:nvPicPr>
        <p:blipFill>
          <a:blip r:embed="rId15" cstate="print"/>
          <a:srcRect/>
          <a:stretch>
            <a:fillRect/>
          </a:stretch>
        </p:blipFill>
        <p:spPr bwMode="auto">
          <a:xfrm>
            <a:off x="0" y="-12700"/>
            <a:ext cx="9906000" cy="896938"/>
          </a:xfrm>
          <a:prstGeom prst="rect">
            <a:avLst/>
          </a:prstGeom>
          <a:noFill/>
          <a:ln w="9525">
            <a:noFill/>
            <a:miter lim="800000"/>
            <a:headEnd/>
            <a:tailEnd/>
          </a:ln>
        </p:spPr>
      </p:pic>
      <p:sp>
        <p:nvSpPr>
          <p:cNvPr id="45059" name="Rectangle 2"/>
          <p:cNvSpPr>
            <a:spLocks noChangeArrowheads="1"/>
          </p:cNvSpPr>
          <p:nvPr/>
        </p:nvSpPr>
        <p:spPr bwMode="auto">
          <a:xfrm>
            <a:off x="0" y="0"/>
            <a:ext cx="9906000" cy="6851650"/>
          </a:xfrm>
          <a:prstGeom prst="rect">
            <a:avLst/>
          </a:prstGeom>
          <a:noFill/>
          <a:ln w="12700" cap="sq">
            <a:solidFill>
              <a:srgbClr val="595959"/>
            </a:solidFill>
            <a:miter lim="800000"/>
            <a:headEnd type="none" w="sm" len="sm"/>
            <a:tailEnd type="none" w="sm" len="sm"/>
          </a:ln>
          <a:extLst/>
        </p:spPr>
        <p:txBody>
          <a:bodyPr wrap="none" anchor="ctr"/>
          <a:lstStyle/>
          <a:p>
            <a:pPr algn="r" eaLnBrk="0" hangingPunct="0">
              <a:defRPr/>
            </a:pPr>
            <a:endParaRPr lang="pt-BR" sz="1000" b="0" i="1">
              <a:solidFill>
                <a:srgbClr val="004990"/>
              </a:solidFill>
              <a:latin typeface="Franklin Gothic Medium"/>
              <a:cs typeface="Arial"/>
            </a:endParaRPr>
          </a:p>
        </p:txBody>
      </p:sp>
      <p:sp>
        <p:nvSpPr>
          <p:cNvPr id="245764" name="Rectangle 13"/>
          <p:cNvSpPr>
            <a:spLocks noGrp="1" noChangeArrowheads="1"/>
          </p:cNvSpPr>
          <p:nvPr>
            <p:ph type="title"/>
          </p:nvPr>
        </p:nvSpPr>
        <p:spPr bwMode="auto">
          <a:xfrm>
            <a:off x="307983" y="227013"/>
            <a:ext cx="79803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it-IT" smtClean="0"/>
              <a:t>Click to edit Master title style</a:t>
            </a:r>
          </a:p>
        </p:txBody>
      </p:sp>
      <p:sp>
        <p:nvSpPr>
          <p:cNvPr id="45061" name="Rectangle 37"/>
          <p:cNvSpPr>
            <a:spLocks noChangeArrowheads="1"/>
          </p:cNvSpPr>
          <p:nvPr>
            <p:custDataLst>
              <p:tags r:id="rId14"/>
            </p:custDataLst>
          </p:nvPr>
        </p:nvSpPr>
        <p:spPr bwMode="auto">
          <a:xfrm>
            <a:off x="9631741" y="6597664"/>
            <a:ext cx="125034" cy="123111"/>
          </a:xfrm>
          <a:prstGeom prst="rect">
            <a:avLst/>
          </a:prstGeom>
          <a:noFill/>
          <a:ln>
            <a:noFill/>
          </a:ln>
          <a:extLst/>
        </p:spPr>
        <p:txBody>
          <a:bodyPr wrap="none" lIns="0" tIns="0" rIns="0" bIns="0">
            <a:spAutoFit/>
          </a:bodyPr>
          <a:lstStyle/>
          <a:p>
            <a:pPr algn="r" defTabSz="762000" eaLnBrk="0" hangingPunct="0">
              <a:defRPr/>
            </a:pPr>
            <a:fld id="{F462A1F3-C74B-472F-8296-E62B467F0595}" type="slidenum">
              <a:rPr lang="it-IT" sz="800" b="0">
                <a:solidFill>
                  <a:srgbClr val="8995B4"/>
                </a:solidFill>
                <a:cs typeface="Arial"/>
              </a:rPr>
              <a:pPr algn="r" defTabSz="762000" eaLnBrk="0" hangingPunct="0">
                <a:defRPr/>
              </a:pPr>
              <a:t>‹nº›</a:t>
            </a:fld>
            <a:endParaRPr lang="it-IT" sz="800" b="0">
              <a:solidFill>
                <a:srgbClr val="8995B4"/>
              </a:solidFill>
              <a:cs typeface="Arial"/>
            </a:endParaRPr>
          </a:p>
        </p:txBody>
      </p:sp>
      <p:pic>
        <p:nvPicPr>
          <p:cNvPr id="245766" name="Picture 10" descr="LogosTIM2009_VoceSemFronteiras"/>
          <p:cNvPicPr>
            <a:picLocks noChangeAspect="1" noChangeArrowheads="1"/>
          </p:cNvPicPr>
          <p:nvPr/>
        </p:nvPicPr>
        <p:blipFill>
          <a:blip r:embed="rId16" cstate="email">
            <a:clrChange>
              <a:clrFrom>
                <a:srgbClr val="000000"/>
              </a:clrFrom>
              <a:clrTo>
                <a:srgbClr val="000000">
                  <a:alpha val="0"/>
                </a:srgbClr>
              </a:clrTo>
            </a:clrChange>
            <a:extLst>
              <a:ext uri="{28A0092B-C50C-407E-A947-70E740481C1C}">
                <a14:useLocalDpi xmlns="" xmlns:a14="http://schemas.microsoft.com/office/drawing/2010/main"/>
              </a:ext>
            </a:extLst>
          </a:blip>
          <a:srcRect/>
          <a:stretch>
            <a:fillRect/>
          </a:stretch>
        </p:blipFill>
        <p:spPr bwMode="auto">
          <a:xfrm>
            <a:off x="8374063" y="131766"/>
            <a:ext cx="1249362" cy="61753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266" r:id="rId1"/>
    <p:sldLayoutId id="2147484265" r:id="rId2"/>
    <p:sldLayoutId id="2147484264" r:id="rId3"/>
    <p:sldLayoutId id="2147484263" r:id="rId4"/>
    <p:sldLayoutId id="2147484262" r:id="rId5"/>
    <p:sldLayoutId id="2147484261" r:id="rId6"/>
    <p:sldLayoutId id="2147484260" r:id="rId7"/>
    <p:sldLayoutId id="2147484259" r:id="rId8"/>
    <p:sldLayoutId id="2147484258" r:id="rId9"/>
    <p:sldLayoutId id="2147484257" r:id="rId10"/>
    <p:sldLayoutId id="2147484256" r:id="rId11"/>
    <p:sldLayoutId id="2147484255" r:id="rId12"/>
  </p:sldLayoutIdLst>
  <p:txStyles>
    <p:titleStyle>
      <a:lvl1pPr algn="l" rtl="0" eaLnBrk="0" fontAlgn="base" hangingPunct="0">
        <a:lnSpc>
          <a:spcPct val="80000"/>
        </a:lnSpc>
        <a:spcBef>
          <a:spcPct val="0"/>
        </a:spcBef>
        <a:spcAft>
          <a:spcPct val="0"/>
        </a:spcAft>
        <a:defRPr sz="2600" b="1">
          <a:solidFill>
            <a:schemeClr val="bg1"/>
          </a:solidFill>
          <a:latin typeface="+mj-lt"/>
          <a:ea typeface="Arial" charset="0"/>
          <a:cs typeface="+mj-cs"/>
        </a:defRPr>
      </a:lvl1pPr>
      <a:lvl2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2pPr>
      <a:lvl3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3pPr>
      <a:lvl4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4pPr>
      <a:lvl5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5pPr>
      <a:lvl6pPr marL="4572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6pPr>
      <a:lvl7pPr marL="9144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7pPr>
      <a:lvl8pPr marL="13716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8pPr>
      <a:lvl9pPr marL="18288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9pPr>
    </p:titleStyle>
    <p:bodyStyle>
      <a:lvl1pPr marL="342900" indent="-342900" algn="just" rtl="0" eaLnBrk="0" fontAlgn="base" hangingPunct="0">
        <a:lnSpc>
          <a:spcPct val="110000"/>
        </a:lnSpc>
        <a:spcBef>
          <a:spcPct val="20000"/>
        </a:spcBef>
        <a:spcAft>
          <a:spcPct val="10000"/>
        </a:spcAft>
        <a:buClr>
          <a:schemeClr val="accent1"/>
        </a:buClr>
        <a:buFont typeface="Franklin Gothic Medium" pitchFamily="34" charset="0"/>
        <a:buChar char="4"/>
        <a:defRPr sz="2000">
          <a:solidFill>
            <a:schemeClr val="tx1"/>
          </a:solidFill>
          <a:latin typeface="+mn-lt"/>
          <a:ea typeface="Arial" charset="0"/>
          <a:cs typeface="+mn-cs"/>
        </a:defRPr>
      </a:lvl1pPr>
      <a:lvl2pPr marL="812800" indent="-277813" algn="just" rtl="0" eaLnBrk="0" fontAlgn="base" hangingPunct="0">
        <a:lnSpc>
          <a:spcPct val="110000"/>
        </a:lnSpc>
        <a:spcBef>
          <a:spcPct val="20000"/>
        </a:spcBef>
        <a:spcAft>
          <a:spcPct val="10000"/>
        </a:spcAft>
        <a:buClr>
          <a:schemeClr val="accent1"/>
        </a:buClr>
        <a:buFont typeface="Franklin Gothic Medium" pitchFamily="34" charset="0"/>
        <a:buChar char="4"/>
        <a:defRPr sz="2800" b="1">
          <a:solidFill>
            <a:schemeClr val="tx1"/>
          </a:solidFill>
          <a:latin typeface="+mn-lt"/>
          <a:ea typeface="Arial" charset="0"/>
          <a:cs typeface="+mn-cs"/>
        </a:defRPr>
      </a:lvl2pPr>
      <a:lvl3pPr marL="1524000" indent="-266700" algn="just" rtl="0" eaLnBrk="0" fontAlgn="base" hangingPunct="0">
        <a:lnSpc>
          <a:spcPct val="110000"/>
        </a:lnSpc>
        <a:spcBef>
          <a:spcPct val="20000"/>
        </a:spcBef>
        <a:spcAft>
          <a:spcPct val="10000"/>
        </a:spcAft>
        <a:buClr>
          <a:schemeClr val="accent1"/>
        </a:buClr>
        <a:buFont typeface="Franklin Gothic Medium" pitchFamily="34" charset="0"/>
        <a:buChar char="4"/>
        <a:defRPr sz="2400">
          <a:solidFill>
            <a:schemeClr val="tx1"/>
          </a:solidFill>
          <a:latin typeface="+mn-lt"/>
          <a:ea typeface="Arial" charset="0"/>
          <a:cs typeface="+mn-cs"/>
        </a:defRPr>
      </a:lvl3pPr>
      <a:lvl4pPr marL="2157413" indent="-188913" algn="just" rtl="0" eaLnBrk="0" fontAlgn="base" hangingPunct="0">
        <a:lnSpc>
          <a:spcPct val="110000"/>
        </a:lnSpc>
        <a:spcBef>
          <a:spcPct val="20000"/>
        </a:spcBef>
        <a:spcAft>
          <a:spcPct val="10000"/>
        </a:spcAft>
        <a:buClr>
          <a:schemeClr val="accent1"/>
        </a:buClr>
        <a:buFont typeface="Franklin Gothic Medium" pitchFamily="34" charset="0"/>
        <a:buChar char="4"/>
        <a:defRPr sz="1600" b="1">
          <a:solidFill>
            <a:schemeClr val="tx1"/>
          </a:solidFill>
          <a:latin typeface="+mn-lt"/>
          <a:ea typeface="Arial" charset="0"/>
          <a:cs typeface="+mn-cs"/>
        </a:defRPr>
      </a:lvl4pPr>
      <a:lvl5pPr marL="2603500" indent="-177800" algn="just" rtl="0" eaLnBrk="0" fontAlgn="base" hangingPunct="0">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ea typeface="Arial" charset="0"/>
          <a:cs typeface="+mn-cs"/>
        </a:defRPr>
      </a:lvl5pPr>
      <a:lvl6pPr marL="30607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6pPr>
      <a:lvl7pPr marL="35179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7pPr>
      <a:lvl8pPr marL="39751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8pPr>
      <a:lvl9pPr marL="44323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3314" name="Picture 8" descr="TIM_MENTE_SEM_FRONTEIRAS_0803 0008"/>
          <p:cNvPicPr>
            <a:picLocks noChangeAspect="1" noChangeArrowheads="1"/>
          </p:cNvPicPr>
          <p:nvPr/>
        </p:nvPicPr>
        <p:blipFill>
          <a:blip r:embed="rId18" cstate="print"/>
          <a:srcRect/>
          <a:stretch>
            <a:fillRect/>
          </a:stretch>
        </p:blipFill>
        <p:spPr bwMode="auto">
          <a:xfrm>
            <a:off x="0" y="-12700"/>
            <a:ext cx="9906000" cy="896938"/>
          </a:xfrm>
          <a:prstGeom prst="rect">
            <a:avLst/>
          </a:prstGeom>
          <a:noFill/>
          <a:ln w="9525">
            <a:noFill/>
            <a:miter lim="800000"/>
            <a:headEnd/>
            <a:tailEnd/>
          </a:ln>
        </p:spPr>
      </p:pic>
      <p:sp>
        <p:nvSpPr>
          <p:cNvPr id="2051" name="Rectangle 2"/>
          <p:cNvSpPr>
            <a:spLocks noChangeArrowheads="1"/>
          </p:cNvSpPr>
          <p:nvPr/>
        </p:nvSpPr>
        <p:spPr bwMode="auto">
          <a:xfrm>
            <a:off x="0" y="0"/>
            <a:ext cx="9906000" cy="6851650"/>
          </a:xfrm>
          <a:prstGeom prst="rect">
            <a:avLst/>
          </a:prstGeom>
          <a:noFill/>
          <a:ln w="12700" cap="sq">
            <a:solidFill>
              <a:srgbClr val="595959"/>
            </a:solidFill>
            <a:miter lim="800000"/>
            <a:headEnd type="none" w="sm" len="sm"/>
            <a:tailEnd type="none" w="sm" len="sm"/>
          </a:ln>
        </p:spPr>
        <p:txBody>
          <a:bodyPr wrap="none" anchor="ctr"/>
          <a:lstStyle/>
          <a:p>
            <a:pPr algn="r" eaLnBrk="0" hangingPunct="0">
              <a:defRPr/>
            </a:pPr>
            <a:endParaRPr lang="pt-BR" sz="1000" b="0" i="1">
              <a:latin typeface="Franklin Gothic Medium" charset="0"/>
            </a:endParaRPr>
          </a:p>
        </p:txBody>
      </p:sp>
      <p:sp>
        <p:nvSpPr>
          <p:cNvPr id="13316" name="Rectangle 13"/>
          <p:cNvSpPr>
            <a:spLocks noGrp="1" noChangeArrowheads="1"/>
          </p:cNvSpPr>
          <p:nvPr>
            <p:ph type="title"/>
          </p:nvPr>
        </p:nvSpPr>
        <p:spPr bwMode="auto">
          <a:xfrm>
            <a:off x="307983" y="227013"/>
            <a:ext cx="79803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it-IT" smtClean="0"/>
              <a:t>Click to edit Master title style</a:t>
            </a:r>
          </a:p>
        </p:txBody>
      </p:sp>
      <p:sp>
        <p:nvSpPr>
          <p:cNvPr id="2053" name="Rectangle 37"/>
          <p:cNvSpPr>
            <a:spLocks noChangeArrowheads="1"/>
          </p:cNvSpPr>
          <p:nvPr>
            <p:custDataLst>
              <p:tags r:id="rId17"/>
            </p:custDataLst>
          </p:nvPr>
        </p:nvSpPr>
        <p:spPr bwMode="auto">
          <a:xfrm>
            <a:off x="9631741" y="6597664"/>
            <a:ext cx="125034" cy="123111"/>
          </a:xfrm>
          <a:prstGeom prst="rect">
            <a:avLst/>
          </a:prstGeom>
          <a:noFill/>
          <a:ln w="9525">
            <a:noFill/>
            <a:miter lim="800000"/>
            <a:headEnd/>
            <a:tailEnd/>
          </a:ln>
        </p:spPr>
        <p:txBody>
          <a:bodyPr wrap="none" lIns="0" tIns="0" rIns="0" bIns="0">
            <a:spAutoFit/>
          </a:bodyPr>
          <a:lstStyle/>
          <a:p>
            <a:pPr algn="r" defTabSz="762000" eaLnBrk="0" hangingPunct="0">
              <a:defRPr/>
            </a:pPr>
            <a:fld id="{5FCCE56E-742E-4FF4-A224-04D800848F46}" type="slidenum">
              <a:rPr lang="it-IT" sz="800" b="0">
                <a:solidFill>
                  <a:srgbClr val="8995B4"/>
                </a:solidFill>
              </a:rPr>
              <a:pPr algn="r" defTabSz="762000" eaLnBrk="0" hangingPunct="0">
                <a:defRPr/>
              </a:pPr>
              <a:t>‹nº›</a:t>
            </a:fld>
            <a:endParaRPr lang="it-IT" sz="800" b="0">
              <a:solidFill>
                <a:srgbClr val="8995B4"/>
              </a:solidFill>
            </a:endParaRPr>
          </a:p>
        </p:txBody>
      </p:sp>
      <p:pic>
        <p:nvPicPr>
          <p:cNvPr id="13318" name="Picture 10" descr="LogosTIM2009_VoceSemFronteiras"/>
          <p:cNvPicPr>
            <a:picLocks noChangeAspect="1" noChangeArrowheads="1"/>
          </p:cNvPicPr>
          <p:nvPr/>
        </p:nvPicPr>
        <p:blipFill>
          <a:blip r:embed="rId19" cstate="email">
            <a:clrChange>
              <a:clrFrom>
                <a:srgbClr val="000000"/>
              </a:clrFrom>
              <a:clrTo>
                <a:srgbClr val="000000">
                  <a:alpha val="0"/>
                </a:srgbClr>
              </a:clrTo>
            </a:clrChange>
            <a:extLst>
              <a:ext uri="{28A0092B-C50C-407E-A947-70E740481C1C}">
                <a14:useLocalDpi xmlns="" xmlns:a14="http://schemas.microsoft.com/office/drawing/2010/main"/>
              </a:ext>
            </a:extLst>
          </a:blip>
          <a:srcRect/>
          <a:stretch>
            <a:fillRect/>
          </a:stretch>
        </p:blipFill>
        <p:spPr bwMode="auto">
          <a:xfrm>
            <a:off x="8374063" y="131766"/>
            <a:ext cx="1249362" cy="61753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059" r:id="rId1"/>
    <p:sldLayoutId id="2147484058" r:id="rId2"/>
    <p:sldLayoutId id="2147484057" r:id="rId3"/>
    <p:sldLayoutId id="2147484056" r:id="rId4"/>
    <p:sldLayoutId id="2147484055" r:id="rId5"/>
    <p:sldLayoutId id="2147484054" r:id="rId6"/>
    <p:sldLayoutId id="2147484053" r:id="rId7"/>
    <p:sldLayoutId id="2147484052" r:id="rId8"/>
    <p:sldLayoutId id="2147484051" r:id="rId9"/>
    <p:sldLayoutId id="2147484050" r:id="rId10"/>
    <p:sldLayoutId id="2147484049" r:id="rId11"/>
    <p:sldLayoutId id="2147484048" r:id="rId12"/>
    <p:sldLayoutId id="2147484047" r:id="rId13"/>
    <p:sldLayoutId id="2147484046" r:id="rId14"/>
    <p:sldLayoutId id="2147484045" r:id="rId15"/>
  </p:sldLayoutIdLst>
  <p:txStyles>
    <p:titleStyle>
      <a:lvl1pPr algn="l" rtl="0" eaLnBrk="0" fontAlgn="base" hangingPunct="0">
        <a:lnSpc>
          <a:spcPct val="80000"/>
        </a:lnSpc>
        <a:spcBef>
          <a:spcPct val="0"/>
        </a:spcBef>
        <a:spcAft>
          <a:spcPct val="0"/>
        </a:spcAft>
        <a:defRPr sz="2600" b="1">
          <a:solidFill>
            <a:schemeClr val="bg1"/>
          </a:solidFill>
          <a:latin typeface="+mj-lt"/>
          <a:ea typeface="Arial" charset="0"/>
          <a:cs typeface="+mj-cs"/>
        </a:defRPr>
      </a:lvl1pPr>
      <a:lvl2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charset="0"/>
        </a:defRPr>
      </a:lvl2pPr>
      <a:lvl3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charset="0"/>
        </a:defRPr>
      </a:lvl3pPr>
      <a:lvl4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charset="0"/>
        </a:defRPr>
      </a:lvl4pPr>
      <a:lvl5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charset="0"/>
        </a:defRPr>
      </a:lvl5pPr>
      <a:lvl6pPr marL="457200" algn="l" rtl="0" fontAlgn="base">
        <a:lnSpc>
          <a:spcPct val="80000"/>
        </a:lnSpc>
        <a:spcBef>
          <a:spcPct val="0"/>
        </a:spcBef>
        <a:spcAft>
          <a:spcPct val="0"/>
        </a:spcAft>
        <a:defRPr sz="2200" b="1">
          <a:solidFill>
            <a:schemeClr val="tx1"/>
          </a:solidFill>
          <a:latin typeface="Franklin Gothic Medium" pitchFamily="34" charset="0"/>
          <a:cs typeface="Arial" charset="0"/>
        </a:defRPr>
      </a:lvl6pPr>
      <a:lvl7pPr marL="914400" algn="l" rtl="0" fontAlgn="base">
        <a:lnSpc>
          <a:spcPct val="80000"/>
        </a:lnSpc>
        <a:spcBef>
          <a:spcPct val="0"/>
        </a:spcBef>
        <a:spcAft>
          <a:spcPct val="0"/>
        </a:spcAft>
        <a:defRPr sz="2200" b="1">
          <a:solidFill>
            <a:schemeClr val="tx1"/>
          </a:solidFill>
          <a:latin typeface="Franklin Gothic Medium" pitchFamily="34" charset="0"/>
          <a:cs typeface="Arial" charset="0"/>
        </a:defRPr>
      </a:lvl7pPr>
      <a:lvl8pPr marL="1371600" algn="l" rtl="0" fontAlgn="base">
        <a:lnSpc>
          <a:spcPct val="80000"/>
        </a:lnSpc>
        <a:spcBef>
          <a:spcPct val="0"/>
        </a:spcBef>
        <a:spcAft>
          <a:spcPct val="0"/>
        </a:spcAft>
        <a:defRPr sz="2200" b="1">
          <a:solidFill>
            <a:schemeClr val="tx1"/>
          </a:solidFill>
          <a:latin typeface="Franklin Gothic Medium" pitchFamily="34" charset="0"/>
          <a:cs typeface="Arial" charset="0"/>
        </a:defRPr>
      </a:lvl8pPr>
      <a:lvl9pPr marL="1828800" algn="l" rtl="0" fontAlgn="base">
        <a:lnSpc>
          <a:spcPct val="80000"/>
        </a:lnSpc>
        <a:spcBef>
          <a:spcPct val="0"/>
        </a:spcBef>
        <a:spcAft>
          <a:spcPct val="0"/>
        </a:spcAft>
        <a:defRPr sz="2200" b="1">
          <a:solidFill>
            <a:schemeClr val="tx1"/>
          </a:solidFill>
          <a:latin typeface="Franklin Gothic Medium" pitchFamily="34" charset="0"/>
          <a:cs typeface="Arial" charset="0"/>
        </a:defRPr>
      </a:lvl9pPr>
    </p:titleStyle>
    <p:bodyStyle>
      <a:lvl1pPr marL="342900" indent="-342900" algn="just" rtl="0" eaLnBrk="0" fontAlgn="base" hangingPunct="0">
        <a:lnSpc>
          <a:spcPct val="110000"/>
        </a:lnSpc>
        <a:spcBef>
          <a:spcPct val="20000"/>
        </a:spcBef>
        <a:spcAft>
          <a:spcPct val="10000"/>
        </a:spcAft>
        <a:buClr>
          <a:schemeClr val="accent1"/>
        </a:buClr>
        <a:buFont typeface="Franklin Gothic Medium" pitchFamily="34" charset="0"/>
        <a:buChar char="4"/>
        <a:defRPr sz="2000">
          <a:solidFill>
            <a:schemeClr val="tx1"/>
          </a:solidFill>
          <a:latin typeface="+mn-lt"/>
          <a:ea typeface="Arial" charset="0"/>
          <a:cs typeface="+mn-cs"/>
        </a:defRPr>
      </a:lvl1pPr>
      <a:lvl2pPr marL="812800" indent="-277813" algn="just" rtl="0" eaLnBrk="0" fontAlgn="base" hangingPunct="0">
        <a:lnSpc>
          <a:spcPct val="110000"/>
        </a:lnSpc>
        <a:spcBef>
          <a:spcPct val="20000"/>
        </a:spcBef>
        <a:spcAft>
          <a:spcPct val="10000"/>
        </a:spcAft>
        <a:buClr>
          <a:schemeClr val="accent1"/>
        </a:buClr>
        <a:buFont typeface="Franklin Gothic Medium" pitchFamily="34" charset="0"/>
        <a:buChar char="4"/>
        <a:defRPr sz="2800" b="1">
          <a:solidFill>
            <a:schemeClr val="tx1"/>
          </a:solidFill>
          <a:latin typeface="+mn-lt"/>
          <a:ea typeface="Arial" charset="0"/>
          <a:cs typeface="+mn-cs"/>
        </a:defRPr>
      </a:lvl2pPr>
      <a:lvl3pPr marL="1524000" indent="-266700" algn="just" rtl="0" eaLnBrk="0" fontAlgn="base" hangingPunct="0">
        <a:lnSpc>
          <a:spcPct val="110000"/>
        </a:lnSpc>
        <a:spcBef>
          <a:spcPct val="20000"/>
        </a:spcBef>
        <a:spcAft>
          <a:spcPct val="10000"/>
        </a:spcAft>
        <a:buClr>
          <a:schemeClr val="accent1"/>
        </a:buClr>
        <a:buFont typeface="Franklin Gothic Medium" pitchFamily="34" charset="0"/>
        <a:buChar char="4"/>
        <a:defRPr sz="2400">
          <a:solidFill>
            <a:schemeClr val="tx1"/>
          </a:solidFill>
          <a:latin typeface="+mn-lt"/>
          <a:ea typeface="Arial" charset="0"/>
          <a:cs typeface="+mn-cs"/>
        </a:defRPr>
      </a:lvl3pPr>
      <a:lvl4pPr marL="2157413" indent="-188913" algn="just" rtl="0" eaLnBrk="0" fontAlgn="base" hangingPunct="0">
        <a:lnSpc>
          <a:spcPct val="110000"/>
        </a:lnSpc>
        <a:spcBef>
          <a:spcPct val="20000"/>
        </a:spcBef>
        <a:spcAft>
          <a:spcPct val="10000"/>
        </a:spcAft>
        <a:buClr>
          <a:schemeClr val="accent1"/>
        </a:buClr>
        <a:buFont typeface="Franklin Gothic Medium" pitchFamily="34" charset="0"/>
        <a:buChar char="4"/>
        <a:defRPr sz="1600" b="1">
          <a:solidFill>
            <a:schemeClr val="tx1"/>
          </a:solidFill>
          <a:latin typeface="+mn-lt"/>
          <a:ea typeface="Arial" charset="0"/>
          <a:cs typeface="+mn-cs"/>
        </a:defRPr>
      </a:lvl4pPr>
      <a:lvl5pPr marL="2603500" indent="-177800" algn="just" rtl="0" eaLnBrk="0" fontAlgn="base" hangingPunct="0">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ea typeface="Arial" charset="0"/>
          <a:cs typeface="+mn-cs"/>
        </a:defRPr>
      </a:lvl5pPr>
      <a:lvl6pPr marL="30607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6pPr>
      <a:lvl7pPr marL="35179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7pPr>
      <a:lvl8pPr marL="39751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8pPr>
      <a:lvl9pPr marL="44323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59074" name="Picture 8" descr="TIM_MENTE_SEM_FRONTEIRAS_0803 0008"/>
          <p:cNvPicPr>
            <a:picLocks noChangeAspect="1" noChangeArrowheads="1"/>
          </p:cNvPicPr>
          <p:nvPr/>
        </p:nvPicPr>
        <p:blipFill>
          <a:blip r:embed="rId16" cstate="print"/>
          <a:srcRect/>
          <a:stretch>
            <a:fillRect/>
          </a:stretch>
        </p:blipFill>
        <p:spPr bwMode="auto">
          <a:xfrm>
            <a:off x="0" y="-12700"/>
            <a:ext cx="9906000" cy="896938"/>
          </a:xfrm>
          <a:prstGeom prst="rect">
            <a:avLst/>
          </a:prstGeom>
          <a:noFill/>
          <a:ln w="9525">
            <a:noFill/>
            <a:miter lim="800000"/>
            <a:headEnd/>
            <a:tailEnd/>
          </a:ln>
        </p:spPr>
      </p:pic>
      <p:sp>
        <p:nvSpPr>
          <p:cNvPr id="6147" name="Rectangle 2"/>
          <p:cNvSpPr>
            <a:spLocks noChangeArrowheads="1"/>
          </p:cNvSpPr>
          <p:nvPr/>
        </p:nvSpPr>
        <p:spPr bwMode="auto">
          <a:xfrm>
            <a:off x="0" y="0"/>
            <a:ext cx="9906000" cy="6851650"/>
          </a:xfrm>
          <a:prstGeom prst="rect">
            <a:avLst/>
          </a:prstGeom>
          <a:noFill/>
          <a:ln w="12700" cap="sq">
            <a:solidFill>
              <a:srgbClr val="595959"/>
            </a:solidFill>
            <a:miter lim="800000"/>
            <a:headEnd type="none" w="sm" len="sm"/>
            <a:tailEnd type="none" w="sm" len="sm"/>
          </a:ln>
        </p:spPr>
        <p:txBody>
          <a:bodyPr wrap="none" anchor="ctr"/>
          <a:lstStyle/>
          <a:p>
            <a:pPr algn="r" eaLnBrk="0" hangingPunct="0">
              <a:defRPr/>
            </a:pPr>
            <a:endParaRPr lang="pt-BR" sz="1000" b="0" i="1">
              <a:solidFill>
                <a:srgbClr val="004990"/>
              </a:solidFill>
              <a:latin typeface="Franklin Gothic Medium" charset="0"/>
            </a:endParaRPr>
          </a:p>
        </p:txBody>
      </p:sp>
      <p:sp>
        <p:nvSpPr>
          <p:cNvPr id="259076" name="Rectangle 13"/>
          <p:cNvSpPr>
            <a:spLocks noGrp="1" noChangeArrowheads="1"/>
          </p:cNvSpPr>
          <p:nvPr>
            <p:ph type="title"/>
          </p:nvPr>
        </p:nvSpPr>
        <p:spPr bwMode="auto">
          <a:xfrm>
            <a:off x="307983" y="227013"/>
            <a:ext cx="79803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it-IT" smtClean="0"/>
              <a:t>Click to edit Master title style</a:t>
            </a:r>
          </a:p>
        </p:txBody>
      </p:sp>
      <p:sp>
        <p:nvSpPr>
          <p:cNvPr id="6149" name="Rectangle 37"/>
          <p:cNvSpPr>
            <a:spLocks noChangeArrowheads="1"/>
          </p:cNvSpPr>
          <p:nvPr>
            <p:custDataLst>
              <p:tags r:id="rId15"/>
            </p:custDataLst>
          </p:nvPr>
        </p:nvSpPr>
        <p:spPr bwMode="auto">
          <a:xfrm>
            <a:off x="9631741" y="6597664"/>
            <a:ext cx="125034" cy="123111"/>
          </a:xfrm>
          <a:prstGeom prst="rect">
            <a:avLst/>
          </a:prstGeom>
          <a:noFill/>
          <a:ln w="9525">
            <a:noFill/>
            <a:miter lim="800000"/>
            <a:headEnd/>
            <a:tailEnd/>
          </a:ln>
        </p:spPr>
        <p:txBody>
          <a:bodyPr wrap="none" lIns="0" tIns="0" rIns="0" bIns="0">
            <a:spAutoFit/>
          </a:bodyPr>
          <a:lstStyle/>
          <a:p>
            <a:pPr algn="r" defTabSz="762000" eaLnBrk="0" hangingPunct="0">
              <a:defRPr/>
            </a:pPr>
            <a:fld id="{BBA562A6-51A6-4343-A2F4-193AC92AA155}" type="slidenum">
              <a:rPr lang="it-IT" sz="800" b="0">
                <a:solidFill>
                  <a:srgbClr val="8995B4"/>
                </a:solidFill>
              </a:rPr>
              <a:pPr algn="r" defTabSz="762000" eaLnBrk="0" hangingPunct="0">
                <a:defRPr/>
              </a:pPr>
              <a:t>‹nº›</a:t>
            </a:fld>
            <a:endParaRPr lang="it-IT" sz="800" b="0">
              <a:solidFill>
                <a:srgbClr val="8995B4"/>
              </a:solidFill>
            </a:endParaRPr>
          </a:p>
        </p:txBody>
      </p:sp>
      <p:pic>
        <p:nvPicPr>
          <p:cNvPr id="259078" name="Picture 10" descr="LogosTIM2009_VoceSemFronteiras"/>
          <p:cNvPicPr>
            <a:picLocks noChangeAspect="1" noChangeArrowheads="1"/>
          </p:cNvPicPr>
          <p:nvPr/>
        </p:nvPicPr>
        <p:blipFill>
          <a:blip r:embed="rId17" cstate="email">
            <a:clrChange>
              <a:clrFrom>
                <a:srgbClr val="000000"/>
              </a:clrFrom>
              <a:clrTo>
                <a:srgbClr val="000000">
                  <a:alpha val="0"/>
                </a:srgbClr>
              </a:clrTo>
            </a:clrChange>
            <a:extLst>
              <a:ext uri="{28A0092B-C50C-407E-A947-70E740481C1C}">
                <a14:useLocalDpi xmlns="" xmlns:a14="http://schemas.microsoft.com/office/drawing/2010/main"/>
              </a:ext>
            </a:extLst>
          </a:blip>
          <a:srcRect/>
          <a:stretch>
            <a:fillRect/>
          </a:stretch>
        </p:blipFill>
        <p:spPr bwMode="auto">
          <a:xfrm>
            <a:off x="8374063" y="131766"/>
            <a:ext cx="1249362" cy="61753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279" r:id="rId1"/>
    <p:sldLayoutId id="2147484278" r:id="rId2"/>
    <p:sldLayoutId id="2147484277" r:id="rId3"/>
    <p:sldLayoutId id="2147484276" r:id="rId4"/>
    <p:sldLayoutId id="2147484275" r:id="rId5"/>
    <p:sldLayoutId id="2147484274" r:id="rId6"/>
    <p:sldLayoutId id="2147484273" r:id="rId7"/>
    <p:sldLayoutId id="2147484272" r:id="rId8"/>
    <p:sldLayoutId id="2147484271" r:id="rId9"/>
    <p:sldLayoutId id="2147484270" r:id="rId10"/>
    <p:sldLayoutId id="2147484269" r:id="rId11"/>
    <p:sldLayoutId id="2147484268" r:id="rId12"/>
    <p:sldLayoutId id="2147484267" r:id="rId13"/>
  </p:sldLayoutIdLst>
  <p:txStyles>
    <p:titleStyle>
      <a:lvl1pPr algn="l" rtl="0" eaLnBrk="0" fontAlgn="base" hangingPunct="0">
        <a:lnSpc>
          <a:spcPct val="80000"/>
        </a:lnSpc>
        <a:spcBef>
          <a:spcPct val="0"/>
        </a:spcBef>
        <a:spcAft>
          <a:spcPct val="0"/>
        </a:spcAft>
        <a:defRPr sz="2600" b="1">
          <a:solidFill>
            <a:schemeClr val="bg1"/>
          </a:solidFill>
          <a:latin typeface="+mj-lt"/>
          <a:ea typeface="Arial" charset="0"/>
          <a:cs typeface="+mj-cs"/>
        </a:defRPr>
      </a:lvl1pPr>
      <a:lvl2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2pPr>
      <a:lvl3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3pPr>
      <a:lvl4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4pPr>
      <a:lvl5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5pPr>
      <a:lvl6pPr marL="4572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6pPr>
      <a:lvl7pPr marL="9144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7pPr>
      <a:lvl8pPr marL="13716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8pPr>
      <a:lvl9pPr marL="18288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9pPr>
    </p:titleStyle>
    <p:bodyStyle>
      <a:lvl1pPr marL="342900" indent="-342900" algn="just" rtl="0" eaLnBrk="0" fontAlgn="base" hangingPunct="0">
        <a:lnSpc>
          <a:spcPct val="110000"/>
        </a:lnSpc>
        <a:spcBef>
          <a:spcPct val="20000"/>
        </a:spcBef>
        <a:spcAft>
          <a:spcPct val="10000"/>
        </a:spcAft>
        <a:buClr>
          <a:schemeClr val="accent1"/>
        </a:buClr>
        <a:buFont typeface="Franklin Gothic Medium" pitchFamily="34" charset="0"/>
        <a:buChar char="4"/>
        <a:defRPr sz="2000">
          <a:solidFill>
            <a:schemeClr val="tx1"/>
          </a:solidFill>
          <a:latin typeface="+mn-lt"/>
          <a:ea typeface="Arial" charset="0"/>
          <a:cs typeface="+mn-cs"/>
        </a:defRPr>
      </a:lvl1pPr>
      <a:lvl2pPr marL="812800" indent="-277813" algn="just" rtl="0" eaLnBrk="0" fontAlgn="base" hangingPunct="0">
        <a:lnSpc>
          <a:spcPct val="110000"/>
        </a:lnSpc>
        <a:spcBef>
          <a:spcPct val="20000"/>
        </a:spcBef>
        <a:spcAft>
          <a:spcPct val="10000"/>
        </a:spcAft>
        <a:buClr>
          <a:schemeClr val="accent1"/>
        </a:buClr>
        <a:buFont typeface="Franklin Gothic Medium" pitchFamily="34" charset="0"/>
        <a:buChar char="4"/>
        <a:defRPr sz="2800" b="1">
          <a:solidFill>
            <a:schemeClr val="tx1"/>
          </a:solidFill>
          <a:latin typeface="+mn-lt"/>
          <a:ea typeface="Arial" charset="0"/>
          <a:cs typeface="+mn-cs"/>
        </a:defRPr>
      </a:lvl2pPr>
      <a:lvl3pPr marL="1524000" indent="-266700" algn="just" rtl="0" eaLnBrk="0" fontAlgn="base" hangingPunct="0">
        <a:lnSpc>
          <a:spcPct val="110000"/>
        </a:lnSpc>
        <a:spcBef>
          <a:spcPct val="20000"/>
        </a:spcBef>
        <a:spcAft>
          <a:spcPct val="10000"/>
        </a:spcAft>
        <a:buClr>
          <a:schemeClr val="accent1"/>
        </a:buClr>
        <a:buFont typeface="Franklin Gothic Medium" pitchFamily="34" charset="0"/>
        <a:buChar char="4"/>
        <a:defRPr sz="2400">
          <a:solidFill>
            <a:schemeClr val="tx1"/>
          </a:solidFill>
          <a:latin typeface="+mn-lt"/>
          <a:ea typeface="Arial" charset="0"/>
          <a:cs typeface="+mn-cs"/>
        </a:defRPr>
      </a:lvl3pPr>
      <a:lvl4pPr marL="2157413" indent="-188913" algn="just" rtl="0" eaLnBrk="0" fontAlgn="base" hangingPunct="0">
        <a:lnSpc>
          <a:spcPct val="110000"/>
        </a:lnSpc>
        <a:spcBef>
          <a:spcPct val="20000"/>
        </a:spcBef>
        <a:spcAft>
          <a:spcPct val="10000"/>
        </a:spcAft>
        <a:buClr>
          <a:schemeClr val="accent1"/>
        </a:buClr>
        <a:buFont typeface="Franklin Gothic Medium" pitchFamily="34" charset="0"/>
        <a:buChar char="4"/>
        <a:defRPr sz="1600" b="1">
          <a:solidFill>
            <a:schemeClr val="tx1"/>
          </a:solidFill>
          <a:latin typeface="+mn-lt"/>
          <a:ea typeface="Arial" charset="0"/>
          <a:cs typeface="+mn-cs"/>
        </a:defRPr>
      </a:lvl4pPr>
      <a:lvl5pPr marL="2603500" indent="-177800" algn="just" rtl="0" eaLnBrk="0" fontAlgn="base" hangingPunct="0">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ea typeface="Arial" charset="0"/>
          <a:cs typeface="+mn-cs"/>
        </a:defRPr>
      </a:lvl5pPr>
      <a:lvl6pPr marL="30607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6pPr>
      <a:lvl7pPr marL="35179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7pPr>
      <a:lvl8pPr marL="39751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8pPr>
      <a:lvl9pPr marL="44323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73410" name="Picture 8" descr="TIM_MENTE_SEM_FRONTEIRAS_0803 0008"/>
          <p:cNvPicPr>
            <a:picLocks noChangeAspect="1" noChangeArrowheads="1"/>
          </p:cNvPicPr>
          <p:nvPr/>
        </p:nvPicPr>
        <p:blipFill>
          <a:blip r:embed="rId16" cstate="print"/>
          <a:srcRect/>
          <a:stretch>
            <a:fillRect/>
          </a:stretch>
        </p:blipFill>
        <p:spPr bwMode="auto">
          <a:xfrm>
            <a:off x="0" y="-12700"/>
            <a:ext cx="9906000" cy="896938"/>
          </a:xfrm>
          <a:prstGeom prst="rect">
            <a:avLst/>
          </a:prstGeom>
          <a:noFill/>
          <a:ln w="9525">
            <a:noFill/>
            <a:miter lim="800000"/>
            <a:headEnd/>
            <a:tailEnd/>
          </a:ln>
        </p:spPr>
      </p:pic>
      <p:sp>
        <p:nvSpPr>
          <p:cNvPr id="6147" name="Rectangle 2"/>
          <p:cNvSpPr>
            <a:spLocks noChangeArrowheads="1"/>
          </p:cNvSpPr>
          <p:nvPr/>
        </p:nvSpPr>
        <p:spPr bwMode="auto">
          <a:xfrm>
            <a:off x="0" y="0"/>
            <a:ext cx="9906000" cy="6851650"/>
          </a:xfrm>
          <a:prstGeom prst="rect">
            <a:avLst/>
          </a:prstGeom>
          <a:noFill/>
          <a:ln w="12700" cap="sq">
            <a:solidFill>
              <a:srgbClr val="595959"/>
            </a:solidFill>
            <a:miter lim="800000"/>
            <a:headEnd type="none" w="sm" len="sm"/>
            <a:tailEnd type="none" w="sm" len="sm"/>
          </a:ln>
          <a:extLst/>
        </p:spPr>
        <p:txBody>
          <a:bodyPr wrap="none" anchor="ctr"/>
          <a:lstStyle/>
          <a:p>
            <a:pPr algn="r" eaLnBrk="0" hangingPunct="0">
              <a:defRPr/>
            </a:pPr>
            <a:endParaRPr lang="pt-BR" sz="1000" b="0" i="1">
              <a:solidFill>
                <a:srgbClr val="004990"/>
              </a:solidFill>
              <a:latin typeface="Franklin Gothic Medium" pitchFamily="34" charset="0"/>
              <a:cs typeface="Arial" pitchFamily="34" charset="0"/>
            </a:endParaRPr>
          </a:p>
        </p:txBody>
      </p:sp>
      <p:sp>
        <p:nvSpPr>
          <p:cNvPr id="273412" name="Rectangle 13"/>
          <p:cNvSpPr>
            <a:spLocks noGrp="1" noChangeArrowheads="1"/>
          </p:cNvSpPr>
          <p:nvPr>
            <p:ph type="title"/>
          </p:nvPr>
        </p:nvSpPr>
        <p:spPr bwMode="auto">
          <a:xfrm>
            <a:off x="307983" y="227013"/>
            <a:ext cx="79803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it-IT" smtClean="0"/>
              <a:t>Click to edit Master title style</a:t>
            </a:r>
          </a:p>
        </p:txBody>
      </p:sp>
      <p:sp>
        <p:nvSpPr>
          <p:cNvPr id="6149" name="Rectangle 37"/>
          <p:cNvSpPr>
            <a:spLocks noChangeArrowheads="1"/>
          </p:cNvSpPr>
          <p:nvPr>
            <p:custDataLst>
              <p:tags r:id="rId15"/>
            </p:custDataLst>
          </p:nvPr>
        </p:nvSpPr>
        <p:spPr bwMode="auto">
          <a:xfrm>
            <a:off x="9631741" y="6597664"/>
            <a:ext cx="125034" cy="123111"/>
          </a:xfrm>
          <a:prstGeom prst="rect">
            <a:avLst/>
          </a:prstGeom>
          <a:noFill/>
          <a:ln>
            <a:noFill/>
          </a:ln>
          <a:extLst/>
        </p:spPr>
        <p:txBody>
          <a:bodyPr wrap="none" lIns="0" tIns="0" rIns="0" bIns="0">
            <a:spAutoFit/>
          </a:bodyPr>
          <a:lstStyle/>
          <a:p>
            <a:pPr algn="r" defTabSz="762000" eaLnBrk="0" hangingPunct="0">
              <a:defRPr/>
            </a:pPr>
            <a:fld id="{F52EE5D3-7FE5-446B-B04C-2B048D849734}" type="slidenum">
              <a:rPr lang="it-IT" sz="800" b="0">
                <a:solidFill>
                  <a:srgbClr val="8995B4"/>
                </a:solidFill>
                <a:latin typeface="Arial" pitchFamily="34" charset="0"/>
                <a:cs typeface="Arial" pitchFamily="34" charset="0"/>
              </a:rPr>
              <a:pPr algn="r" defTabSz="762000" eaLnBrk="0" hangingPunct="0">
                <a:defRPr/>
              </a:pPr>
              <a:t>‹nº›</a:t>
            </a:fld>
            <a:endParaRPr lang="it-IT" sz="800" b="0">
              <a:solidFill>
                <a:srgbClr val="8995B4"/>
              </a:solidFill>
              <a:latin typeface="Arial" pitchFamily="34" charset="0"/>
              <a:cs typeface="Arial" pitchFamily="34" charset="0"/>
            </a:endParaRPr>
          </a:p>
        </p:txBody>
      </p:sp>
      <p:pic>
        <p:nvPicPr>
          <p:cNvPr id="273414" name="Picture 10" descr="LogosTIM2009_VoceSemFronteiras"/>
          <p:cNvPicPr>
            <a:picLocks noChangeAspect="1" noChangeArrowheads="1"/>
          </p:cNvPicPr>
          <p:nvPr/>
        </p:nvPicPr>
        <p:blipFill>
          <a:blip r:embed="rId17" cstate="email">
            <a:clrChange>
              <a:clrFrom>
                <a:srgbClr val="000000"/>
              </a:clrFrom>
              <a:clrTo>
                <a:srgbClr val="000000">
                  <a:alpha val="0"/>
                </a:srgbClr>
              </a:clrTo>
            </a:clrChange>
            <a:extLst>
              <a:ext uri="{28A0092B-C50C-407E-A947-70E740481C1C}">
                <a14:useLocalDpi xmlns="" xmlns:a14="http://schemas.microsoft.com/office/drawing/2010/main"/>
              </a:ext>
            </a:extLst>
          </a:blip>
          <a:srcRect/>
          <a:stretch>
            <a:fillRect/>
          </a:stretch>
        </p:blipFill>
        <p:spPr bwMode="auto">
          <a:xfrm>
            <a:off x="8374063" y="131766"/>
            <a:ext cx="1249362" cy="61753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292" r:id="rId1"/>
    <p:sldLayoutId id="2147484291" r:id="rId2"/>
    <p:sldLayoutId id="2147484290" r:id="rId3"/>
    <p:sldLayoutId id="2147484289" r:id="rId4"/>
    <p:sldLayoutId id="2147484288" r:id="rId5"/>
    <p:sldLayoutId id="2147484287" r:id="rId6"/>
    <p:sldLayoutId id="2147484286" r:id="rId7"/>
    <p:sldLayoutId id="2147484285" r:id="rId8"/>
    <p:sldLayoutId id="2147484284" r:id="rId9"/>
    <p:sldLayoutId id="2147484283" r:id="rId10"/>
    <p:sldLayoutId id="2147484282" r:id="rId11"/>
    <p:sldLayoutId id="2147484281" r:id="rId12"/>
    <p:sldLayoutId id="2147484280" r:id="rId13"/>
  </p:sldLayoutIdLst>
  <p:txStyles>
    <p:titleStyle>
      <a:lvl1pPr algn="l" rtl="0" eaLnBrk="0" fontAlgn="base" hangingPunct="0">
        <a:lnSpc>
          <a:spcPct val="80000"/>
        </a:lnSpc>
        <a:spcBef>
          <a:spcPct val="0"/>
        </a:spcBef>
        <a:spcAft>
          <a:spcPct val="0"/>
        </a:spcAft>
        <a:defRPr sz="2600" b="1">
          <a:solidFill>
            <a:schemeClr val="bg1"/>
          </a:solidFill>
          <a:latin typeface="+mj-lt"/>
          <a:ea typeface="+mj-ea"/>
          <a:cs typeface="+mj-cs"/>
        </a:defRPr>
      </a:lvl1pPr>
      <a:lvl2pPr algn="l" rtl="0" eaLnBrk="0" fontAlgn="base" hangingPunct="0">
        <a:lnSpc>
          <a:spcPct val="80000"/>
        </a:lnSpc>
        <a:spcBef>
          <a:spcPct val="0"/>
        </a:spcBef>
        <a:spcAft>
          <a:spcPct val="0"/>
        </a:spcAft>
        <a:defRPr sz="2600" b="1">
          <a:solidFill>
            <a:schemeClr val="bg1"/>
          </a:solidFill>
          <a:latin typeface="Franklin Gothic Medium" pitchFamily="34" charset="0"/>
          <a:cs typeface="Arial" pitchFamily="34" charset="0"/>
        </a:defRPr>
      </a:lvl2pPr>
      <a:lvl3pPr algn="l" rtl="0" eaLnBrk="0" fontAlgn="base" hangingPunct="0">
        <a:lnSpc>
          <a:spcPct val="80000"/>
        </a:lnSpc>
        <a:spcBef>
          <a:spcPct val="0"/>
        </a:spcBef>
        <a:spcAft>
          <a:spcPct val="0"/>
        </a:spcAft>
        <a:defRPr sz="2600" b="1">
          <a:solidFill>
            <a:schemeClr val="bg1"/>
          </a:solidFill>
          <a:latin typeface="Franklin Gothic Medium" pitchFamily="34" charset="0"/>
          <a:cs typeface="Arial" pitchFamily="34" charset="0"/>
        </a:defRPr>
      </a:lvl3pPr>
      <a:lvl4pPr algn="l" rtl="0" eaLnBrk="0" fontAlgn="base" hangingPunct="0">
        <a:lnSpc>
          <a:spcPct val="80000"/>
        </a:lnSpc>
        <a:spcBef>
          <a:spcPct val="0"/>
        </a:spcBef>
        <a:spcAft>
          <a:spcPct val="0"/>
        </a:spcAft>
        <a:defRPr sz="2600" b="1">
          <a:solidFill>
            <a:schemeClr val="bg1"/>
          </a:solidFill>
          <a:latin typeface="Franklin Gothic Medium" pitchFamily="34" charset="0"/>
          <a:cs typeface="Arial" pitchFamily="34" charset="0"/>
        </a:defRPr>
      </a:lvl4pPr>
      <a:lvl5pPr algn="l" rtl="0" eaLnBrk="0" fontAlgn="base" hangingPunct="0">
        <a:lnSpc>
          <a:spcPct val="80000"/>
        </a:lnSpc>
        <a:spcBef>
          <a:spcPct val="0"/>
        </a:spcBef>
        <a:spcAft>
          <a:spcPct val="0"/>
        </a:spcAft>
        <a:defRPr sz="2600" b="1">
          <a:solidFill>
            <a:schemeClr val="bg1"/>
          </a:solidFill>
          <a:latin typeface="Franklin Gothic Medium" pitchFamily="34" charset="0"/>
          <a:cs typeface="Arial" pitchFamily="34" charset="0"/>
        </a:defRPr>
      </a:lvl5pPr>
      <a:lvl6pPr marL="4572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6pPr>
      <a:lvl7pPr marL="9144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7pPr>
      <a:lvl8pPr marL="13716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8pPr>
      <a:lvl9pPr marL="18288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9pPr>
    </p:titleStyle>
    <p:bodyStyle>
      <a:lvl1pPr marL="342900" indent="-342900" algn="just" rtl="0" eaLnBrk="0" fontAlgn="base" hangingPunct="0">
        <a:lnSpc>
          <a:spcPct val="110000"/>
        </a:lnSpc>
        <a:spcBef>
          <a:spcPct val="20000"/>
        </a:spcBef>
        <a:spcAft>
          <a:spcPct val="10000"/>
        </a:spcAft>
        <a:buClr>
          <a:schemeClr val="accent1"/>
        </a:buClr>
        <a:buFont typeface="Franklin Gothic Medium" pitchFamily="34" charset="0"/>
        <a:buChar char="4"/>
        <a:defRPr sz="2000">
          <a:solidFill>
            <a:schemeClr val="tx1"/>
          </a:solidFill>
          <a:latin typeface="+mn-lt"/>
          <a:ea typeface="+mn-ea"/>
          <a:cs typeface="+mn-cs"/>
        </a:defRPr>
      </a:lvl1pPr>
      <a:lvl2pPr marL="812800" indent="-277813" algn="just" rtl="0" eaLnBrk="0" fontAlgn="base" hangingPunct="0">
        <a:lnSpc>
          <a:spcPct val="110000"/>
        </a:lnSpc>
        <a:spcBef>
          <a:spcPct val="20000"/>
        </a:spcBef>
        <a:spcAft>
          <a:spcPct val="10000"/>
        </a:spcAft>
        <a:buClr>
          <a:schemeClr val="accent1"/>
        </a:buClr>
        <a:buFont typeface="Franklin Gothic Medium" pitchFamily="34" charset="0"/>
        <a:buChar char="4"/>
        <a:defRPr sz="2800" b="1">
          <a:solidFill>
            <a:schemeClr val="tx1"/>
          </a:solidFill>
          <a:latin typeface="+mn-lt"/>
          <a:cs typeface="+mn-cs"/>
        </a:defRPr>
      </a:lvl2pPr>
      <a:lvl3pPr marL="1524000" indent="-266700" algn="just" rtl="0" eaLnBrk="0" fontAlgn="base" hangingPunct="0">
        <a:lnSpc>
          <a:spcPct val="110000"/>
        </a:lnSpc>
        <a:spcBef>
          <a:spcPct val="20000"/>
        </a:spcBef>
        <a:spcAft>
          <a:spcPct val="10000"/>
        </a:spcAft>
        <a:buClr>
          <a:schemeClr val="accent1"/>
        </a:buClr>
        <a:buFont typeface="Franklin Gothic Medium" pitchFamily="34" charset="0"/>
        <a:buChar char="4"/>
        <a:defRPr sz="2400">
          <a:solidFill>
            <a:schemeClr val="tx1"/>
          </a:solidFill>
          <a:latin typeface="+mn-lt"/>
          <a:cs typeface="+mn-cs"/>
        </a:defRPr>
      </a:lvl3pPr>
      <a:lvl4pPr marL="2157413" indent="-188913" algn="just" rtl="0" eaLnBrk="0" fontAlgn="base" hangingPunct="0">
        <a:lnSpc>
          <a:spcPct val="110000"/>
        </a:lnSpc>
        <a:spcBef>
          <a:spcPct val="20000"/>
        </a:spcBef>
        <a:spcAft>
          <a:spcPct val="10000"/>
        </a:spcAft>
        <a:buClr>
          <a:schemeClr val="accent1"/>
        </a:buClr>
        <a:buFont typeface="Franklin Gothic Medium" pitchFamily="34" charset="0"/>
        <a:buChar char="4"/>
        <a:defRPr sz="1600" b="1">
          <a:solidFill>
            <a:schemeClr val="tx1"/>
          </a:solidFill>
          <a:latin typeface="+mn-lt"/>
          <a:cs typeface="+mn-cs"/>
        </a:defRPr>
      </a:lvl4pPr>
      <a:lvl5pPr marL="2603500" indent="-177800" algn="just" rtl="0" eaLnBrk="0" fontAlgn="base" hangingPunct="0">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5pPr>
      <a:lvl6pPr marL="30607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6pPr>
      <a:lvl7pPr marL="35179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7pPr>
      <a:lvl8pPr marL="39751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8pPr>
      <a:lvl9pPr marL="44323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87746" name="Picture 8" descr="TIM_MENTE_SEM_FRONTEIRAS_0803 0008"/>
          <p:cNvPicPr>
            <a:picLocks noChangeAspect="1" noChangeArrowheads="1"/>
          </p:cNvPicPr>
          <p:nvPr/>
        </p:nvPicPr>
        <p:blipFill>
          <a:blip r:embed="rId14" cstate="print"/>
          <a:srcRect/>
          <a:stretch>
            <a:fillRect/>
          </a:stretch>
        </p:blipFill>
        <p:spPr bwMode="auto">
          <a:xfrm>
            <a:off x="0" y="-12700"/>
            <a:ext cx="9906000" cy="896938"/>
          </a:xfrm>
          <a:prstGeom prst="rect">
            <a:avLst/>
          </a:prstGeom>
          <a:noFill/>
          <a:ln w="9525">
            <a:noFill/>
            <a:miter lim="800000"/>
            <a:headEnd/>
            <a:tailEnd/>
          </a:ln>
        </p:spPr>
      </p:pic>
      <p:sp>
        <p:nvSpPr>
          <p:cNvPr id="694275" name="Rectangle 2"/>
          <p:cNvSpPr>
            <a:spLocks noChangeArrowheads="1"/>
          </p:cNvSpPr>
          <p:nvPr/>
        </p:nvSpPr>
        <p:spPr bwMode="auto">
          <a:xfrm>
            <a:off x="0" y="0"/>
            <a:ext cx="9906000" cy="6851650"/>
          </a:xfrm>
          <a:prstGeom prst="rect">
            <a:avLst/>
          </a:prstGeom>
          <a:noFill/>
          <a:ln w="12700" cap="sq">
            <a:solidFill>
              <a:srgbClr val="595959"/>
            </a:solidFill>
            <a:miter lim="800000"/>
            <a:headEnd type="none" w="sm" len="sm"/>
            <a:tailEnd type="none" w="sm" len="sm"/>
          </a:ln>
        </p:spPr>
        <p:txBody>
          <a:bodyPr wrap="none" anchor="ctr"/>
          <a:lstStyle/>
          <a:p>
            <a:pPr algn="r" eaLnBrk="0" hangingPunct="0">
              <a:defRPr/>
            </a:pPr>
            <a:endParaRPr lang="pt-BR" sz="1000" b="0" i="1">
              <a:solidFill>
                <a:srgbClr val="004990"/>
              </a:solidFill>
              <a:latin typeface="Franklin Gothic Medium" pitchFamily="34" charset="0"/>
            </a:endParaRPr>
          </a:p>
        </p:txBody>
      </p:sp>
      <p:sp>
        <p:nvSpPr>
          <p:cNvPr id="287748" name="Rectangle 13"/>
          <p:cNvSpPr>
            <a:spLocks noGrp="1" noChangeArrowheads="1"/>
          </p:cNvSpPr>
          <p:nvPr>
            <p:ph type="title"/>
          </p:nvPr>
        </p:nvSpPr>
        <p:spPr bwMode="auto">
          <a:xfrm>
            <a:off x="307983" y="227013"/>
            <a:ext cx="79803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it-IT" smtClean="0"/>
              <a:t>Click to edit Master title style</a:t>
            </a:r>
          </a:p>
        </p:txBody>
      </p:sp>
      <p:sp>
        <p:nvSpPr>
          <p:cNvPr id="694277" name="Rectangle 37"/>
          <p:cNvSpPr>
            <a:spLocks noChangeArrowheads="1"/>
          </p:cNvSpPr>
          <p:nvPr>
            <p:custDataLst>
              <p:tags r:id="rId13"/>
            </p:custDataLst>
          </p:nvPr>
        </p:nvSpPr>
        <p:spPr bwMode="auto">
          <a:xfrm>
            <a:off x="9631741" y="6597663"/>
            <a:ext cx="125034" cy="123111"/>
          </a:xfrm>
          <a:prstGeom prst="rect">
            <a:avLst/>
          </a:prstGeom>
          <a:noFill/>
          <a:ln w="9525">
            <a:noFill/>
            <a:miter lim="800000"/>
            <a:headEnd/>
            <a:tailEnd/>
          </a:ln>
        </p:spPr>
        <p:txBody>
          <a:bodyPr wrap="none" lIns="0" tIns="0" rIns="0" bIns="0">
            <a:spAutoFit/>
          </a:bodyPr>
          <a:lstStyle/>
          <a:p>
            <a:pPr algn="r" defTabSz="762000" eaLnBrk="0" hangingPunct="0">
              <a:defRPr/>
            </a:pPr>
            <a:fld id="{9043E4DE-9D19-48A8-AD10-9701F6FF1FCF}" type="slidenum">
              <a:rPr lang="it-IT" sz="800" b="0">
                <a:solidFill>
                  <a:srgbClr val="8995B4"/>
                </a:solidFill>
              </a:rPr>
              <a:pPr algn="r" defTabSz="762000" eaLnBrk="0" hangingPunct="0">
                <a:defRPr/>
              </a:pPr>
              <a:t>‹nº›</a:t>
            </a:fld>
            <a:endParaRPr lang="it-IT" sz="800" b="0">
              <a:solidFill>
                <a:srgbClr val="8995B4"/>
              </a:solidFill>
            </a:endParaRPr>
          </a:p>
        </p:txBody>
      </p:sp>
      <p:pic>
        <p:nvPicPr>
          <p:cNvPr id="287750" name="Picture 10" descr="LogosTIM2009_VoceSemFronteiras"/>
          <p:cNvPicPr>
            <a:picLocks noChangeAspect="1" noChangeArrowheads="1"/>
          </p:cNvPicPr>
          <p:nvPr/>
        </p:nvPicPr>
        <p:blipFill>
          <a:blip r:embed="rId15" cstate="email">
            <a:clrChange>
              <a:clrFrom>
                <a:srgbClr val="000000"/>
              </a:clrFrom>
              <a:clrTo>
                <a:srgbClr val="000000">
                  <a:alpha val="0"/>
                </a:srgbClr>
              </a:clrTo>
            </a:clrChange>
            <a:extLst>
              <a:ext uri="{28A0092B-C50C-407E-A947-70E740481C1C}">
                <a14:useLocalDpi xmlns="" xmlns:a14="http://schemas.microsoft.com/office/drawing/2010/main"/>
              </a:ext>
            </a:extLst>
          </a:blip>
          <a:srcRect/>
          <a:stretch>
            <a:fillRect/>
          </a:stretch>
        </p:blipFill>
        <p:spPr bwMode="auto">
          <a:xfrm>
            <a:off x="8374063" y="131766"/>
            <a:ext cx="1249362" cy="61753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303" r:id="rId1"/>
    <p:sldLayoutId id="2147484302" r:id="rId2"/>
    <p:sldLayoutId id="2147484301" r:id="rId3"/>
    <p:sldLayoutId id="2147484300" r:id="rId4"/>
    <p:sldLayoutId id="2147484299" r:id="rId5"/>
    <p:sldLayoutId id="2147484298" r:id="rId6"/>
    <p:sldLayoutId id="2147484297" r:id="rId7"/>
    <p:sldLayoutId id="2147484296" r:id="rId8"/>
    <p:sldLayoutId id="2147484295" r:id="rId9"/>
    <p:sldLayoutId id="2147484294" r:id="rId10"/>
    <p:sldLayoutId id="2147484293" r:id="rId11"/>
  </p:sldLayoutIdLst>
  <p:txStyles>
    <p:titleStyle>
      <a:lvl1pPr algn="l" rtl="0" eaLnBrk="0" fontAlgn="base" hangingPunct="0">
        <a:lnSpc>
          <a:spcPct val="80000"/>
        </a:lnSpc>
        <a:spcBef>
          <a:spcPct val="0"/>
        </a:spcBef>
        <a:spcAft>
          <a:spcPct val="0"/>
        </a:spcAft>
        <a:defRPr sz="2600" b="1">
          <a:solidFill>
            <a:schemeClr val="bg1"/>
          </a:solidFill>
          <a:latin typeface="+mj-lt"/>
          <a:ea typeface="+mj-ea"/>
          <a:cs typeface="+mj-cs"/>
        </a:defRPr>
      </a:lvl1pPr>
      <a:lvl2pPr algn="l" rtl="0" eaLnBrk="0" fontAlgn="base" hangingPunct="0">
        <a:lnSpc>
          <a:spcPct val="80000"/>
        </a:lnSpc>
        <a:spcBef>
          <a:spcPct val="0"/>
        </a:spcBef>
        <a:spcAft>
          <a:spcPct val="0"/>
        </a:spcAft>
        <a:defRPr sz="2600" b="1">
          <a:solidFill>
            <a:schemeClr val="bg1"/>
          </a:solidFill>
          <a:latin typeface="Franklin Gothic Medium" pitchFamily="34" charset="0"/>
          <a:cs typeface="Arial" charset="0"/>
        </a:defRPr>
      </a:lvl2pPr>
      <a:lvl3pPr algn="l" rtl="0" eaLnBrk="0" fontAlgn="base" hangingPunct="0">
        <a:lnSpc>
          <a:spcPct val="80000"/>
        </a:lnSpc>
        <a:spcBef>
          <a:spcPct val="0"/>
        </a:spcBef>
        <a:spcAft>
          <a:spcPct val="0"/>
        </a:spcAft>
        <a:defRPr sz="2600" b="1">
          <a:solidFill>
            <a:schemeClr val="bg1"/>
          </a:solidFill>
          <a:latin typeface="Franklin Gothic Medium" pitchFamily="34" charset="0"/>
          <a:cs typeface="Arial" charset="0"/>
        </a:defRPr>
      </a:lvl3pPr>
      <a:lvl4pPr algn="l" rtl="0" eaLnBrk="0" fontAlgn="base" hangingPunct="0">
        <a:lnSpc>
          <a:spcPct val="80000"/>
        </a:lnSpc>
        <a:spcBef>
          <a:spcPct val="0"/>
        </a:spcBef>
        <a:spcAft>
          <a:spcPct val="0"/>
        </a:spcAft>
        <a:defRPr sz="2600" b="1">
          <a:solidFill>
            <a:schemeClr val="bg1"/>
          </a:solidFill>
          <a:latin typeface="Franklin Gothic Medium" pitchFamily="34" charset="0"/>
          <a:cs typeface="Arial" charset="0"/>
        </a:defRPr>
      </a:lvl4pPr>
      <a:lvl5pPr algn="l" rtl="0" eaLnBrk="0" fontAlgn="base" hangingPunct="0">
        <a:lnSpc>
          <a:spcPct val="80000"/>
        </a:lnSpc>
        <a:spcBef>
          <a:spcPct val="0"/>
        </a:spcBef>
        <a:spcAft>
          <a:spcPct val="0"/>
        </a:spcAft>
        <a:defRPr sz="2600" b="1">
          <a:solidFill>
            <a:schemeClr val="bg1"/>
          </a:solidFill>
          <a:latin typeface="Franklin Gothic Medium" pitchFamily="34" charset="0"/>
          <a:cs typeface="Arial" charset="0"/>
        </a:defRPr>
      </a:lvl5pPr>
      <a:lvl6pPr marL="457200" algn="l" rtl="0" fontAlgn="base">
        <a:lnSpc>
          <a:spcPct val="80000"/>
        </a:lnSpc>
        <a:spcBef>
          <a:spcPct val="0"/>
        </a:spcBef>
        <a:spcAft>
          <a:spcPct val="0"/>
        </a:spcAft>
        <a:defRPr sz="2600" b="1">
          <a:solidFill>
            <a:schemeClr val="bg1"/>
          </a:solidFill>
          <a:latin typeface="Franklin Gothic Medium" pitchFamily="34" charset="0"/>
          <a:cs typeface="Arial" charset="0"/>
        </a:defRPr>
      </a:lvl6pPr>
      <a:lvl7pPr marL="914400" algn="l" rtl="0" fontAlgn="base">
        <a:lnSpc>
          <a:spcPct val="80000"/>
        </a:lnSpc>
        <a:spcBef>
          <a:spcPct val="0"/>
        </a:spcBef>
        <a:spcAft>
          <a:spcPct val="0"/>
        </a:spcAft>
        <a:defRPr sz="2600" b="1">
          <a:solidFill>
            <a:schemeClr val="bg1"/>
          </a:solidFill>
          <a:latin typeface="Franklin Gothic Medium" pitchFamily="34" charset="0"/>
          <a:cs typeface="Arial" charset="0"/>
        </a:defRPr>
      </a:lvl7pPr>
      <a:lvl8pPr marL="1371600" algn="l" rtl="0" fontAlgn="base">
        <a:lnSpc>
          <a:spcPct val="80000"/>
        </a:lnSpc>
        <a:spcBef>
          <a:spcPct val="0"/>
        </a:spcBef>
        <a:spcAft>
          <a:spcPct val="0"/>
        </a:spcAft>
        <a:defRPr sz="2600" b="1">
          <a:solidFill>
            <a:schemeClr val="bg1"/>
          </a:solidFill>
          <a:latin typeface="Franklin Gothic Medium" pitchFamily="34" charset="0"/>
          <a:cs typeface="Arial" charset="0"/>
        </a:defRPr>
      </a:lvl8pPr>
      <a:lvl9pPr marL="1828800" algn="l" rtl="0" fontAlgn="base">
        <a:lnSpc>
          <a:spcPct val="80000"/>
        </a:lnSpc>
        <a:spcBef>
          <a:spcPct val="0"/>
        </a:spcBef>
        <a:spcAft>
          <a:spcPct val="0"/>
        </a:spcAft>
        <a:defRPr sz="2600" b="1">
          <a:solidFill>
            <a:schemeClr val="bg1"/>
          </a:solidFill>
          <a:latin typeface="Franklin Gothic Medium" pitchFamily="34" charset="0"/>
          <a:cs typeface="Arial" charset="0"/>
        </a:defRPr>
      </a:lvl9pPr>
    </p:titleStyle>
    <p:bodyStyle>
      <a:lvl1pPr marL="342900" indent="-342900" algn="just" rtl="0" eaLnBrk="0" fontAlgn="base" hangingPunct="0">
        <a:lnSpc>
          <a:spcPct val="110000"/>
        </a:lnSpc>
        <a:spcBef>
          <a:spcPct val="20000"/>
        </a:spcBef>
        <a:spcAft>
          <a:spcPct val="10000"/>
        </a:spcAft>
        <a:buClr>
          <a:schemeClr val="accent1"/>
        </a:buClr>
        <a:buFont typeface="Franklin Gothic Medium" pitchFamily="34" charset="0"/>
        <a:buChar char="4"/>
        <a:defRPr sz="2000">
          <a:solidFill>
            <a:schemeClr val="tx1"/>
          </a:solidFill>
          <a:latin typeface="+mn-lt"/>
          <a:ea typeface="+mn-ea"/>
          <a:cs typeface="+mn-cs"/>
        </a:defRPr>
      </a:lvl1pPr>
      <a:lvl2pPr marL="812800" indent="-277813" algn="just" rtl="0" eaLnBrk="0" fontAlgn="base" hangingPunct="0">
        <a:lnSpc>
          <a:spcPct val="110000"/>
        </a:lnSpc>
        <a:spcBef>
          <a:spcPct val="20000"/>
        </a:spcBef>
        <a:spcAft>
          <a:spcPct val="10000"/>
        </a:spcAft>
        <a:buClr>
          <a:schemeClr val="accent1"/>
        </a:buClr>
        <a:buFont typeface="Franklin Gothic Medium" pitchFamily="34" charset="0"/>
        <a:buChar char="4"/>
        <a:defRPr sz="2800" b="1">
          <a:solidFill>
            <a:schemeClr val="tx1"/>
          </a:solidFill>
          <a:latin typeface="+mn-lt"/>
          <a:cs typeface="+mn-cs"/>
        </a:defRPr>
      </a:lvl2pPr>
      <a:lvl3pPr marL="1524000" indent="-266700" algn="just" rtl="0" eaLnBrk="0" fontAlgn="base" hangingPunct="0">
        <a:lnSpc>
          <a:spcPct val="110000"/>
        </a:lnSpc>
        <a:spcBef>
          <a:spcPct val="20000"/>
        </a:spcBef>
        <a:spcAft>
          <a:spcPct val="10000"/>
        </a:spcAft>
        <a:buClr>
          <a:schemeClr val="accent1"/>
        </a:buClr>
        <a:buFont typeface="Franklin Gothic Medium" pitchFamily="34" charset="0"/>
        <a:buChar char="4"/>
        <a:defRPr sz="2400">
          <a:solidFill>
            <a:schemeClr val="tx1"/>
          </a:solidFill>
          <a:latin typeface="+mn-lt"/>
          <a:cs typeface="+mn-cs"/>
        </a:defRPr>
      </a:lvl3pPr>
      <a:lvl4pPr marL="2157413" indent="-188913" algn="just" rtl="0" eaLnBrk="0" fontAlgn="base" hangingPunct="0">
        <a:lnSpc>
          <a:spcPct val="110000"/>
        </a:lnSpc>
        <a:spcBef>
          <a:spcPct val="20000"/>
        </a:spcBef>
        <a:spcAft>
          <a:spcPct val="10000"/>
        </a:spcAft>
        <a:buClr>
          <a:schemeClr val="accent1"/>
        </a:buClr>
        <a:buFont typeface="Franklin Gothic Medium" pitchFamily="34" charset="0"/>
        <a:buChar char="4"/>
        <a:defRPr sz="1600" b="1">
          <a:solidFill>
            <a:schemeClr val="tx1"/>
          </a:solidFill>
          <a:latin typeface="+mn-lt"/>
          <a:cs typeface="+mn-cs"/>
        </a:defRPr>
      </a:lvl4pPr>
      <a:lvl5pPr marL="2603500" indent="-177800" algn="just" rtl="0" eaLnBrk="0" fontAlgn="base" hangingPunct="0">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5pPr>
      <a:lvl6pPr marL="30607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6pPr>
      <a:lvl7pPr marL="35179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7pPr>
      <a:lvl8pPr marL="39751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8pPr>
      <a:lvl9pPr marL="44323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00034" name="Picture 8" descr="TIM_MENTE_SEM_FRONTEIRAS_0803 0008"/>
          <p:cNvPicPr>
            <a:picLocks noChangeAspect="1" noChangeArrowheads="1"/>
          </p:cNvPicPr>
          <p:nvPr/>
        </p:nvPicPr>
        <p:blipFill>
          <a:blip r:embed="rId14" cstate="print"/>
          <a:srcRect/>
          <a:stretch>
            <a:fillRect/>
          </a:stretch>
        </p:blipFill>
        <p:spPr bwMode="auto">
          <a:xfrm>
            <a:off x="0" y="-12700"/>
            <a:ext cx="9906000" cy="896938"/>
          </a:xfrm>
          <a:prstGeom prst="rect">
            <a:avLst/>
          </a:prstGeom>
          <a:noFill/>
          <a:ln w="9525">
            <a:noFill/>
            <a:miter lim="800000"/>
            <a:headEnd/>
            <a:tailEnd/>
          </a:ln>
        </p:spPr>
      </p:pic>
      <p:sp>
        <p:nvSpPr>
          <p:cNvPr id="6147" name="Rectangle 2"/>
          <p:cNvSpPr>
            <a:spLocks noChangeArrowheads="1"/>
          </p:cNvSpPr>
          <p:nvPr/>
        </p:nvSpPr>
        <p:spPr bwMode="auto">
          <a:xfrm>
            <a:off x="0" y="0"/>
            <a:ext cx="9906000" cy="6851650"/>
          </a:xfrm>
          <a:prstGeom prst="rect">
            <a:avLst/>
          </a:prstGeom>
          <a:noFill/>
          <a:ln w="12700" cap="sq">
            <a:solidFill>
              <a:srgbClr val="595959"/>
            </a:solidFill>
            <a:miter lim="800000"/>
            <a:headEnd type="none" w="sm" len="sm"/>
            <a:tailEnd type="none" w="sm" len="sm"/>
          </a:ln>
        </p:spPr>
        <p:txBody>
          <a:bodyPr wrap="none" anchor="ctr"/>
          <a:lstStyle/>
          <a:p>
            <a:pPr algn="r" eaLnBrk="0" hangingPunct="0">
              <a:defRPr/>
            </a:pPr>
            <a:endParaRPr lang="pt-BR" sz="1000" b="0" i="1">
              <a:solidFill>
                <a:srgbClr val="004990"/>
              </a:solidFill>
              <a:latin typeface="Franklin Gothic Medium" charset="0"/>
            </a:endParaRPr>
          </a:p>
        </p:txBody>
      </p:sp>
      <p:sp>
        <p:nvSpPr>
          <p:cNvPr id="300036" name="Rectangle 13"/>
          <p:cNvSpPr>
            <a:spLocks noGrp="1" noChangeArrowheads="1"/>
          </p:cNvSpPr>
          <p:nvPr>
            <p:ph type="title"/>
          </p:nvPr>
        </p:nvSpPr>
        <p:spPr bwMode="auto">
          <a:xfrm>
            <a:off x="307983" y="227013"/>
            <a:ext cx="79803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it-IT" smtClean="0"/>
              <a:t>Click to edit Master title style</a:t>
            </a:r>
          </a:p>
        </p:txBody>
      </p:sp>
      <p:sp>
        <p:nvSpPr>
          <p:cNvPr id="6149" name="Rectangle 37"/>
          <p:cNvSpPr>
            <a:spLocks noChangeArrowheads="1"/>
          </p:cNvSpPr>
          <p:nvPr>
            <p:custDataLst>
              <p:tags r:id="rId13"/>
            </p:custDataLst>
          </p:nvPr>
        </p:nvSpPr>
        <p:spPr bwMode="auto">
          <a:xfrm>
            <a:off x="9631741" y="6597664"/>
            <a:ext cx="125034" cy="123111"/>
          </a:xfrm>
          <a:prstGeom prst="rect">
            <a:avLst/>
          </a:prstGeom>
          <a:noFill/>
          <a:ln w="9525">
            <a:noFill/>
            <a:miter lim="800000"/>
            <a:headEnd/>
            <a:tailEnd/>
          </a:ln>
        </p:spPr>
        <p:txBody>
          <a:bodyPr wrap="none" lIns="0" tIns="0" rIns="0" bIns="0">
            <a:spAutoFit/>
          </a:bodyPr>
          <a:lstStyle/>
          <a:p>
            <a:pPr algn="r" defTabSz="762000" eaLnBrk="0" hangingPunct="0">
              <a:defRPr/>
            </a:pPr>
            <a:fld id="{D1BC9F4E-AC08-45E6-B1C2-1DFD950CDBC4}" type="slidenum">
              <a:rPr lang="it-IT" sz="800" b="0">
                <a:solidFill>
                  <a:srgbClr val="8995B4"/>
                </a:solidFill>
              </a:rPr>
              <a:pPr algn="r" defTabSz="762000" eaLnBrk="0" hangingPunct="0">
                <a:defRPr/>
              </a:pPr>
              <a:t>‹nº›</a:t>
            </a:fld>
            <a:endParaRPr lang="it-IT" sz="800" b="0">
              <a:solidFill>
                <a:srgbClr val="8995B4"/>
              </a:solidFill>
            </a:endParaRPr>
          </a:p>
        </p:txBody>
      </p:sp>
      <p:pic>
        <p:nvPicPr>
          <p:cNvPr id="300038" name="Picture 10" descr="LogosTIM2009_VoceSemFronteiras"/>
          <p:cNvPicPr>
            <a:picLocks noChangeAspect="1" noChangeArrowheads="1"/>
          </p:cNvPicPr>
          <p:nvPr/>
        </p:nvPicPr>
        <p:blipFill>
          <a:blip r:embed="rId15" cstate="email">
            <a:clrChange>
              <a:clrFrom>
                <a:srgbClr val="000000"/>
              </a:clrFrom>
              <a:clrTo>
                <a:srgbClr val="000000">
                  <a:alpha val="0"/>
                </a:srgbClr>
              </a:clrTo>
            </a:clrChange>
            <a:extLst>
              <a:ext uri="{28A0092B-C50C-407E-A947-70E740481C1C}">
                <a14:useLocalDpi xmlns="" xmlns:a14="http://schemas.microsoft.com/office/drawing/2010/main"/>
              </a:ext>
            </a:extLst>
          </a:blip>
          <a:srcRect/>
          <a:stretch>
            <a:fillRect/>
          </a:stretch>
        </p:blipFill>
        <p:spPr bwMode="auto">
          <a:xfrm>
            <a:off x="8374063" y="131766"/>
            <a:ext cx="1249362" cy="61753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314" r:id="rId1"/>
    <p:sldLayoutId id="2147484313" r:id="rId2"/>
    <p:sldLayoutId id="2147484312" r:id="rId3"/>
    <p:sldLayoutId id="2147484311" r:id="rId4"/>
    <p:sldLayoutId id="2147484310" r:id="rId5"/>
    <p:sldLayoutId id="2147484309" r:id="rId6"/>
    <p:sldLayoutId id="2147484308" r:id="rId7"/>
    <p:sldLayoutId id="2147484307" r:id="rId8"/>
    <p:sldLayoutId id="2147484306" r:id="rId9"/>
    <p:sldLayoutId id="2147484305" r:id="rId10"/>
    <p:sldLayoutId id="2147484304" r:id="rId11"/>
  </p:sldLayoutIdLst>
  <p:txStyles>
    <p:titleStyle>
      <a:lvl1pPr algn="l" rtl="0" eaLnBrk="0" fontAlgn="base" hangingPunct="0">
        <a:lnSpc>
          <a:spcPct val="80000"/>
        </a:lnSpc>
        <a:spcBef>
          <a:spcPct val="0"/>
        </a:spcBef>
        <a:spcAft>
          <a:spcPct val="0"/>
        </a:spcAft>
        <a:defRPr sz="2600" b="1">
          <a:solidFill>
            <a:schemeClr val="bg1"/>
          </a:solidFill>
          <a:latin typeface="+mj-lt"/>
          <a:ea typeface="+mj-ea"/>
          <a:cs typeface="+mj-cs"/>
        </a:defRPr>
      </a:lvl1pPr>
      <a:lvl2pPr algn="l" rtl="0" eaLnBrk="0" fontAlgn="base" hangingPunct="0">
        <a:lnSpc>
          <a:spcPct val="80000"/>
        </a:lnSpc>
        <a:spcBef>
          <a:spcPct val="0"/>
        </a:spcBef>
        <a:spcAft>
          <a:spcPct val="0"/>
        </a:spcAft>
        <a:defRPr sz="2600" b="1">
          <a:solidFill>
            <a:schemeClr val="bg1"/>
          </a:solidFill>
          <a:latin typeface="Franklin Gothic Medium" pitchFamily="34" charset="0"/>
          <a:cs typeface="Arial" charset="0"/>
        </a:defRPr>
      </a:lvl2pPr>
      <a:lvl3pPr algn="l" rtl="0" eaLnBrk="0" fontAlgn="base" hangingPunct="0">
        <a:lnSpc>
          <a:spcPct val="80000"/>
        </a:lnSpc>
        <a:spcBef>
          <a:spcPct val="0"/>
        </a:spcBef>
        <a:spcAft>
          <a:spcPct val="0"/>
        </a:spcAft>
        <a:defRPr sz="2600" b="1">
          <a:solidFill>
            <a:schemeClr val="bg1"/>
          </a:solidFill>
          <a:latin typeface="Franklin Gothic Medium" pitchFamily="34" charset="0"/>
          <a:cs typeface="Arial" charset="0"/>
        </a:defRPr>
      </a:lvl3pPr>
      <a:lvl4pPr algn="l" rtl="0" eaLnBrk="0" fontAlgn="base" hangingPunct="0">
        <a:lnSpc>
          <a:spcPct val="80000"/>
        </a:lnSpc>
        <a:spcBef>
          <a:spcPct val="0"/>
        </a:spcBef>
        <a:spcAft>
          <a:spcPct val="0"/>
        </a:spcAft>
        <a:defRPr sz="2600" b="1">
          <a:solidFill>
            <a:schemeClr val="bg1"/>
          </a:solidFill>
          <a:latin typeface="Franklin Gothic Medium" pitchFamily="34" charset="0"/>
          <a:cs typeface="Arial" charset="0"/>
        </a:defRPr>
      </a:lvl4pPr>
      <a:lvl5pPr algn="l" rtl="0" eaLnBrk="0" fontAlgn="base" hangingPunct="0">
        <a:lnSpc>
          <a:spcPct val="80000"/>
        </a:lnSpc>
        <a:spcBef>
          <a:spcPct val="0"/>
        </a:spcBef>
        <a:spcAft>
          <a:spcPct val="0"/>
        </a:spcAft>
        <a:defRPr sz="2600" b="1">
          <a:solidFill>
            <a:schemeClr val="bg1"/>
          </a:solidFill>
          <a:latin typeface="Franklin Gothic Medium" pitchFamily="34" charset="0"/>
          <a:cs typeface="Arial" charset="0"/>
        </a:defRPr>
      </a:lvl5pPr>
      <a:lvl6pPr marL="457200" algn="l" rtl="0" fontAlgn="base">
        <a:lnSpc>
          <a:spcPct val="80000"/>
        </a:lnSpc>
        <a:spcBef>
          <a:spcPct val="0"/>
        </a:spcBef>
        <a:spcAft>
          <a:spcPct val="0"/>
        </a:spcAft>
        <a:defRPr sz="2600" b="1">
          <a:solidFill>
            <a:schemeClr val="bg1"/>
          </a:solidFill>
          <a:latin typeface="Franklin Gothic Medium" pitchFamily="34" charset="0"/>
          <a:cs typeface="Arial" charset="0"/>
        </a:defRPr>
      </a:lvl6pPr>
      <a:lvl7pPr marL="914400" algn="l" rtl="0" fontAlgn="base">
        <a:lnSpc>
          <a:spcPct val="80000"/>
        </a:lnSpc>
        <a:spcBef>
          <a:spcPct val="0"/>
        </a:spcBef>
        <a:spcAft>
          <a:spcPct val="0"/>
        </a:spcAft>
        <a:defRPr sz="2600" b="1">
          <a:solidFill>
            <a:schemeClr val="bg1"/>
          </a:solidFill>
          <a:latin typeface="Franklin Gothic Medium" pitchFamily="34" charset="0"/>
          <a:cs typeface="Arial" charset="0"/>
        </a:defRPr>
      </a:lvl7pPr>
      <a:lvl8pPr marL="1371600" algn="l" rtl="0" fontAlgn="base">
        <a:lnSpc>
          <a:spcPct val="80000"/>
        </a:lnSpc>
        <a:spcBef>
          <a:spcPct val="0"/>
        </a:spcBef>
        <a:spcAft>
          <a:spcPct val="0"/>
        </a:spcAft>
        <a:defRPr sz="2600" b="1">
          <a:solidFill>
            <a:schemeClr val="bg1"/>
          </a:solidFill>
          <a:latin typeface="Franklin Gothic Medium" pitchFamily="34" charset="0"/>
          <a:cs typeface="Arial" charset="0"/>
        </a:defRPr>
      </a:lvl8pPr>
      <a:lvl9pPr marL="1828800" algn="l" rtl="0" fontAlgn="base">
        <a:lnSpc>
          <a:spcPct val="80000"/>
        </a:lnSpc>
        <a:spcBef>
          <a:spcPct val="0"/>
        </a:spcBef>
        <a:spcAft>
          <a:spcPct val="0"/>
        </a:spcAft>
        <a:defRPr sz="2600" b="1">
          <a:solidFill>
            <a:schemeClr val="bg1"/>
          </a:solidFill>
          <a:latin typeface="Franklin Gothic Medium" pitchFamily="34" charset="0"/>
          <a:cs typeface="Arial" charset="0"/>
        </a:defRPr>
      </a:lvl9pPr>
    </p:titleStyle>
    <p:bodyStyle>
      <a:lvl1pPr marL="342900" indent="-342900" algn="just" rtl="0" eaLnBrk="0" fontAlgn="base" hangingPunct="0">
        <a:lnSpc>
          <a:spcPct val="110000"/>
        </a:lnSpc>
        <a:spcBef>
          <a:spcPct val="20000"/>
        </a:spcBef>
        <a:spcAft>
          <a:spcPct val="10000"/>
        </a:spcAft>
        <a:buClr>
          <a:schemeClr val="accent1"/>
        </a:buClr>
        <a:buFont typeface="Franklin Gothic Medium" pitchFamily="34" charset="0"/>
        <a:buChar char="4"/>
        <a:defRPr sz="2000">
          <a:solidFill>
            <a:schemeClr val="tx1"/>
          </a:solidFill>
          <a:latin typeface="+mn-lt"/>
          <a:ea typeface="+mn-ea"/>
          <a:cs typeface="+mn-cs"/>
        </a:defRPr>
      </a:lvl1pPr>
      <a:lvl2pPr marL="812800" indent="-277813" algn="just" rtl="0" eaLnBrk="0" fontAlgn="base" hangingPunct="0">
        <a:lnSpc>
          <a:spcPct val="110000"/>
        </a:lnSpc>
        <a:spcBef>
          <a:spcPct val="20000"/>
        </a:spcBef>
        <a:spcAft>
          <a:spcPct val="10000"/>
        </a:spcAft>
        <a:buClr>
          <a:schemeClr val="accent1"/>
        </a:buClr>
        <a:buFont typeface="Franklin Gothic Medium" pitchFamily="34" charset="0"/>
        <a:buChar char="4"/>
        <a:defRPr sz="2800" b="1">
          <a:solidFill>
            <a:schemeClr val="tx1"/>
          </a:solidFill>
          <a:latin typeface="+mn-lt"/>
          <a:cs typeface="+mn-cs"/>
        </a:defRPr>
      </a:lvl2pPr>
      <a:lvl3pPr marL="1524000" indent="-266700" algn="just" rtl="0" eaLnBrk="0" fontAlgn="base" hangingPunct="0">
        <a:lnSpc>
          <a:spcPct val="110000"/>
        </a:lnSpc>
        <a:spcBef>
          <a:spcPct val="20000"/>
        </a:spcBef>
        <a:spcAft>
          <a:spcPct val="10000"/>
        </a:spcAft>
        <a:buClr>
          <a:schemeClr val="accent1"/>
        </a:buClr>
        <a:buFont typeface="Franklin Gothic Medium" pitchFamily="34" charset="0"/>
        <a:buChar char="4"/>
        <a:defRPr sz="2400">
          <a:solidFill>
            <a:schemeClr val="tx1"/>
          </a:solidFill>
          <a:latin typeface="+mn-lt"/>
          <a:cs typeface="+mn-cs"/>
        </a:defRPr>
      </a:lvl3pPr>
      <a:lvl4pPr marL="2157413" indent="-188913" algn="just" rtl="0" eaLnBrk="0" fontAlgn="base" hangingPunct="0">
        <a:lnSpc>
          <a:spcPct val="110000"/>
        </a:lnSpc>
        <a:spcBef>
          <a:spcPct val="20000"/>
        </a:spcBef>
        <a:spcAft>
          <a:spcPct val="10000"/>
        </a:spcAft>
        <a:buClr>
          <a:schemeClr val="accent1"/>
        </a:buClr>
        <a:buFont typeface="Franklin Gothic Medium" pitchFamily="34" charset="0"/>
        <a:buChar char="4"/>
        <a:defRPr sz="1600" b="1">
          <a:solidFill>
            <a:schemeClr val="tx1"/>
          </a:solidFill>
          <a:latin typeface="+mn-lt"/>
          <a:cs typeface="+mn-cs"/>
        </a:defRPr>
      </a:lvl4pPr>
      <a:lvl5pPr marL="2603500" indent="-177800" algn="just" rtl="0" eaLnBrk="0" fontAlgn="base" hangingPunct="0">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5pPr>
      <a:lvl6pPr marL="30607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6pPr>
      <a:lvl7pPr marL="35179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7pPr>
      <a:lvl8pPr marL="39751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8pPr>
      <a:lvl9pPr marL="44323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12322" name="Picture 8" descr="TIM_MENTE_SEM_FRONTEIRAS_0803 0008"/>
          <p:cNvPicPr>
            <a:picLocks noChangeAspect="1" noChangeArrowheads="1"/>
          </p:cNvPicPr>
          <p:nvPr/>
        </p:nvPicPr>
        <p:blipFill>
          <a:blip r:embed="rId14" cstate="print"/>
          <a:srcRect/>
          <a:stretch>
            <a:fillRect/>
          </a:stretch>
        </p:blipFill>
        <p:spPr bwMode="auto">
          <a:xfrm>
            <a:off x="0" y="-12700"/>
            <a:ext cx="9906000" cy="896938"/>
          </a:xfrm>
          <a:prstGeom prst="rect">
            <a:avLst/>
          </a:prstGeom>
          <a:noFill/>
          <a:ln w="9525">
            <a:noFill/>
            <a:miter lim="800000"/>
            <a:headEnd/>
            <a:tailEnd/>
          </a:ln>
        </p:spPr>
      </p:pic>
      <p:sp>
        <p:nvSpPr>
          <p:cNvPr id="6147" name="Rectangle 2"/>
          <p:cNvSpPr>
            <a:spLocks noChangeArrowheads="1"/>
          </p:cNvSpPr>
          <p:nvPr/>
        </p:nvSpPr>
        <p:spPr bwMode="auto">
          <a:xfrm>
            <a:off x="0" y="0"/>
            <a:ext cx="9906000" cy="6851650"/>
          </a:xfrm>
          <a:prstGeom prst="rect">
            <a:avLst/>
          </a:prstGeom>
          <a:noFill/>
          <a:ln w="12700" cap="sq">
            <a:solidFill>
              <a:srgbClr val="595959"/>
            </a:solidFill>
            <a:miter lim="800000"/>
            <a:headEnd type="none" w="sm" len="sm"/>
            <a:tailEnd type="none" w="sm" len="sm"/>
          </a:ln>
        </p:spPr>
        <p:txBody>
          <a:bodyPr wrap="none" anchor="ctr"/>
          <a:lstStyle/>
          <a:p>
            <a:pPr algn="r" eaLnBrk="0" hangingPunct="0">
              <a:defRPr/>
            </a:pPr>
            <a:endParaRPr lang="pt-BR" sz="1000" b="0" i="1">
              <a:latin typeface="Franklin Gothic Medium" charset="0"/>
            </a:endParaRPr>
          </a:p>
        </p:txBody>
      </p:sp>
      <p:sp>
        <p:nvSpPr>
          <p:cNvPr id="312324" name="Rectangle 13"/>
          <p:cNvSpPr>
            <a:spLocks noGrp="1" noChangeArrowheads="1"/>
          </p:cNvSpPr>
          <p:nvPr>
            <p:ph type="title"/>
          </p:nvPr>
        </p:nvSpPr>
        <p:spPr bwMode="auto">
          <a:xfrm>
            <a:off x="307983" y="227013"/>
            <a:ext cx="79803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it-IT" smtClean="0"/>
              <a:t>Click to edit Master title style</a:t>
            </a:r>
          </a:p>
        </p:txBody>
      </p:sp>
      <p:sp>
        <p:nvSpPr>
          <p:cNvPr id="6149" name="Rectangle 37"/>
          <p:cNvSpPr>
            <a:spLocks noChangeArrowheads="1"/>
          </p:cNvSpPr>
          <p:nvPr>
            <p:custDataLst>
              <p:tags r:id="rId13"/>
            </p:custDataLst>
          </p:nvPr>
        </p:nvSpPr>
        <p:spPr bwMode="auto">
          <a:xfrm>
            <a:off x="9631741" y="6597664"/>
            <a:ext cx="125034" cy="123111"/>
          </a:xfrm>
          <a:prstGeom prst="rect">
            <a:avLst/>
          </a:prstGeom>
          <a:noFill/>
          <a:ln w="9525">
            <a:noFill/>
            <a:miter lim="800000"/>
            <a:headEnd/>
            <a:tailEnd/>
          </a:ln>
        </p:spPr>
        <p:txBody>
          <a:bodyPr wrap="none" lIns="0" tIns="0" rIns="0" bIns="0">
            <a:spAutoFit/>
          </a:bodyPr>
          <a:lstStyle/>
          <a:p>
            <a:pPr algn="r" defTabSz="762000" eaLnBrk="0" hangingPunct="0">
              <a:defRPr/>
            </a:pPr>
            <a:fld id="{511E6930-52FB-430F-BCE2-96907F7F2532}" type="slidenum">
              <a:rPr lang="it-IT" sz="800" b="0">
                <a:solidFill>
                  <a:srgbClr val="8995B4"/>
                </a:solidFill>
              </a:rPr>
              <a:pPr algn="r" defTabSz="762000" eaLnBrk="0" hangingPunct="0">
                <a:defRPr/>
              </a:pPr>
              <a:t>‹nº›</a:t>
            </a:fld>
            <a:endParaRPr lang="it-IT" sz="800" b="0">
              <a:solidFill>
                <a:srgbClr val="8995B4"/>
              </a:solidFill>
            </a:endParaRPr>
          </a:p>
        </p:txBody>
      </p:sp>
      <p:pic>
        <p:nvPicPr>
          <p:cNvPr id="312326" name="Picture 10" descr="LogosTIM2009_VoceSemFronteiras"/>
          <p:cNvPicPr>
            <a:picLocks noChangeAspect="1" noChangeArrowheads="1"/>
          </p:cNvPicPr>
          <p:nvPr/>
        </p:nvPicPr>
        <p:blipFill>
          <a:blip r:embed="rId15" cstate="email">
            <a:clrChange>
              <a:clrFrom>
                <a:srgbClr val="000000"/>
              </a:clrFrom>
              <a:clrTo>
                <a:srgbClr val="000000">
                  <a:alpha val="0"/>
                </a:srgbClr>
              </a:clrTo>
            </a:clrChange>
            <a:extLst>
              <a:ext uri="{28A0092B-C50C-407E-A947-70E740481C1C}">
                <a14:useLocalDpi xmlns="" xmlns:a14="http://schemas.microsoft.com/office/drawing/2010/main"/>
              </a:ext>
            </a:extLst>
          </a:blip>
          <a:srcRect/>
          <a:stretch>
            <a:fillRect/>
          </a:stretch>
        </p:blipFill>
        <p:spPr bwMode="auto">
          <a:xfrm>
            <a:off x="8374063" y="131766"/>
            <a:ext cx="1249362" cy="61753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325" r:id="rId1"/>
    <p:sldLayoutId id="2147484324" r:id="rId2"/>
    <p:sldLayoutId id="2147484323" r:id="rId3"/>
    <p:sldLayoutId id="2147484322" r:id="rId4"/>
    <p:sldLayoutId id="2147484321" r:id="rId5"/>
    <p:sldLayoutId id="2147484320" r:id="rId6"/>
    <p:sldLayoutId id="2147484319" r:id="rId7"/>
    <p:sldLayoutId id="2147484318" r:id="rId8"/>
    <p:sldLayoutId id="2147484317" r:id="rId9"/>
    <p:sldLayoutId id="2147484316" r:id="rId10"/>
    <p:sldLayoutId id="2147484315" r:id="rId11"/>
  </p:sldLayoutIdLst>
  <p:txStyles>
    <p:titleStyle>
      <a:lvl1pPr algn="l" rtl="0" eaLnBrk="0" fontAlgn="base" hangingPunct="0">
        <a:lnSpc>
          <a:spcPct val="80000"/>
        </a:lnSpc>
        <a:spcBef>
          <a:spcPct val="0"/>
        </a:spcBef>
        <a:spcAft>
          <a:spcPct val="0"/>
        </a:spcAft>
        <a:defRPr sz="2600" b="1">
          <a:solidFill>
            <a:schemeClr val="bg1"/>
          </a:solidFill>
          <a:latin typeface="+mj-lt"/>
          <a:ea typeface="+mj-ea"/>
          <a:cs typeface="+mj-cs"/>
        </a:defRPr>
      </a:lvl1pPr>
      <a:lvl2pPr algn="l" rtl="0" eaLnBrk="0" fontAlgn="base" hangingPunct="0">
        <a:lnSpc>
          <a:spcPct val="80000"/>
        </a:lnSpc>
        <a:spcBef>
          <a:spcPct val="0"/>
        </a:spcBef>
        <a:spcAft>
          <a:spcPct val="0"/>
        </a:spcAft>
        <a:defRPr sz="2600" b="1">
          <a:solidFill>
            <a:schemeClr val="bg1"/>
          </a:solidFill>
          <a:latin typeface="Franklin Gothic Medium" pitchFamily="34" charset="0"/>
          <a:cs typeface="Arial" charset="0"/>
        </a:defRPr>
      </a:lvl2pPr>
      <a:lvl3pPr algn="l" rtl="0" eaLnBrk="0" fontAlgn="base" hangingPunct="0">
        <a:lnSpc>
          <a:spcPct val="80000"/>
        </a:lnSpc>
        <a:spcBef>
          <a:spcPct val="0"/>
        </a:spcBef>
        <a:spcAft>
          <a:spcPct val="0"/>
        </a:spcAft>
        <a:defRPr sz="2600" b="1">
          <a:solidFill>
            <a:schemeClr val="bg1"/>
          </a:solidFill>
          <a:latin typeface="Franklin Gothic Medium" pitchFamily="34" charset="0"/>
          <a:cs typeface="Arial" charset="0"/>
        </a:defRPr>
      </a:lvl3pPr>
      <a:lvl4pPr algn="l" rtl="0" eaLnBrk="0" fontAlgn="base" hangingPunct="0">
        <a:lnSpc>
          <a:spcPct val="80000"/>
        </a:lnSpc>
        <a:spcBef>
          <a:spcPct val="0"/>
        </a:spcBef>
        <a:spcAft>
          <a:spcPct val="0"/>
        </a:spcAft>
        <a:defRPr sz="2600" b="1">
          <a:solidFill>
            <a:schemeClr val="bg1"/>
          </a:solidFill>
          <a:latin typeface="Franklin Gothic Medium" pitchFamily="34" charset="0"/>
          <a:cs typeface="Arial" charset="0"/>
        </a:defRPr>
      </a:lvl4pPr>
      <a:lvl5pPr algn="l" rtl="0" eaLnBrk="0" fontAlgn="base" hangingPunct="0">
        <a:lnSpc>
          <a:spcPct val="80000"/>
        </a:lnSpc>
        <a:spcBef>
          <a:spcPct val="0"/>
        </a:spcBef>
        <a:spcAft>
          <a:spcPct val="0"/>
        </a:spcAft>
        <a:defRPr sz="2600" b="1">
          <a:solidFill>
            <a:schemeClr val="bg1"/>
          </a:solidFill>
          <a:latin typeface="Franklin Gothic Medium" pitchFamily="34" charset="0"/>
          <a:cs typeface="Arial" charset="0"/>
        </a:defRPr>
      </a:lvl5pPr>
      <a:lvl6pPr marL="457200" algn="l" rtl="0" fontAlgn="base">
        <a:lnSpc>
          <a:spcPct val="80000"/>
        </a:lnSpc>
        <a:spcBef>
          <a:spcPct val="0"/>
        </a:spcBef>
        <a:spcAft>
          <a:spcPct val="0"/>
        </a:spcAft>
        <a:defRPr sz="2600" b="1">
          <a:solidFill>
            <a:schemeClr val="bg1"/>
          </a:solidFill>
          <a:latin typeface="Franklin Gothic Medium" pitchFamily="34" charset="0"/>
          <a:cs typeface="Arial" charset="0"/>
        </a:defRPr>
      </a:lvl6pPr>
      <a:lvl7pPr marL="914400" algn="l" rtl="0" fontAlgn="base">
        <a:lnSpc>
          <a:spcPct val="80000"/>
        </a:lnSpc>
        <a:spcBef>
          <a:spcPct val="0"/>
        </a:spcBef>
        <a:spcAft>
          <a:spcPct val="0"/>
        </a:spcAft>
        <a:defRPr sz="2600" b="1">
          <a:solidFill>
            <a:schemeClr val="bg1"/>
          </a:solidFill>
          <a:latin typeface="Franklin Gothic Medium" pitchFamily="34" charset="0"/>
          <a:cs typeface="Arial" charset="0"/>
        </a:defRPr>
      </a:lvl7pPr>
      <a:lvl8pPr marL="1371600" algn="l" rtl="0" fontAlgn="base">
        <a:lnSpc>
          <a:spcPct val="80000"/>
        </a:lnSpc>
        <a:spcBef>
          <a:spcPct val="0"/>
        </a:spcBef>
        <a:spcAft>
          <a:spcPct val="0"/>
        </a:spcAft>
        <a:defRPr sz="2600" b="1">
          <a:solidFill>
            <a:schemeClr val="bg1"/>
          </a:solidFill>
          <a:latin typeface="Franklin Gothic Medium" pitchFamily="34" charset="0"/>
          <a:cs typeface="Arial" charset="0"/>
        </a:defRPr>
      </a:lvl8pPr>
      <a:lvl9pPr marL="1828800" algn="l" rtl="0" fontAlgn="base">
        <a:lnSpc>
          <a:spcPct val="80000"/>
        </a:lnSpc>
        <a:spcBef>
          <a:spcPct val="0"/>
        </a:spcBef>
        <a:spcAft>
          <a:spcPct val="0"/>
        </a:spcAft>
        <a:defRPr sz="2600" b="1">
          <a:solidFill>
            <a:schemeClr val="bg1"/>
          </a:solidFill>
          <a:latin typeface="Franklin Gothic Medium" pitchFamily="34" charset="0"/>
          <a:cs typeface="Arial" charset="0"/>
        </a:defRPr>
      </a:lvl9pPr>
    </p:titleStyle>
    <p:bodyStyle>
      <a:lvl1pPr marL="342900" indent="-342900" algn="just" rtl="0" eaLnBrk="0" fontAlgn="base" hangingPunct="0">
        <a:lnSpc>
          <a:spcPct val="110000"/>
        </a:lnSpc>
        <a:spcBef>
          <a:spcPct val="20000"/>
        </a:spcBef>
        <a:spcAft>
          <a:spcPct val="10000"/>
        </a:spcAft>
        <a:buClr>
          <a:schemeClr val="accent1"/>
        </a:buClr>
        <a:buFont typeface="Franklin Gothic Medium" pitchFamily="34" charset="0"/>
        <a:buChar char="4"/>
        <a:defRPr sz="2000">
          <a:solidFill>
            <a:schemeClr val="tx1"/>
          </a:solidFill>
          <a:latin typeface="+mn-lt"/>
          <a:ea typeface="+mn-ea"/>
          <a:cs typeface="+mn-cs"/>
        </a:defRPr>
      </a:lvl1pPr>
      <a:lvl2pPr marL="812800" indent="-277813" algn="just" rtl="0" eaLnBrk="0" fontAlgn="base" hangingPunct="0">
        <a:lnSpc>
          <a:spcPct val="110000"/>
        </a:lnSpc>
        <a:spcBef>
          <a:spcPct val="20000"/>
        </a:spcBef>
        <a:spcAft>
          <a:spcPct val="10000"/>
        </a:spcAft>
        <a:buClr>
          <a:schemeClr val="accent1"/>
        </a:buClr>
        <a:buFont typeface="Franklin Gothic Medium" pitchFamily="34" charset="0"/>
        <a:buChar char="4"/>
        <a:defRPr sz="2800" b="1">
          <a:solidFill>
            <a:schemeClr val="tx1"/>
          </a:solidFill>
          <a:latin typeface="+mn-lt"/>
          <a:cs typeface="+mn-cs"/>
        </a:defRPr>
      </a:lvl2pPr>
      <a:lvl3pPr marL="1524000" indent="-266700" algn="just" rtl="0" eaLnBrk="0" fontAlgn="base" hangingPunct="0">
        <a:lnSpc>
          <a:spcPct val="110000"/>
        </a:lnSpc>
        <a:spcBef>
          <a:spcPct val="20000"/>
        </a:spcBef>
        <a:spcAft>
          <a:spcPct val="10000"/>
        </a:spcAft>
        <a:buClr>
          <a:schemeClr val="accent1"/>
        </a:buClr>
        <a:buFont typeface="Franklin Gothic Medium" pitchFamily="34" charset="0"/>
        <a:buChar char="4"/>
        <a:defRPr sz="2400">
          <a:solidFill>
            <a:schemeClr val="tx1"/>
          </a:solidFill>
          <a:latin typeface="+mn-lt"/>
          <a:cs typeface="+mn-cs"/>
        </a:defRPr>
      </a:lvl3pPr>
      <a:lvl4pPr marL="2157413" indent="-188913" algn="just" rtl="0" eaLnBrk="0" fontAlgn="base" hangingPunct="0">
        <a:lnSpc>
          <a:spcPct val="110000"/>
        </a:lnSpc>
        <a:spcBef>
          <a:spcPct val="20000"/>
        </a:spcBef>
        <a:spcAft>
          <a:spcPct val="10000"/>
        </a:spcAft>
        <a:buClr>
          <a:schemeClr val="accent1"/>
        </a:buClr>
        <a:buFont typeface="Franklin Gothic Medium" pitchFamily="34" charset="0"/>
        <a:buChar char="4"/>
        <a:defRPr sz="1600" b="1">
          <a:solidFill>
            <a:schemeClr val="tx1"/>
          </a:solidFill>
          <a:latin typeface="+mn-lt"/>
          <a:cs typeface="+mn-cs"/>
        </a:defRPr>
      </a:lvl4pPr>
      <a:lvl5pPr marL="2603500" indent="-177800" algn="just" rtl="0" eaLnBrk="0" fontAlgn="base" hangingPunct="0">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5pPr>
      <a:lvl6pPr marL="30607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6pPr>
      <a:lvl7pPr marL="35179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7pPr>
      <a:lvl8pPr marL="39751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8pPr>
      <a:lvl9pPr marL="44323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24610" name="Picture 8" descr="TIM_MENTE_SEM_FRONTEIRAS_0803 0008"/>
          <p:cNvPicPr>
            <a:picLocks noChangeAspect="1" noChangeArrowheads="1"/>
          </p:cNvPicPr>
          <p:nvPr/>
        </p:nvPicPr>
        <p:blipFill>
          <a:blip r:embed="rId16" cstate="print"/>
          <a:srcRect/>
          <a:stretch>
            <a:fillRect/>
          </a:stretch>
        </p:blipFill>
        <p:spPr bwMode="auto">
          <a:xfrm>
            <a:off x="0" y="-12700"/>
            <a:ext cx="9906000" cy="896938"/>
          </a:xfrm>
          <a:prstGeom prst="rect">
            <a:avLst/>
          </a:prstGeom>
          <a:noFill/>
          <a:ln w="9525">
            <a:noFill/>
            <a:miter lim="800000"/>
            <a:headEnd/>
            <a:tailEnd/>
          </a:ln>
        </p:spPr>
      </p:pic>
      <p:sp>
        <p:nvSpPr>
          <p:cNvPr id="6147" name="Rectangle 2"/>
          <p:cNvSpPr>
            <a:spLocks noChangeArrowheads="1"/>
          </p:cNvSpPr>
          <p:nvPr/>
        </p:nvSpPr>
        <p:spPr bwMode="auto">
          <a:xfrm>
            <a:off x="0" y="0"/>
            <a:ext cx="9906000" cy="6851650"/>
          </a:xfrm>
          <a:prstGeom prst="rect">
            <a:avLst/>
          </a:prstGeom>
          <a:noFill/>
          <a:ln w="12700" cap="sq">
            <a:solidFill>
              <a:srgbClr val="595959"/>
            </a:solidFill>
            <a:miter lim="800000"/>
            <a:headEnd type="none" w="sm" len="sm"/>
            <a:tailEnd type="none" w="sm" len="sm"/>
          </a:ln>
        </p:spPr>
        <p:txBody>
          <a:bodyPr wrap="none" anchor="ctr"/>
          <a:lstStyle/>
          <a:p>
            <a:pPr algn="r" eaLnBrk="0" hangingPunct="0">
              <a:defRPr/>
            </a:pPr>
            <a:endParaRPr lang="pt-BR" sz="1000" b="0" i="1">
              <a:solidFill>
                <a:srgbClr val="004990"/>
              </a:solidFill>
              <a:latin typeface="Franklin Gothic Medium"/>
              <a:cs typeface="Arial"/>
            </a:endParaRPr>
          </a:p>
        </p:txBody>
      </p:sp>
      <p:sp>
        <p:nvSpPr>
          <p:cNvPr id="324612" name="Rectangle 13"/>
          <p:cNvSpPr>
            <a:spLocks noGrp="1" noChangeArrowheads="1"/>
          </p:cNvSpPr>
          <p:nvPr>
            <p:ph type="title"/>
          </p:nvPr>
        </p:nvSpPr>
        <p:spPr bwMode="auto">
          <a:xfrm>
            <a:off x="307983" y="227013"/>
            <a:ext cx="79803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it-IT" smtClean="0"/>
              <a:t>Click to edit Master title style</a:t>
            </a:r>
          </a:p>
        </p:txBody>
      </p:sp>
      <p:sp>
        <p:nvSpPr>
          <p:cNvPr id="6149" name="Rectangle 37"/>
          <p:cNvSpPr>
            <a:spLocks noChangeArrowheads="1"/>
          </p:cNvSpPr>
          <p:nvPr>
            <p:custDataLst>
              <p:tags r:id="rId15"/>
            </p:custDataLst>
          </p:nvPr>
        </p:nvSpPr>
        <p:spPr bwMode="auto">
          <a:xfrm>
            <a:off x="9631741" y="6597664"/>
            <a:ext cx="125034" cy="123111"/>
          </a:xfrm>
          <a:prstGeom prst="rect">
            <a:avLst/>
          </a:prstGeom>
          <a:noFill/>
          <a:ln w="9525">
            <a:noFill/>
            <a:miter lim="800000"/>
            <a:headEnd/>
            <a:tailEnd/>
          </a:ln>
        </p:spPr>
        <p:txBody>
          <a:bodyPr wrap="none" lIns="0" tIns="0" rIns="0" bIns="0">
            <a:spAutoFit/>
          </a:bodyPr>
          <a:lstStyle/>
          <a:p>
            <a:pPr algn="r" defTabSz="762000" eaLnBrk="0" hangingPunct="0">
              <a:defRPr/>
            </a:pPr>
            <a:fld id="{7F729736-9551-496B-9658-6C55AB18D557}" type="slidenum">
              <a:rPr lang="it-IT" sz="800" b="0">
                <a:solidFill>
                  <a:srgbClr val="8995B4"/>
                </a:solidFill>
                <a:cs typeface="Arial"/>
              </a:rPr>
              <a:pPr algn="r" defTabSz="762000" eaLnBrk="0" hangingPunct="0">
                <a:defRPr/>
              </a:pPr>
              <a:t>‹nº›</a:t>
            </a:fld>
            <a:endParaRPr lang="it-IT" sz="800" b="0">
              <a:solidFill>
                <a:srgbClr val="8995B4"/>
              </a:solidFill>
              <a:cs typeface="Arial"/>
            </a:endParaRPr>
          </a:p>
        </p:txBody>
      </p:sp>
      <p:pic>
        <p:nvPicPr>
          <p:cNvPr id="324614" name="Picture 10" descr="LogosTIM2009_VoceSemFronteiras"/>
          <p:cNvPicPr>
            <a:picLocks noChangeAspect="1" noChangeArrowheads="1"/>
          </p:cNvPicPr>
          <p:nvPr/>
        </p:nvPicPr>
        <p:blipFill>
          <a:blip r:embed="rId17" cstate="email">
            <a:clrChange>
              <a:clrFrom>
                <a:srgbClr val="000000"/>
              </a:clrFrom>
              <a:clrTo>
                <a:srgbClr val="000000">
                  <a:alpha val="0"/>
                </a:srgbClr>
              </a:clrTo>
            </a:clrChange>
            <a:extLst>
              <a:ext uri="{28A0092B-C50C-407E-A947-70E740481C1C}">
                <a14:useLocalDpi xmlns="" xmlns:a14="http://schemas.microsoft.com/office/drawing/2010/main"/>
              </a:ext>
            </a:extLst>
          </a:blip>
          <a:srcRect/>
          <a:stretch>
            <a:fillRect/>
          </a:stretch>
        </p:blipFill>
        <p:spPr bwMode="auto">
          <a:xfrm>
            <a:off x="8374063" y="131766"/>
            <a:ext cx="1249362" cy="61753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338" r:id="rId1"/>
    <p:sldLayoutId id="2147484337" r:id="rId2"/>
    <p:sldLayoutId id="2147484336" r:id="rId3"/>
    <p:sldLayoutId id="2147484335" r:id="rId4"/>
    <p:sldLayoutId id="2147484334" r:id="rId5"/>
    <p:sldLayoutId id="2147484333" r:id="rId6"/>
    <p:sldLayoutId id="2147484332" r:id="rId7"/>
    <p:sldLayoutId id="2147484331" r:id="rId8"/>
    <p:sldLayoutId id="2147484330" r:id="rId9"/>
    <p:sldLayoutId id="2147484329" r:id="rId10"/>
    <p:sldLayoutId id="2147484328" r:id="rId11"/>
    <p:sldLayoutId id="2147484327" r:id="rId12"/>
    <p:sldLayoutId id="2147484326" r:id="rId13"/>
  </p:sldLayoutIdLst>
  <p:txStyles>
    <p:titleStyle>
      <a:lvl1pPr algn="l" rtl="0" eaLnBrk="0" fontAlgn="base" hangingPunct="0">
        <a:lnSpc>
          <a:spcPct val="80000"/>
        </a:lnSpc>
        <a:spcBef>
          <a:spcPct val="0"/>
        </a:spcBef>
        <a:spcAft>
          <a:spcPct val="0"/>
        </a:spcAft>
        <a:defRPr sz="2600" b="1">
          <a:solidFill>
            <a:schemeClr val="bg1"/>
          </a:solidFill>
          <a:latin typeface="+mj-lt"/>
          <a:ea typeface="Arial" charset="0"/>
          <a:cs typeface="+mj-cs"/>
        </a:defRPr>
      </a:lvl1pPr>
      <a:lvl2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2pPr>
      <a:lvl3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3pPr>
      <a:lvl4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4pPr>
      <a:lvl5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5pPr>
      <a:lvl6pPr marL="4572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6pPr>
      <a:lvl7pPr marL="9144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7pPr>
      <a:lvl8pPr marL="13716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8pPr>
      <a:lvl9pPr marL="18288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9pPr>
    </p:titleStyle>
    <p:bodyStyle>
      <a:lvl1pPr marL="342900" indent="-342900" algn="just" rtl="0" eaLnBrk="0" fontAlgn="base" hangingPunct="0">
        <a:lnSpc>
          <a:spcPct val="110000"/>
        </a:lnSpc>
        <a:spcBef>
          <a:spcPct val="20000"/>
        </a:spcBef>
        <a:spcAft>
          <a:spcPct val="10000"/>
        </a:spcAft>
        <a:buClr>
          <a:schemeClr val="accent1"/>
        </a:buClr>
        <a:buFont typeface="Franklin Gothic Medium" pitchFamily="34" charset="0"/>
        <a:buChar char="4"/>
        <a:defRPr sz="2000">
          <a:solidFill>
            <a:schemeClr val="tx1"/>
          </a:solidFill>
          <a:latin typeface="+mn-lt"/>
          <a:ea typeface="Arial" charset="0"/>
          <a:cs typeface="+mn-cs"/>
        </a:defRPr>
      </a:lvl1pPr>
      <a:lvl2pPr marL="812800" indent="-277813" algn="just" rtl="0" eaLnBrk="0" fontAlgn="base" hangingPunct="0">
        <a:lnSpc>
          <a:spcPct val="110000"/>
        </a:lnSpc>
        <a:spcBef>
          <a:spcPct val="20000"/>
        </a:spcBef>
        <a:spcAft>
          <a:spcPct val="10000"/>
        </a:spcAft>
        <a:buClr>
          <a:schemeClr val="accent1"/>
        </a:buClr>
        <a:buFont typeface="Franklin Gothic Medium" pitchFamily="34" charset="0"/>
        <a:buChar char="4"/>
        <a:defRPr sz="2800" b="1">
          <a:solidFill>
            <a:schemeClr val="tx1"/>
          </a:solidFill>
          <a:latin typeface="+mn-lt"/>
          <a:ea typeface="Arial" charset="0"/>
          <a:cs typeface="+mn-cs"/>
        </a:defRPr>
      </a:lvl2pPr>
      <a:lvl3pPr marL="1524000" indent="-266700" algn="just" rtl="0" eaLnBrk="0" fontAlgn="base" hangingPunct="0">
        <a:lnSpc>
          <a:spcPct val="110000"/>
        </a:lnSpc>
        <a:spcBef>
          <a:spcPct val="20000"/>
        </a:spcBef>
        <a:spcAft>
          <a:spcPct val="10000"/>
        </a:spcAft>
        <a:buClr>
          <a:schemeClr val="accent1"/>
        </a:buClr>
        <a:buFont typeface="Franklin Gothic Medium" pitchFamily="34" charset="0"/>
        <a:buChar char="4"/>
        <a:defRPr sz="2400">
          <a:solidFill>
            <a:schemeClr val="tx1"/>
          </a:solidFill>
          <a:latin typeface="+mn-lt"/>
          <a:ea typeface="Arial" charset="0"/>
          <a:cs typeface="+mn-cs"/>
        </a:defRPr>
      </a:lvl3pPr>
      <a:lvl4pPr marL="2157413" indent="-188913" algn="just" rtl="0" eaLnBrk="0" fontAlgn="base" hangingPunct="0">
        <a:lnSpc>
          <a:spcPct val="110000"/>
        </a:lnSpc>
        <a:spcBef>
          <a:spcPct val="20000"/>
        </a:spcBef>
        <a:spcAft>
          <a:spcPct val="10000"/>
        </a:spcAft>
        <a:buClr>
          <a:schemeClr val="accent1"/>
        </a:buClr>
        <a:buFont typeface="Franklin Gothic Medium" pitchFamily="34" charset="0"/>
        <a:buChar char="4"/>
        <a:defRPr sz="1600" b="1">
          <a:solidFill>
            <a:schemeClr val="tx1"/>
          </a:solidFill>
          <a:latin typeface="+mn-lt"/>
          <a:ea typeface="Arial" charset="0"/>
          <a:cs typeface="+mn-cs"/>
        </a:defRPr>
      </a:lvl4pPr>
      <a:lvl5pPr marL="2603500" indent="-177800" algn="just" rtl="0" eaLnBrk="0" fontAlgn="base" hangingPunct="0">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ea typeface="Arial" charset="0"/>
          <a:cs typeface="+mn-cs"/>
        </a:defRPr>
      </a:lvl5pPr>
      <a:lvl6pPr marL="30607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6pPr>
      <a:lvl7pPr marL="35179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7pPr>
      <a:lvl8pPr marL="39751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8pPr>
      <a:lvl9pPr marL="44323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38946" name="Picture 8" descr="TIM_MENTE_SEM_FRONTEIRAS_0803 0008"/>
          <p:cNvPicPr>
            <a:picLocks noChangeAspect="1" noChangeArrowheads="1"/>
          </p:cNvPicPr>
          <p:nvPr/>
        </p:nvPicPr>
        <p:blipFill>
          <a:blip r:embed="rId16" cstate="print"/>
          <a:srcRect/>
          <a:stretch>
            <a:fillRect/>
          </a:stretch>
        </p:blipFill>
        <p:spPr bwMode="auto">
          <a:xfrm>
            <a:off x="0" y="-12700"/>
            <a:ext cx="9906000" cy="896938"/>
          </a:xfrm>
          <a:prstGeom prst="rect">
            <a:avLst/>
          </a:prstGeom>
          <a:noFill/>
          <a:ln w="9525">
            <a:noFill/>
            <a:miter lim="800000"/>
            <a:headEnd/>
            <a:tailEnd/>
          </a:ln>
        </p:spPr>
      </p:pic>
      <p:sp>
        <p:nvSpPr>
          <p:cNvPr id="6147" name="Rectangle 2"/>
          <p:cNvSpPr>
            <a:spLocks noChangeArrowheads="1"/>
          </p:cNvSpPr>
          <p:nvPr/>
        </p:nvSpPr>
        <p:spPr bwMode="auto">
          <a:xfrm>
            <a:off x="0" y="0"/>
            <a:ext cx="9906000" cy="6851650"/>
          </a:xfrm>
          <a:prstGeom prst="rect">
            <a:avLst/>
          </a:prstGeom>
          <a:noFill/>
          <a:ln w="12700" cap="sq">
            <a:solidFill>
              <a:srgbClr val="595959"/>
            </a:solidFill>
            <a:miter lim="800000"/>
            <a:headEnd type="none" w="sm" len="sm"/>
            <a:tailEnd type="none" w="sm" len="sm"/>
          </a:ln>
        </p:spPr>
        <p:txBody>
          <a:bodyPr wrap="none" anchor="ctr"/>
          <a:lstStyle/>
          <a:p>
            <a:pPr algn="r" eaLnBrk="0" hangingPunct="0">
              <a:defRPr/>
            </a:pPr>
            <a:endParaRPr lang="pt-BR" sz="1000" b="0" i="1">
              <a:solidFill>
                <a:srgbClr val="004990"/>
              </a:solidFill>
              <a:latin typeface="Franklin Gothic Medium"/>
              <a:cs typeface="Arial"/>
            </a:endParaRPr>
          </a:p>
        </p:txBody>
      </p:sp>
      <p:sp>
        <p:nvSpPr>
          <p:cNvPr id="338948" name="Rectangle 13"/>
          <p:cNvSpPr>
            <a:spLocks noGrp="1" noChangeArrowheads="1"/>
          </p:cNvSpPr>
          <p:nvPr>
            <p:ph type="title"/>
          </p:nvPr>
        </p:nvSpPr>
        <p:spPr bwMode="auto">
          <a:xfrm>
            <a:off x="307983" y="227013"/>
            <a:ext cx="79803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it-IT" smtClean="0"/>
              <a:t>Click to edit Master title style</a:t>
            </a:r>
          </a:p>
        </p:txBody>
      </p:sp>
      <p:sp>
        <p:nvSpPr>
          <p:cNvPr id="6149" name="Rectangle 37"/>
          <p:cNvSpPr>
            <a:spLocks noChangeArrowheads="1"/>
          </p:cNvSpPr>
          <p:nvPr>
            <p:custDataLst>
              <p:tags r:id="rId15"/>
            </p:custDataLst>
          </p:nvPr>
        </p:nvSpPr>
        <p:spPr bwMode="auto">
          <a:xfrm>
            <a:off x="9631741" y="6597664"/>
            <a:ext cx="125034" cy="123111"/>
          </a:xfrm>
          <a:prstGeom prst="rect">
            <a:avLst/>
          </a:prstGeom>
          <a:noFill/>
          <a:ln w="9525">
            <a:noFill/>
            <a:miter lim="800000"/>
            <a:headEnd/>
            <a:tailEnd/>
          </a:ln>
        </p:spPr>
        <p:txBody>
          <a:bodyPr wrap="none" lIns="0" tIns="0" rIns="0" bIns="0">
            <a:spAutoFit/>
          </a:bodyPr>
          <a:lstStyle/>
          <a:p>
            <a:pPr algn="r" defTabSz="762000" eaLnBrk="0" hangingPunct="0">
              <a:defRPr/>
            </a:pPr>
            <a:fld id="{BA6CEFED-982A-43BA-9E79-F221F4959018}" type="slidenum">
              <a:rPr lang="it-IT" sz="800" b="0">
                <a:solidFill>
                  <a:srgbClr val="8995B4"/>
                </a:solidFill>
                <a:cs typeface="Arial"/>
              </a:rPr>
              <a:pPr algn="r" defTabSz="762000" eaLnBrk="0" hangingPunct="0">
                <a:defRPr/>
              </a:pPr>
              <a:t>‹nº›</a:t>
            </a:fld>
            <a:endParaRPr lang="it-IT" sz="800" b="0">
              <a:solidFill>
                <a:srgbClr val="8995B4"/>
              </a:solidFill>
              <a:cs typeface="Arial"/>
            </a:endParaRPr>
          </a:p>
        </p:txBody>
      </p:sp>
      <p:pic>
        <p:nvPicPr>
          <p:cNvPr id="338950" name="Picture 10" descr="LogosTIM2009_VoceSemFronteiras"/>
          <p:cNvPicPr>
            <a:picLocks noChangeAspect="1" noChangeArrowheads="1"/>
          </p:cNvPicPr>
          <p:nvPr/>
        </p:nvPicPr>
        <p:blipFill>
          <a:blip r:embed="rId17" cstate="email">
            <a:clrChange>
              <a:clrFrom>
                <a:srgbClr val="000000"/>
              </a:clrFrom>
              <a:clrTo>
                <a:srgbClr val="000000">
                  <a:alpha val="0"/>
                </a:srgbClr>
              </a:clrTo>
            </a:clrChange>
            <a:extLst>
              <a:ext uri="{28A0092B-C50C-407E-A947-70E740481C1C}">
                <a14:useLocalDpi xmlns="" xmlns:a14="http://schemas.microsoft.com/office/drawing/2010/main"/>
              </a:ext>
            </a:extLst>
          </a:blip>
          <a:srcRect/>
          <a:stretch>
            <a:fillRect/>
          </a:stretch>
        </p:blipFill>
        <p:spPr bwMode="auto">
          <a:xfrm>
            <a:off x="8374063" y="131766"/>
            <a:ext cx="1249362" cy="61753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351" r:id="rId1"/>
    <p:sldLayoutId id="2147484350" r:id="rId2"/>
    <p:sldLayoutId id="2147484349" r:id="rId3"/>
    <p:sldLayoutId id="2147484348" r:id="rId4"/>
    <p:sldLayoutId id="2147484347" r:id="rId5"/>
    <p:sldLayoutId id="2147484346" r:id="rId6"/>
    <p:sldLayoutId id="2147484345" r:id="rId7"/>
    <p:sldLayoutId id="2147484344" r:id="rId8"/>
    <p:sldLayoutId id="2147484343" r:id="rId9"/>
    <p:sldLayoutId id="2147484342" r:id="rId10"/>
    <p:sldLayoutId id="2147484341" r:id="rId11"/>
    <p:sldLayoutId id="2147484340" r:id="rId12"/>
    <p:sldLayoutId id="2147484339" r:id="rId13"/>
  </p:sldLayoutIdLst>
  <p:txStyles>
    <p:titleStyle>
      <a:lvl1pPr algn="l" rtl="0" eaLnBrk="0" fontAlgn="base" hangingPunct="0">
        <a:lnSpc>
          <a:spcPct val="80000"/>
        </a:lnSpc>
        <a:spcBef>
          <a:spcPct val="0"/>
        </a:spcBef>
        <a:spcAft>
          <a:spcPct val="0"/>
        </a:spcAft>
        <a:defRPr sz="2600" b="1">
          <a:solidFill>
            <a:schemeClr val="bg1"/>
          </a:solidFill>
          <a:latin typeface="+mj-lt"/>
          <a:ea typeface="Arial" charset="0"/>
          <a:cs typeface="+mj-cs"/>
        </a:defRPr>
      </a:lvl1pPr>
      <a:lvl2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2pPr>
      <a:lvl3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3pPr>
      <a:lvl4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4pPr>
      <a:lvl5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5pPr>
      <a:lvl6pPr marL="4572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6pPr>
      <a:lvl7pPr marL="9144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7pPr>
      <a:lvl8pPr marL="13716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8pPr>
      <a:lvl9pPr marL="18288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9pPr>
    </p:titleStyle>
    <p:bodyStyle>
      <a:lvl1pPr marL="342900" indent="-342900" algn="just" rtl="0" eaLnBrk="0" fontAlgn="base" hangingPunct="0">
        <a:lnSpc>
          <a:spcPct val="110000"/>
        </a:lnSpc>
        <a:spcBef>
          <a:spcPct val="20000"/>
        </a:spcBef>
        <a:spcAft>
          <a:spcPct val="10000"/>
        </a:spcAft>
        <a:buClr>
          <a:schemeClr val="accent1"/>
        </a:buClr>
        <a:buFont typeface="Franklin Gothic Medium" pitchFamily="34" charset="0"/>
        <a:buChar char="4"/>
        <a:defRPr sz="2000">
          <a:solidFill>
            <a:schemeClr val="tx1"/>
          </a:solidFill>
          <a:latin typeface="+mn-lt"/>
          <a:ea typeface="Arial" charset="0"/>
          <a:cs typeface="+mn-cs"/>
        </a:defRPr>
      </a:lvl1pPr>
      <a:lvl2pPr marL="812800" indent="-277813" algn="just" rtl="0" eaLnBrk="0" fontAlgn="base" hangingPunct="0">
        <a:lnSpc>
          <a:spcPct val="110000"/>
        </a:lnSpc>
        <a:spcBef>
          <a:spcPct val="20000"/>
        </a:spcBef>
        <a:spcAft>
          <a:spcPct val="10000"/>
        </a:spcAft>
        <a:buClr>
          <a:schemeClr val="accent1"/>
        </a:buClr>
        <a:buFont typeface="Franklin Gothic Medium" pitchFamily="34" charset="0"/>
        <a:buChar char="4"/>
        <a:defRPr sz="2800" b="1">
          <a:solidFill>
            <a:schemeClr val="tx1"/>
          </a:solidFill>
          <a:latin typeface="+mn-lt"/>
          <a:ea typeface="Arial" charset="0"/>
          <a:cs typeface="+mn-cs"/>
        </a:defRPr>
      </a:lvl2pPr>
      <a:lvl3pPr marL="1524000" indent="-266700" algn="just" rtl="0" eaLnBrk="0" fontAlgn="base" hangingPunct="0">
        <a:lnSpc>
          <a:spcPct val="110000"/>
        </a:lnSpc>
        <a:spcBef>
          <a:spcPct val="20000"/>
        </a:spcBef>
        <a:spcAft>
          <a:spcPct val="10000"/>
        </a:spcAft>
        <a:buClr>
          <a:schemeClr val="accent1"/>
        </a:buClr>
        <a:buFont typeface="Franklin Gothic Medium" pitchFamily="34" charset="0"/>
        <a:buChar char="4"/>
        <a:defRPr sz="2400">
          <a:solidFill>
            <a:schemeClr val="tx1"/>
          </a:solidFill>
          <a:latin typeface="+mn-lt"/>
          <a:ea typeface="Arial" charset="0"/>
          <a:cs typeface="+mn-cs"/>
        </a:defRPr>
      </a:lvl3pPr>
      <a:lvl4pPr marL="2157413" indent="-188913" algn="just" rtl="0" eaLnBrk="0" fontAlgn="base" hangingPunct="0">
        <a:lnSpc>
          <a:spcPct val="110000"/>
        </a:lnSpc>
        <a:spcBef>
          <a:spcPct val="20000"/>
        </a:spcBef>
        <a:spcAft>
          <a:spcPct val="10000"/>
        </a:spcAft>
        <a:buClr>
          <a:schemeClr val="accent1"/>
        </a:buClr>
        <a:buFont typeface="Franklin Gothic Medium" pitchFamily="34" charset="0"/>
        <a:buChar char="4"/>
        <a:defRPr sz="1600" b="1">
          <a:solidFill>
            <a:schemeClr val="tx1"/>
          </a:solidFill>
          <a:latin typeface="+mn-lt"/>
          <a:ea typeface="Arial" charset="0"/>
          <a:cs typeface="+mn-cs"/>
        </a:defRPr>
      </a:lvl4pPr>
      <a:lvl5pPr marL="2603500" indent="-177800" algn="just" rtl="0" eaLnBrk="0" fontAlgn="base" hangingPunct="0">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ea typeface="Arial" charset="0"/>
          <a:cs typeface="+mn-cs"/>
        </a:defRPr>
      </a:lvl5pPr>
      <a:lvl6pPr marL="30607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6pPr>
      <a:lvl7pPr marL="35179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7pPr>
      <a:lvl8pPr marL="39751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8pPr>
      <a:lvl9pPr marL="44323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53282" name="Picture 8" descr="TIM_MENTE_SEM_FRONTEIRAS_0803 0008"/>
          <p:cNvPicPr>
            <a:picLocks noChangeAspect="1" noChangeArrowheads="1"/>
          </p:cNvPicPr>
          <p:nvPr/>
        </p:nvPicPr>
        <p:blipFill>
          <a:blip r:embed="rId14" cstate="print"/>
          <a:srcRect/>
          <a:stretch>
            <a:fillRect/>
          </a:stretch>
        </p:blipFill>
        <p:spPr bwMode="auto">
          <a:xfrm>
            <a:off x="0" y="-12700"/>
            <a:ext cx="9906000" cy="896938"/>
          </a:xfrm>
          <a:prstGeom prst="rect">
            <a:avLst/>
          </a:prstGeom>
          <a:noFill/>
          <a:ln w="9525">
            <a:noFill/>
            <a:miter lim="800000"/>
            <a:headEnd/>
            <a:tailEnd/>
          </a:ln>
        </p:spPr>
      </p:pic>
      <p:sp>
        <p:nvSpPr>
          <p:cNvPr id="6147" name="Rectangle 2"/>
          <p:cNvSpPr>
            <a:spLocks noChangeArrowheads="1"/>
          </p:cNvSpPr>
          <p:nvPr/>
        </p:nvSpPr>
        <p:spPr bwMode="auto">
          <a:xfrm>
            <a:off x="0" y="0"/>
            <a:ext cx="9906000" cy="6851650"/>
          </a:xfrm>
          <a:prstGeom prst="rect">
            <a:avLst/>
          </a:prstGeom>
          <a:noFill/>
          <a:ln w="12700" cap="sq">
            <a:solidFill>
              <a:srgbClr val="595959"/>
            </a:solidFill>
            <a:miter lim="800000"/>
            <a:headEnd type="none" w="sm" len="sm"/>
            <a:tailEnd type="none" w="sm" len="sm"/>
          </a:ln>
        </p:spPr>
        <p:txBody>
          <a:bodyPr wrap="none" anchor="ctr"/>
          <a:lstStyle/>
          <a:p>
            <a:pPr algn="r" eaLnBrk="0" hangingPunct="0">
              <a:defRPr/>
            </a:pPr>
            <a:endParaRPr lang="pt-BR" sz="1000" b="0" i="1">
              <a:solidFill>
                <a:srgbClr val="004990"/>
              </a:solidFill>
              <a:latin typeface="Franklin Gothic Medium" charset="0"/>
            </a:endParaRPr>
          </a:p>
        </p:txBody>
      </p:sp>
      <p:sp>
        <p:nvSpPr>
          <p:cNvPr id="353284" name="Rectangle 13"/>
          <p:cNvSpPr>
            <a:spLocks noGrp="1" noChangeArrowheads="1"/>
          </p:cNvSpPr>
          <p:nvPr>
            <p:ph type="title"/>
          </p:nvPr>
        </p:nvSpPr>
        <p:spPr bwMode="auto">
          <a:xfrm>
            <a:off x="307983" y="227013"/>
            <a:ext cx="79803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it-IT" smtClean="0"/>
              <a:t>Click to edit Master title style</a:t>
            </a:r>
          </a:p>
        </p:txBody>
      </p:sp>
      <p:sp>
        <p:nvSpPr>
          <p:cNvPr id="6149" name="Rectangle 37"/>
          <p:cNvSpPr>
            <a:spLocks noChangeArrowheads="1"/>
          </p:cNvSpPr>
          <p:nvPr>
            <p:custDataLst>
              <p:tags r:id="rId13"/>
            </p:custDataLst>
          </p:nvPr>
        </p:nvSpPr>
        <p:spPr bwMode="auto">
          <a:xfrm>
            <a:off x="9631741" y="6597664"/>
            <a:ext cx="125034" cy="123111"/>
          </a:xfrm>
          <a:prstGeom prst="rect">
            <a:avLst/>
          </a:prstGeom>
          <a:noFill/>
          <a:ln w="9525">
            <a:noFill/>
            <a:miter lim="800000"/>
            <a:headEnd/>
            <a:tailEnd/>
          </a:ln>
        </p:spPr>
        <p:txBody>
          <a:bodyPr wrap="none" lIns="0" tIns="0" rIns="0" bIns="0">
            <a:spAutoFit/>
          </a:bodyPr>
          <a:lstStyle/>
          <a:p>
            <a:pPr algn="r" defTabSz="762000" eaLnBrk="0" hangingPunct="0">
              <a:defRPr/>
            </a:pPr>
            <a:fld id="{5E5B74B1-0F0B-4C55-B5D9-602528F4F006}" type="slidenum">
              <a:rPr lang="it-IT" sz="800" b="0">
                <a:solidFill>
                  <a:srgbClr val="8995B4"/>
                </a:solidFill>
              </a:rPr>
              <a:pPr algn="r" defTabSz="762000" eaLnBrk="0" hangingPunct="0">
                <a:defRPr/>
              </a:pPr>
              <a:t>‹nº›</a:t>
            </a:fld>
            <a:endParaRPr lang="it-IT" sz="800" b="0">
              <a:solidFill>
                <a:srgbClr val="8995B4"/>
              </a:solidFill>
            </a:endParaRPr>
          </a:p>
        </p:txBody>
      </p:sp>
      <p:pic>
        <p:nvPicPr>
          <p:cNvPr id="353286" name="Picture 10" descr="LogosTIM2009_VoceSemFronteiras"/>
          <p:cNvPicPr>
            <a:picLocks noChangeAspect="1" noChangeArrowheads="1"/>
          </p:cNvPicPr>
          <p:nvPr/>
        </p:nvPicPr>
        <p:blipFill>
          <a:blip r:embed="rId15" cstate="email">
            <a:clrChange>
              <a:clrFrom>
                <a:srgbClr val="000000"/>
              </a:clrFrom>
              <a:clrTo>
                <a:srgbClr val="000000">
                  <a:alpha val="0"/>
                </a:srgbClr>
              </a:clrTo>
            </a:clrChange>
            <a:extLst>
              <a:ext uri="{28A0092B-C50C-407E-A947-70E740481C1C}">
                <a14:useLocalDpi xmlns="" xmlns:a14="http://schemas.microsoft.com/office/drawing/2010/main"/>
              </a:ext>
            </a:extLst>
          </a:blip>
          <a:srcRect/>
          <a:stretch>
            <a:fillRect/>
          </a:stretch>
        </p:blipFill>
        <p:spPr bwMode="auto">
          <a:xfrm>
            <a:off x="8374063" y="131766"/>
            <a:ext cx="1249362" cy="61753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362" r:id="rId1"/>
    <p:sldLayoutId id="2147484361" r:id="rId2"/>
    <p:sldLayoutId id="2147484360" r:id="rId3"/>
    <p:sldLayoutId id="2147484359" r:id="rId4"/>
    <p:sldLayoutId id="2147484358" r:id="rId5"/>
    <p:sldLayoutId id="2147484357" r:id="rId6"/>
    <p:sldLayoutId id="2147484356" r:id="rId7"/>
    <p:sldLayoutId id="2147484355" r:id="rId8"/>
    <p:sldLayoutId id="2147484354" r:id="rId9"/>
    <p:sldLayoutId id="2147484353" r:id="rId10"/>
    <p:sldLayoutId id="2147484352" r:id="rId11"/>
  </p:sldLayoutIdLst>
  <p:txStyles>
    <p:titleStyle>
      <a:lvl1pPr algn="l" rtl="0" eaLnBrk="0" fontAlgn="base" hangingPunct="0">
        <a:lnSpc>
          <a:spcPct val="80000"/>
        </a:lnSpc>
        <a:spcBef>
          <a:spcPct val="0"/>
        </a:spcBef>
        <a:spcAft>
          <a:spcPct val="0"/>
        </a:spcAft>
        <a:defRPr sz="2600" b="1">
          <a:solidFill>
            <a:schemeClr val="bg1"/>
          </a:solidFill>
          <a:latin typeface="+mj-lt"/>
          <a:ea typeface="+mj-ea"/>
          <a:cs typeface="+mj-cs"/>
        </a:defRPr>
      </a:lvl1pPr>
      <a:lvl2pPr algn="l" rtl="0" eaLnBrk="0" fontAlgn="base" hangingPunct="0">
        <a:lnSpc>
          <a:spcPct val="80000"/>
        </a:lnSpc>
        <a:spcBef>
          <a:spcPct val="0"/>
        </a:spcBef>
        <a:spcAft>
          <a:spcPct val="0"/>
        </a:spcAft>
        <a:defRPr sz="2600" b="1">
          <a:solidFill>
            <a:schemeClr val="bg1"/>
          </a:solidFill>
          <a:latin typeface="Franklin Gothic Medium" pitchFamily="34" charset="0"/>
          <a:cs typeface="Arial" charset="0"/>
        </a:defRPr>
      </a:lvl2pPr>
      <a:lvl3pPr algn="l" rtl="0" eaLnBrk="0" fontAlgn="base" hangingPunct="0">
        <a:lnSpc>
          <a:spcPct val="80000"/>
        </a:lnSpc>
        <a:spcBef>
          <a:spcPct val="0"/>
        </a:spcBef>
        <a:spcAft>
          <a:spcPct val="0"/>
        </a:spcAft>
        <a:defRPr sz="2600" b="1">
          <a:solidFill>
            <a:schemeClr val="bg1"/>
          </a:solidFill>
          <a:latin typeface="Franklin Gothic Medium" pitchFamily="34" charset="0"/>
          <a:cs typeface="Arial" charset="0"/>
        </a:defRPr>
      </a:lvl3pPr>
      <a:lvl4pPr algn="l" rtl="0" eaLnBrk="0" fontAlgn="base" hangingPunct="0">
        <a:lnSpc>
          <a:spcPct val="80000"/>
        </a:lnSpc>
        <a:spcBef>
          <a:spcPct val="0"/>
        </a:spcBef>
        <a:spcAft>
          <a:spcPct val="0"/>
        </a:spcAft>
        <a:defRPr sz="2600" b="1">
          <a:solidFill>
            <a:schemeClr val="bg1"/>
          </a:solidFill>
          <a:latin typeface="Franklin Gothic Medium" pitchFamily="34" charset="0"/>
          <a:cs typeface="Arial" charset="0"/>
        </a:defRPr>
      </a:lvl4pPr>
      <a:lvl5pPr algn="l" rtl="0" eaLnBrk="0" fontAlgn="base" hangingPunct="0">
        <a:lnSpc>
          <a:spcPct val="80000"/>
        </a:lnSpc>
        <a:spcBef>
          <a:spcPct val="0"/>
        </a:spcBef>
        <a:spcAft>
          <a:spcPct val="0"/>
        </a:spcAft>
        <a:defRPr sz="2600" b="1">
          <a:solidFill>
            <a:schemeClr val="bg1"/>
          </a:solidFill>
          <a:latin typeface="Franklin Gothic Medium" pitchFamily="34" charset="0"/>
          <a:cs typeface="Arial" charset="0"/>
        </a:defRPr>
      </a:lvl5pPr>
      <a:lvl6pPr marL="457200" algn="l" rtl="0" fontAlgn="base">
        <a:lnSpc>
          <a:spcPct val="80000"/>
        </a:lnSpc>
        <a:spcBef>
          <a:spcPct val="0"/>
        </a:spcBef>
        <a:spcAft>
          <a:spcPct val="0"/>
        </a:spcAft>
        <a:defRPr sz="2600" b="1">
          <a:solidFill>
            <a:schemeClr val="bg1"/>
          </a:solidFill>
          <a:latin typeface="Franklin Gothic Medium" pitchFamily="34" charset="0"/>
          <a:cs typeface="Arial" charset="0"/>
        </a:defRPr>
      </a:lvl6pPr>
      <a:lvl7pPr marL="914400" algn="l" rtl="0" fontAlgn="base">
        <a:lnSpc>
          <a:spcPct val="80000"/>
        </a:lnSpc>
        <a:spcBef>
          <a:spcPct val="0"/>
        </a:spcBef>
        <a:spcAft>
          <a:spcPct val="0"/>
        </a:spcAft>
        <a:defRPr sz="2600" b="1">
          <a:solidFill>
            <a:schemeClr val="bg1"/>
          </a:solidFill>
          <a:latin typeface="Franklin Gothic Medium" pitchFamily="34" charset="0"/>
          <a:cs typeface="Arial" charset="0"/>
        </a:defRPr>
      </a:lvl7pPr>
      <a:lvl8pPr marL="1371600" algn="l" rtl="0" fontAlgn="base">
        <a:lnSpc>
          <a:spcPct val="80000"/>
        </a:lnSpc>
        <a:spcBef>
          <a:spcPct val="0"/>
        </a:spcBef>
        <a:spcAft>
          <a:spcPct val="0"/>
        </a:spcAft>
        <a:defRPr sz="2600" b="1">
          <a:solidFill>
            <a:schemeClr val="bg1"/>
          </a:solidFill>
          <a:latin typeface="Franklin Gothic Medium" pitchFamily="34" charset="0"/>
          <a:cs typeface="Arial" charset="0"/>
        </a:defRPr>
      </a:lvl8pPr>
      <a:lvl9pPr marL="1828800" algn="l" rtl="0" fontAlgn="base">
        <a:lnSpc>
          <a:spcPct val="80000"/>
        </a:lnSpc>
        <a:spcBef>
          <a:spcPct val="0"/>
        </a:spcBef>
        <a:spcAft>
          <a:spcPct val="0"/>
        </a:spcAft>
        <a:defRPr sz="2600" b="1">
          <a:solidFill>
            <a:schemeClr val="bg1"/>
          </a:solidFill>
          <a:latin typeface="Franklin Gothic Medium" pitchFamily="34" charset="0"/>
          <a:cs typeface="Arial" charset="0"/>
        </a:defRPr>
      </a:lvl9pPr>
    </p:titleStyle>
    <p:bodyStyle>
      <a:lvl1pPr marL="342900" indent="-342900" algn="just" rtl="0" eaLnBrk="0" fontAlgn="base" hangingPunct="0">
        <a:lnSpc>
          <a:spcPct val="110000"/>
        </a:lnSpc>
        <a:spcBef>
          <a:spcPct val="20000"/>
        </a:spcBef>
        <a:spcAft>
          <a:spcPct val="10000"/>
        </a:spcAft>
        <a:buClr>
          <a:schemeClr val="accent1"/>
        </a:buClr>
        <a:buFont typeface="Franklin Gothic Medium" pitchFamily="34" charset="0"/>
        <a:buChar char="4"/>
        <a:defRPr sz="2000">
          <a:solidFill>
            <a:schemeClr val="tx1"/>
          </a:solidFill>
          <a:latin typeface="+mn-lt"/>
          <a:ea typeface="+mn-ea"/>
          <a:cs typeface="+mn-cs"/>
        </a:defRPr>
      </a:lvl1pPr>
      <a:lvl2pPr marL="812800" indent="-277813" algn="just" rtl="0" eaLnBrk="0" fontAlgn="base" hangingPunct="0">
        <a:lnSpc>
          <a:spcPct val="110000"/>
        </a:lnSpc>
        <a:spcBef>
          <a:spcPct val="20000"/>
        </a:spcBef>
        <a:spcAft>
          <a:spcPct val="10000"/>
        </a:spcAft>
        <a:buClr>
          <a:schemeClr val="accent1"/>
        </a:buClr>
        <a:buFont typeface="Franklin Gothic Medium" pitchFamily="34" charset="0"/>
        <a:buChar char="4"/>
        <a:defRPr sz="2800" b="1">
          <a:solidFill>
            <a:schemeClr val="tx1"/>
          </a:solidFill>
          <a:latin typeface="+mn-lt"/>
          <a:cs typeface="+mn-cs"/>
        </a:defRPr>
      </a:lvl2pPr>
      <a:lvl3pPr marL="1524000" indent="-266700" algn="just" rtl="0" eaLnBrk="0" fontAlgn="base" hangingPunct="0">
        <a:lnSpc>
          <a:spcPct val="110000"/>
        </a:lnSpc>
        <a:spcBef>
          <a:spcPct val="20000"/>
        </a:spcBef>
        <a:spcAft>
          <a:spcPct val="10000"/>
        </a:spcAft>
        <a:buClr>
          <a:schemeClr val="accent1"/>
        </a:buClr>
        <a:buFont typeface="Franklin Gothic Medium" pitchFamily="34" charset="0"/>
        <a:buChar char="4"/>
        <a:defRPr sz="2400">
          <a:solidFill>
            <a:schemeClr val="tx1"/>
          </a:solidFill>
          <a:latin typeface="+mn-lt"/>
          <a:cs typeface="+mn-cs"/>
        </a:defRPr>
      </a:lvl3pPr>
      <a:lvl4pPr marL="2157413" indent="-188913" algn="just" rtl="0" eaLnBrk="0" fontAlgn="base" hangingPunct="0">
        <a:lnSpc>
          <a:spcPct val="110000"/>
        </a:lnSpc>
        <a:spcBef>
          <a:spcPct val="20000"/>
        </a:spcBef>
        <a:spcAft>
          <a:spcPct val="10000"/>
        </a:spcAft>
        <a:buClr>
          <a:schemeClr val="accent1"/>
        </a:buClr>
        <a:buFont typeface="Franklin Gothic Medium" pitchFamily="34" charset="0"/>
        <a:buChar char="4"/>
        <a:defRPr sz="1600" b="1">
          <a:solidFill>
            <a:schemeClr val="tx1"/>
          </a:solidFill>
          <a:latin typeface="+mn-lt"/>
          <a:cs typeface="+mn-cs"/>
        </a:defRPr>
      </a:lvl4pPr>
      <a:lvl5pPr marL="2603500" indent="-177800" algn="just" rtl="0" eaLnBrk="0" fontAlgn="base" hangingPunct="0">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5pPr>
      <a:lvl6pPr marL="30607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6pPr>
      <a:lvl7pPr marL="35179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7pPr>
      <a:lvl8pPr marL="39751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8pPr>
      <a:lvl9pPr marL="44323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65570" name="Picture 7" descr="6505_PAPELARIA_RP-3Q10.jpg"/>
          <p:cNvPicPr>
            <a:picLocks noChangeAspect="1"/>
          </p:cNvPicPr>
          <p:nvPr/>
        </p:nvPicPr>
        <p:blipFill>
          <a:blip r:embed="rId13" cstate="print"/>
          <a:srcRect/>
          <a:stretch>
            <a:fillRect/>
          </a:stretch>
        </p:blipFill>
        <p:spPr bwMode="auto">
          <a:xfrm>
            <a:off x="0" y="0"/>
            <a:ext cx="9906000" cy="68580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372" r:id="rId1"/>
    <p:sldLayoutId id="2147484371" r:id="rId2"/>
    <p:sldLayoutId id="2147484370" r:id="rId3"/>
    <p:sldLayoutId id="2147484369" r:id="rId4"/>
    <p:sldLayoutId id="2147484368" r:id="rId5"/>
    <p:sldLayoutId id="2147484367" r:id="rId6"/>
    <p:sldLayoutId id="2147484417" r:id="rId7"/>
    <p:sldLayoutId id="2147484366" r:id="rId8"/>
    <p:sldLayoutId id="2147484365" r:id="rId9"/>
    <p:sldLayoutId id="2147484364" r:id="rId10"/>
    <p:sldLayoutId id="2147484363" r:id="rId11"/>
  </p:sldLayoutIdLst>
  <p:timing>
    <p:tnLst>
      <p:par>
        <p:cTn id="1" dur="indefinite" restart="never" nodeType="tmRoot"/>
      </p:par>
    </p:tnLst>
  </p:timing>
  <p:txStyles>
    <p:titleStyle>
      <a:lvl1pPr algn="l" rtl="0" eaLnBrk="0" fontAlgn="base" hangingPunct="0">
        <a:lnSpc>
          <a:spcPct val="80000"/>
        </a:lnSpc>
        <a:spcBef>
          <a:spcPct val="0"/>
        </a:spcBef>
        <a:spcAft>
          <a:spcPct val="0"/>
        </a:spcAft>
        <a:defRPr sz="2200" b="1">
          <a:solidFill>
            <a:srgbClr val="EE1C23"/>
          </a:solidFill>
          <a:latin typeface="+mj-lt"/>
          <a:ea typeface="Arial" charset="0"/>
          <a:cs typeface="+mj-cs"/>
        </a:defRPr>
      </a:lvl1pPr>
      <a:lvl2pPr algn="l" rtl="0" eaLnBrk="0" fontAlgn="base" hangingPunct="0">
        <a:lnSpc>
          <a:spcPct val="80000"/>
        </a:lnSpc>
        <a:spcBef>
          <a:spcPct val="0"/>
        </a:spcBef>
        <a:spcAft>
          <a:spcPct val="0"/>
        </a:spcAft>
        <a:defRPr sz="2200" b="1">
          <a:solidFill>
            <a:srgbClr val="EE1C23"/>
          </a:solidFill>
          <a:latin typeface="Franklin Gothic Medium" pitchFamily="34" charset="0"/>
          <a:ea typeface="Arial" charset="0"/>
          <a:cs typeface="Arial" charset="0"/>
        </a:defRPr>
      </a:lvl2pPr>
      <a:lvl3pPr algn="l" rtl="0" eaLnBrk="0" fontAlgn="base" hangingPunct="0">
        <a:lnSpc>
          <a:spcPct val="80000"/>
        </a:lnSpc>
        <a:spcBef>
          <a:spcPct val="0"/>
        </a:spcBef>
        <a:spcAft>
          <a:spcPct val="0"/>
        </a:spcAft>
        <a:defRPr sz="2200" b="1">
          <a:solidFill>
            <a:srgbClr val="EE1C23"/>
          </a:solidFill>
          <a:latin typeface="Franklin Gothic Medium" pitchFamily="34" charset="0"/>
          <a:ea typeface="Arial" charset="0"/>
          <a:cs typeface="Arial" charset="0"/>
        </a:defRPr>
      </a:lvl3pPr>
      <a:lvl4pPr algn="l" rtl="0" eaLnBrk="0" fontAlgn="base" hangingPunct="0">
        <a:lnSpc>
          <a:spcPct val="80000"/>
        </a:lnSpc>
        <a:spcBef>
          <a:spcPct val="0"/>
        </a:spcBef>
        <a:spcAft>
          <a:spcPct val="0"/>
        </a:spcAft>
        <a:defRPr sz="2200" b="1">
          <a:solidFill>
            <a:srgbClr val="EE1C23"/>
          </a:solidFill>
          <a:latin typeface="Franklin Gothic Medium" pitchFamily="34" charset="0"/>
          <a:ea typeface="Arial" charset="0"/>
          <a:cs typeface="Arial" charset="0"/>
        </a:defRPr>
      </a:lvl4pPr>
      <a:lvl5pPr algn="l" rtl="0" eaLnBrk="0" fontAlgn="base" hangingPunct="0">
        <a:lnSpc>
          <a:spcPct val="80000"/>
        </a:lnSpc>
        <a:spcBef>
          <a:spcPct val="0"/>
        </a:spcBef>
        <a:spcAft>
          <a:spcPct val="0"/>
        </a:spcAft>
        <a:defRPr sz="2200" b="1">
          <a:solidFill>
            <a:srgbClr val="EE1C23"/>
          </a:solidFill>
          <a:latin typeface="Franklin Gothic Medium" pitchFamily="34" charset="0"/>
          <a:ea typeface="Arial" charset="0"/>
          <a:cs typeface="Arial" charset="0"/>
        </a:defRPr>
      </a:lvl5pPr>
      <a:lvl6pPr marL="457200" algn="l" rtl="0" fontAlgn="base">
        <a:lnSpc>
          <a:spcPct val="80000"/>
        </a:lnSpc>
        <a:spcBef>
          <a:spcPct val="0"/>
        </a:spcBef>
        <a:spcAft>
          <a:spcPct val="0"/>
        </a:spcAft>
        <a:defRPr sz="2200" b="1">
          <a:solidFill>
            <a:srgbClr val="EE1C23"/>
          </a:solidFill>
          <a:latin typeface="Franklin Gothic Medium" pitchFamily="34" charset="0"/>
          <a:cs typeface="Arial" charset="0"/>
        </a:defRPr>
      </a:lvl6pPr>
      <a:lvl7pPr marL="914400" algn="l" rtl="0" fontAlgn="base">
        <a:lnSpc>
          <a:spcPct val="80000"/>
        </a:lnSpc>
        <a:spcBef>
          <a:spcPct val="0"/>
        </a:spcBef>
        <a:spcAft>
          <a:spcPct val="0"/>
        </a:spcAft>
        <a:defRPr sz="2200" b="1">
          <a:solidFill>
            <a:srgbClr val="EE1C23"/>
          </a:solidFill>
          <a:latin typeface="Franklin Gothic Medium" pitchFamily="34" charset="0"/>
          <a:cs typeface="Arial" charset="0"/>
        </a:defRPr>
      </a:lvl7pPr>
      <a:lvl8pPr marL="1371600" algn="l" rtl="0" fontAlgn="base">
        <a:lnSpc>
          <a:spcPct val="80000"/>
        </a:lnSpc>
        <a:spcBef>
          <a:spcPct val="0"/>
        </a:spcBef>
        <a:spcAft>
          <a:spcPct val="0"/>
        </a:spcAft>
        <a:defRPr sz="2200" b="1">
          <a:solidFill>
            <a:srgbClr val="EE1C23"/>
          </a:solidFill>
          <a:latin typeface="Franklin Gothic Medium" pitchFamily="34" charset="0"/>
          <a:cs typeface="Arial" charset="0"/>
        </a:defRPr>
      </a:lvl8pPr>
      <a:lvl9pPr marL="1828800" algn="l" rtl="0" fontAlgn="base">
        <a:lnSpc>
          <a:spcPct val="80000"/>
        </a:lnSpc>
        <a:spcBef>
          <a:spcPct val="0"/>
        </a:spcBef>
        <a:spcAft>
          <a:spcPct val="0"/>
        </a:spcAft>
        <a:defRPr sz="2200" b="1">
          <a:solidFill>
            <a:srgbClr val="EE1C23"/>
          </a:solidFill>
          <a:latin typeface="Franklin Gothic Medium" pitchFamily="34" charset="0"/>
          <a:cs typeface="Arial" charset="0"/>
        </a:defRPr>
      </a:lvl9pPr>
    </p:titleStyle>
    <p:bodyStyle>
      <a:lvl1pPr marL="342900" indent="-342900" algn="just" rtl="0" eaLnBrk="0" fontAlgn="base" hangingPunct="0">
        <a:lnSpc>
          <a:spcPct val="110000"/>
        </a:lnSpc>
        <a:spcBef>
          <a:spcPct val="20000"/>
        </a:spcBef>
        <a:spcAft>
          <a:spcPct val="10000"/>
        </a:spcAft>
        <a:buClr>
          <a:schemeClr val="accent1"/>
        </a:buClr>
        <a:buFont typeface="Franklin Gothic Medium" pitchFamily="34" charset="0"/>
        <a:buChar char="4"/>
        <a:defRPr sz="2000">
          <a:solidFill>
            <a:schemeClr val="tx1"/>
          </a:solidFill>
          <a:latin typeface="+mn-lt"/>
          <a:ea typeface="Arial" charset="0"/>
          <a:cs typeface="+mn-cs"/>
        </a:defRPr>
      </a:lvl1pPr>
      <a:lvl2pPr marL="812800" indent="-277813" algn="just" rtl="0" eaLnBrk="0" fontAlgn="base" hangingPunct="0">
        <a:lnSpc>
          <a:spcPct val="110000"/>
        </a:lnSpc>
        <a:spcBef>
          <a:spcPct val="20000"/>
        </a:spcBef>
        <a:spcAft>
          <a:spcPct val="10000"/>
        </a:spcAft>
        <a:buClr>
          <a:schemeClr val="accent1"/>
        </a:buClr>
        <a:buFont typeface="Franklin Gothic Medium" pitchFamily="34" charset="0"/>
        <a:buChar char="4"/>
        <a:defRPr sz="2800" b="1">
          <a:solidFill>
            <a:schemeClr val="tx1"/>
          </a:solidFill>
          <a:latin typeface="+mn-lt"/>
          <a:ea typeface="Arial" charset="0"/>
          <a:cs typeface="+mn-cs"/>
        </a:defRPr>
      </a:lvl2pPr>
      <a:lvl3pPr marL="1524000" indent="-266700" algn="just" rtl="0" eaLnBrk="0" fontAlgn="base" hangingPunct="0">
        <a:lnSpc>
          <a:spcPct val="110000"/>
        </a:lnSpc>
        <a:spcBef>
          <a:spcPct val="20000"/>
        </a:spcBef>
        <a:spcAft>
          <a:spcPct val="10000"/>
        </a:spcAft>
        <a:buClr>
          <a:schemeClr val="accent1"/>
        </a:buClr>
        <a:buFont typeface="Franklin Gothic Medium" pitchFamily="34" charset="0"/>
        <a:buChar char="4"/>
        <a:defRPr sz="2400">
          <a:solidFill>
            <a:schemeClr val="tx1"/>
          </a:solidFill>
          <a:latin typeface="+mn-lt"/>
          <a:ea typeface="Arial" charset="0"/>
          <a:cs typeface="+mn-cs"/>
        </a:defRPr>
      </a:lvl3pPr>
      <a:lvl4pPr marL="2157413" indent="-188913" algn="just" rtl="0" eaLnBrk="0" fontAlgn="base" hangingPunct="0">
        <a:lnSpc>
          <a:spcPct val="110000"/>
        </a:lnSpc>
        <a:spcBef>
          <a:spcPct val="20000"/>
        </a:spcBef>
        <a:spcAft>
          <a:spcPct val="10000"/>
        </a:spcAft>
        <a:buClr>
          <a:schemeClr val="accent1"/>
        </a:buClr>
        <a:buFont typeface="Franklin Gothic Medium" pitchFamily="34" charset="0"/>
        <a:buChar char="4"/>
        <a:defRPr sz="1600" b="1">
          <a:solidFill>
            <a:schemeClr val="tx1"/>
          </a:solidFill>
          <a:latin typeface="+mn-lt"/>
          <a:ea typeface="Arial" charset="0"/>
          <a:cs typeface="+mn-cs"/>
        </a:defRPr>
      </a:lvl4pPr>
      <a:lvl5pPr marL="2603500" indent="-177800" algn="just" rtl="0" eaLnBrk="0" fontAlgn="base" hangingPunct="0">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ea typeface="Arial" charset="0"/>
          <a:cs typeface="+mn-cs"/>
        </a:defRPr>
      </a:lvl5pPr>
      <a:lvl6pPr marL="30607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6pPr>
      <a:lvl7pPr marL="35179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7pPr>
      <a:lvl8pPr marL="39751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8pPr>
      <a:lvl9pPr marL="44323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77858" name="Picture 7" descr="TIM_MENTE_SEM_FRONTEIRAS_0803 0008"/>
          <p:cNvPicPr>
            <a:picLocks noChangeAspect="1" noChangeArrowheads="1"/>
          </p:cNvPicPr>
          <p:nvPr/>
        </p:nvPicPr>
        <p:blipFill>
          <a:blip r:embed="rId13" cstate="email">
            <a:extLst>
              <a:ext uri="{28A0092B-C50C-407E-A947-70E740481C1C}">
                <a14:useLocalDpi xmlns="" xmlns:a14="http://schemas.microsoft.com/office/drawing/2010/main"/>
              </a:ext>
            </a:extLst>
          </a:blip>
          <a:srcRect/>
          <a:stretch>
            <a:fillRect/>
          </a:stretch>
        </p:blipFill>
        <p:spPr bwMode="auto">
          <a:xfrm>
            <a:off x="0" y="3175"/>
            <a:ext cx="5473700" cy="6854825"/>
          </a:xfrm>
          <a:prstGeom prst="rect">
            <a:avLst/>
          </a:prstGeom>
          <a:noFill/>
          <a:ln w="9525">
            <a:noFill/>
            <a:miter lim="800000"/>
            <a:headEnd/>
            <a:tailEnd/>
          </a:ln>
        </p:spPr>
      </p:pic>
      <p:pic>
        <p:nvPicPr>
          <p:cNvPr id="377859" name="Picture 8" descr="0,2166,24304,00"/>
          <p:cNvPicPr>
            <a:picLocks noChangeAspect="1" noChangeArrowheads="1"/>
          </p:cNvPicPr>
          <p:nvPr/>
        </p:nvPicPr>
        <p:blipFill>
          <a:blip r:embed="rId14" cstate="email">
            <a:extLst>
              <a:ext uri="{28A0092B-C50C-407E-A947-70E740481C1C}">
                <a14:useLocalDpi xmlns="" xmlns:a14="http://schemas.microsoft.com/office/drawing/2010/main"/>
              </a:ext>
            </a:extLst>
          </a:blip>
          <a:srcRect/>
          <a:stretch>
            <a:fillRect/>
          </a:stretch>
        </p:blipFill>
        <p:spPr bwMode="auto">
          <a:xfrm>
            <a:off x="6837363" y="835036"/>
            <a:ext cx="1974850" cy="798513"/>
          </a:xfrm>
          <a:prstGeom prst="rect">
            <a:avLst/>
          </a:prstGeom>
          <a:noFill/>
          <a:ln w="9525">
            <a:noFill/>
            <a:miter lim="800000"/>
            <a:headEnd/>
            <a:tailEnd/>
          </a:ln>
        </p:spPr>
      </p:pic>
      <p:sp>
        <p:nvSpPr>
          <p:cNvPr id="5345282" name="Rectangle 2"/>
          <p:cNvSpPr>
            <a:spLocks noChangeArrowheads="1"/>
          </p:cNvSpPr>
          <p:nvPr/>
        </p:nvSpPr>
        <p:spPr bwMode="auto">
          <a:xfrm>
            <a:off x="0" y="0"/>
            <a:ext cx="9906000" cy="6851650"/>
          </a:xfrm>
          <a:prstGeom prst="rect">
            <a:avLst/>
          </a:prstGeom>
          <a:noFill/>
          <a:ln w="12700" cap="sq">
            <a:solidFill>
              <a:srgbClr val="595959"/>
            </a:solidFill>
            <a:miter lim="800000"/>
            <a:headEnd type="none" w="sm" len="sm"/>
            <a:tailEnd type="none" w="sm" len="sm"/>
          </a:ln>
          <a:effectLst/>
        </p:spPr>
        <p:txBody>
          <a:bodyPr wrap="none" anchor="ctr"/>
          <a:lstStyle/>
          <a:p>
            <a:pPr algn="r" eaLnBrk="0" hangingPunct="0">
              <a:defRPr/>
            </a:pPr>
            <a:endParaRPr lang="pt-BR" sz="1000" b="0" i="1">
              <a:solidFill>
                <a:srgbClr val="004990"/>
              </a:solidFill>
              <a:latin typeface="Franklin Gothic Medium" pitchFamily="34" charset="0"/>
            </a:endParaRPr>
          </a:p>
        </p:txBody>
      </p:sp>
    </p:spTree>
  </p:cSld>
  <p:clrMap bg1="lt1" tx1="dk1" bg2="lt2" tx2="dk2" accent1="accent1" accent2="accent2" accent3="accent3" accent4="accent4" accent5="accent5" accent6="accent6" hlink="hlink" folHlink="folHlink"/>
  <p:sldLayoutIdLst>
    <p:sldLayoutId id="2147484383" r:id="rId1"/>
    <p:sldLayoutId id="2147484382" r:id="rId2"/>
    <p:sldLayoutId id="2147484381" r:id="rId3"/>
    <p:sldLayoutId id="2147484380" r:id="rId4"/>
    <p:sldLayoutId id="2147484379" r:id="rId5"/>
    <p:sldLayoutId id="2147484378" r:id="rId6"/>
    <p:sldLayoutId id="2147484377" r:id="rId7"/>
    <p:sldLayoutId id="2147484376" r:id="rId8"/>
    <p:sldLayoutId id="2147484375" r:id="rId9"/>
    <p:sldLayoutId id="2147484374" r:id="rId10"/>
    <p:sldLayoutId id="2147484373" r:id="rId11"/>
  </p:sldLayoutIdLst>
  <p:txStyles>
    <p:titleStyle>
      <a:lvl1pPr algn="l" rtl="0" eaLnBrk="0" fontAlgn="base" hangingPunct="0">
        <a:lnSpc>
          <a:spcPct val="80000"/>
        </a:lnSpc>
        <a:spcBef>
          <a:spcPct val="0"/>
        </a:spcBef>
        <a:spcAft>
          <a:spcPct val="0"/>
        </a:spcAft>
        <a:defRPr sz="2200" b="1">
          <a:solidFill>
            <a:srgbClr val="EE1C23"/>
          </a:solidFill>
          <a:latin typeface="+mj-lt"/>
          <a:ea typeface="+mj-ea"/>
          <a:cs typeface="+mj-cs"/>
        </a:defRPr>
      </a:lvl1pPr>
      <a:lvl2pPr algn="l" rtl="0" eaLnBrk="0" fontAlgn="base" hangingPunct="0">
        <a:lnSpc>
          <a:spcPct val="80000"/>
        </a:lnSpc>
        <a:spcBef>
          <a:spcPct val="0"/>
        </a:spcBef>
        <a:spcAft>
          <a:spcPct val="0"/>
        </a:spcAft>
        <a:defRPr sz="2200" b="1">
          <a:solidFill>
            <a:srgbClr val="EE1C23"/>
          </a:solidFill>
          <a:latin typeface="Franklin Gothic Medium" pitchFamily="34" charset="0"/>
          <a:cs typeface="Arial" pitchFamily="34" charset="0"/>
        </a:defRPr>
      </a:lvl2pPr>
      <a:lvl3pPr algn="l" rtl="0" eaLnBrk="0" fontAlgn="base" hangingPunct="0">
        <a:lnSpc>
          <a:spcPct val="80000"/>
        </a:lnSpc>
        <a:spcBef>
          <a:spcPct val="0"/>
        </a:spcBef>
        <a:spcAft>
          <a:spcPct val="0"/>
        </a:spcAft>
        <a:defRPr sz="2200" b="1">
          <a:solidFill>
            <a:srgbClr val="EE1C23"/>
          </a:solidFill>
          <a:latin typeface="Franklin Gothic Medium" pitchFamily="34" charset="0"/>
          <a:cs typeface="Arial" pitchFamily="34" charset="0"/>
        </a:defRPr>
      </a:lvl3pPr>
      <a:lvl4pPr algn="l" rtl="0" eaLnBrk="0" fontAlgn="base" hangingPunct="0">
        <a:lnSpc>
          <a:spcPct val="80000"/>
        </a:lnSpc>
        <a:spcBef>
          <a:spcPct val="0"/>
        </a:spcBef>
        <a:spcAft>
          <a:spcPct val="0"/>
        </a:spcAft>
        <a:defRPr sz="2200" b="1">
          <a:solidFill>
            <a:srgbClr val="EE1C23"/>
          </a:solidFill>
          <a:latin typeface="Franklin Gothic Medium" pitchFamily="34" charset="0"/>
          <a:cs typeface="Arial" pitchFamily="34" charset="0"/>
        </a:defRPr>
      </a:lvl4pPr>
      <a:lvl5pPr algn="l" rtl="0" eaLnBrk="0" fontAlgn="base" hangingPunct="0">
        <a:lnSpc>
          <a:spcPct val="80000"/>
        </a:lnSpc>
        <a:spcBef>
          <a:spcPct val="0"/>
        </a:spcBef>
        <a:spcAft>
          <a:spcPct val="0"/>
        </a:spcAft>
        <a:defRPr sz="2200" b="1">
          <a:solidFill>
            <a:srgbClr val="EE1C23"/>
          </a:solidFill>
          <a:latin typeface="Franklin Gothic Medium" pitchFamily="34" charset="0"/>
          <a:cs typeface="Arial" pitchFamily="34" charset="0"/>
        </a:defRPr>
      </a:lvl5pPr>
      <a:lvl6pPr marL="457200" algn="l" rtl="0" fontAlgn="base">
        <a:lnSpc>
          <a:spcPct val="80000"/>
        </a:lnSpc>
        <a:spcBef>
          <a:spcPct val="0"/>
        </a:spcBef>
        <a:spcAft>
          <a:spcPct val="0"/>
        </a:spcAft>
        <a:defRPr sz="2200" b="1">
          <a:solidFill>
            <a:srgbClr val="EE1C23"/>
          </a:solidFill>
          <a:latin typeface="Franklin Gothic Medium" pitchFamily="34" charset="0"/>
          <a:cs typeface="Arial" pitchFamily="34" charset="0"/>
        </a:defRPr>
      </a:lvl6pPr>
      <a:lvl7pPr marL="914400" algn="l" rtl="0" fontAlgn="base">
        <a:lnSpc>
          <a:spcPct val="80000"/>
        </a:lnSpc>
        <a:spcBef>
          <a:spcPct val="0"/>
        </a:spcBef>
        <a:spcAft>
          <a:spcPct val="0"/>
        </a:spcAft>
        <a:defRPr sz="2200" b="1">
          <a:solidFill>
            <a:srgbClr val="EE1C23"/>
          </a:solidFill>
          <a:latin typeface="Franklin Gothic Medium" pitchFamily="34" charset="0"/>
          <a:cs typeface="Arial" pitchFamily="34" charset="0"/>
        </a:defRPr>
      </a:lvl7pPr>
      <a:lvl8pPr marL="1371600" algn="l" rtl="0" fontAlgn="base">
        <a:lnSpc>
          <a:spcPct val="80000"/>
        </a:lnSpc>
        <a:spcBef>
          <a:spcPct val="0"/>
        </a:spcBef>
        <a:spcAft>
          <a:spcPct val="0"/>
        </a:spcAft>
        <a:defRPr sz="2200" b="1">
          <a:solidFill>
            <a:srgbClr val="EE1C23"/>
          </a:solidFill>
          <a:latin typeface="Franklin Gothic Medium" pitchFamily="34" charset="0"/>
          <a:cs typeface="Arial" pitchFamily="34" charset="0"/>
        </a:defRPr>
      </a:lvl8pPr>
      <a:lvl9pPr marL="1828800" algn="l" rtl="0" fontAlgn="base">
        <a:lnSpc>
          <a:spcPct val="80000"/>
        </a:lnSpc>
        <a:spcBef>
          <a:spcPct val="0"/>
        </a:spcBef>
        <a:spcAft>
          <a:spcPct val="0"/>
        </a:spcAft>
        <a:defRPr sz="2200" b="1">
          <a:solidFill>
            <a:srgbClr val="EE1C23"/>
          </a:solidFill>
          <a:latin typeface="Franklin Gothic Medium" pitchFamily="34" charset="0"/>
          <a:cs typeface="Arial" pitchFamily="34" charset="0"/>
        </a:defRPr>
      </a:lvl9pPr>
    </p:titleStyle>
    <p:bodyStyle>
      <a:lvl1pPr marL="342900" indent="-342900" algn="just" rtl="0" eaLnBrk="0" fontAlgn="base" hangingPunct="0">
        <a:lnSpc>
          <a:spcPct val="110000"/>
        </a:lnSpc>
        <a:spcBef>
          <a:spcPct val="20000"/>
        </a:spcBef>
        <a:spcAft>
          <a:spcPct val="10000"/>
        </a:spcAft>
        <a:buClr>
          <a:schemeClr val="accent1"/>
        </a:buClr>
        <a:buFont typeface="Franklin Gothic Medium" pitchFamily="34" charset="0"/>
        <a:buChar char="4"/>
        <a:defRPr sz="2000">
          <a:solidFill>
            <a:schemeClr val="tx1"/>
          </a:solidFill>
          <a:latin typeface="+mn-lt"/>
          <a:ea typeface="+mn-ea"/>
          <a:cs typeface="+mn-cs"/>
        </a:defRPr>
      </a:lvl1pPr>
      <a:lvl2pPr marL="812800" indent="-277813" algn="just" rtl="0" eaLnBrk="0" fontAlgn="base" hangingPunct="0">
        <a:lnSpc>
          <a:spcPct val="110000"/>
        </a:lnSpc>
        <a:spcBef>
          <a:spcPct val="20000"/>
        </a:spcBef>
        <a:spcAft>
          <a:spcPct val="10000"/>
        </a:spcAft>
        <a:buClr>
          <a:schemeClr val="accent1"/>
        </a:buClr>
        <a:buFont typeface="Franklin Gothic Medium" pitchFamily="34" charset="0"/>
        <a:buChar char="4"/>
        <a:defRPr sz="2800" b="1">
          <a:solidFill>
            <a:schemeClr val="tx1"/>
          </a:solidFill>
          <a:latin typeface="+mn-lt"/>
          <a:cs typeface="+mn-cs"/>
        </a:defRPr>
      </a:lvl2pPr>
      <a:lvl3pPr marL="1524000" indent="-266700" algn="just" rtl="0" eaLnBrk="0" fontAlgn="base" hangingPunct="0">
        <a:lnSpc>
          <a:spcPct val="110000"/>
        </a:lnSpc>
        <a:spcBef>
          <a:spcPct val="20000"/>
        </a:spcBef>
        <a:spcAft>
          <a:spcPct val="10000"/>
        </a:spcAft>
        <a:buClr>
          <a:schemeClr val="accent1"/>
        </a:buClr>
        <a:buFont typeface="Franklin Gothic Medium" pitchFamily="34" charset="0"/>
        <a:buChar char="4"/>
        <a:defRPr sz="2400">
          <a:solidFill>
            <a:schemeClr val="tx1"/>
          </a:solidFill>
          <a:latin typeface="+mn-lt"/>
          <a:cs typeface="+mn-cs"/>
        </a:defRPr>
      </a:lvl3pPr>
      <a:lvl4pPr marL="2157413" indent="-188913" algn="just" rtl="0" eaLnBrk="0" fontAlgn="base" hangingPunct="0">
        <a:lnSpc>
          <a:spcPct val="110000"/>
        </a:lnSpc>
        <a:spcBef>
          <a:spcPct val="20000"/>
        </a:spcBef>
        <a:spcAft>
          <a:spcPct val="10000"/>
        </a:spcAft>
        <a:buClr>
          <a:schemeClr val="accent1"/>
        </a:buClr>
        <a:buFont typeface="Franklin Gothic Medium" pitchFamily="34" charset="0"/>
        <a:buChar char="4"/>
        <a:defRPr sz="1600" b="1">
          <a:solidFill>
            <a:schemeClr val="tx1"/>
          </a:solidFill>
          <a:latin typeface="+mn-lt"/>
          <a:cs typeface="+mn-cs"/>
        </a:defRPr>
      </a:lvl4pPr>
      <a:lvl5pPr marL="2603500" indent="-177800" algn="just" rtl="0" eaLnBrk="0" fontAlgn="base" hangingPunct="0">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5pPr>
      <a:lvl6pPr marL="30607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6pPr>
      <a:lvl7pPr marL="35179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7pPr>
      <a:lvl8pPr marL="39751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8pPr>
      <a:lvl9pPr marL="44323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9698" name="Picture 8" descr="TIM_MENTE_SEM_FRONTEIRAS_0803 0008"/>
          <p:cNvPicPr>
            <a:picLocks noChangeAspect="1" noChangeArrowheads="1"/>
          </p:cNvPicPr>
          <p:nvPr/>
        </p:nvPicPr>
        <p:blipFill>
          <a:blip r:embed="rId14" cstate="print"/>
          <a:srcRect/>
          <a:stretch>
            <a:fillRect/>
          </a:stretch>
        </p:blipFill>
        <p:spPr bwMode="auto">
          <a:xfrm>
            <a:off x="0" y="-12700"/>
            <a:ext cx="9906000" cy="896938"/>
          </a:xfrm>
          <a:prstGeom prst="rect">
            <a:avLst/>
          </a:prstGeom>
          <a:noFill/>
          <a:ln w="9525">
            <a:noFill/>
            <a:miter lim="800000"/>
            <a:headEnd/>
            <a:tailEnd/>
          </a:ln>
        </p:spPr>
      </p:pic>
      <p:sp>
        <p:nvSpPr>
          <p:cNvPr id="3075" name="Rectangle 2"/>
          <p:cNvSpPr>
            <a:spLocks noChangeArrowheads="1"/>
          </p:cNvSpPr>
          <p:nvPr/>
        </p:nvSpPr>
        <p:spPr bwMode="auto">
          <a:xfrm>
            <a:off x="0" y="0"/>
            <a:ext cx="9906000" cy="6851650"/>
          </a:xfrm>
          <a:prstGeom prst="rect">
            <a:avLst/>
          </a:prstGeom>
          <a:noFill/>
          <a:ln w="12700" cap="sq">
            <a:solidFill>
              <a:srgbClr val="595959"/>
            </a:solidFill>
            <a:miter lim="800000"/>
            <a:headEnd type="none" w="sm" len="sm"/>
            <a:tailEnd type="none" w="sm" len="sm"/>
          </a:ln>
        </p:spPr>
        <p:txBody>
          <a:bodyPr wrap="none" anchor="ctr"/>
          <a:lstStyle/>
          <a:p>
            <a:pPr algn="r" eaLnBrk="0" hangingPunct="0">
              <a:defRPr/>
            </a:pPr>
            <a:endParaRPr lang="pt-BR" sz="1000" b="0" i="1">
              <a:latin typeface="Franklin Gothic Medium" charset="0"/>
            </a:endParaRPr>
          </a:p>
        </p:txBody>
      </p:sp>
      <p:sp>
        <p:nvSpPr>
          <p:cNvPr id="29700" name="Rectangle 13"/>
          <p:cNvSpPr>
            <a:spLocks noGrp="1" noChangeArrowheads="1"/>
          </p:cNvSpPr>
          <p:nvPr>
            <p:ph type="title"/>
          </p:nvPr>
        </p:nvSpPr>
        <p:spPr bwMode="auto">
          <a:xfrm>
            <a:off x="307983" y="227013"/>
            <a:ext cx="79803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it-IT" smtClean="0"/>
              <a:t>Click to edit Master title style</a:t>
            </a:r>
          </a:p>
        </p:txBody>
      </p:sp>
      <p:sp>
        <p:nvSpPr>
          <p:cNvPr id="3077" name="Rectangle 37"/>
          <p:cNvSpPr>
            <a:spLocks noChangeArrowheads="1"/>
          </p:cNvSpPr>
          <p:nvPr>
            <p:custDataLst>
              <p:tags r:id="rId13"/>
            </p:custDataLst>
          </p:nvPr>
        </p:nvSpPr>
        <p:spPr bwMode="auto">
          <a:xfrm>
            <a:off x="9631741" y="6597664"/>
            <a:ext cx="125034" cy="123111"/>
          </a:xfrm>
          <a:prstGeom prst="rect">
            <a:avLst/>
          </a:prstGeom>
          <a:noFill/>
          <a:ln w="9525">
            <a:noFill/>
            <a:miter lim="800000"/>
            <a:headEnd/>
            <a:tailEnd/>
          </a:ln>
        </p:spPr>
        <p:txBody>
          <a:bodyPr wrap="none" lIns="0" tIns="0" rIns="0" bIns="0">
            <a:spAutoFit/>
          </a:bodyPr>
          <a:lstStyle/>
          <a:p>
            <a:pPr algn="r" defTabSz="762000" eaLnBrk="0" hangingPunct="0">
              <a:defRPr/>
            </a:pPr>
            <a:fld id="{1E3752F4-0CF1-4AD9-A89C-DE628CDD7361}" type="slidenum">
              <a:rPr lang="it-IT" sz="800" b="0">
                <a:solidFill>
                  <a:srgbClr val="8995B4"/>
                </a:solidFill>
              </a:rPr>
              <a:pPr algn="r" defTabSz="762000" eaLnBrk="0" hangingPunct="0">
                <a:defRPr/>
              </a:pPr>
              <a:t>‹nº›</a:t>
            </a:fld>
            <a:endParaRPr lang="it-IT" sz="800" b="0">
              <a:solidFill>
                <a:srgbClr val="8995B4"/>
              </a:solidFill>
            </a:endParaRPr>
          </a:p>
        </p:txBody>
      </p:sp>
      <p:pic>
        <p:nvPicPr>
          <p:cNvPr id="29702" name="Picture 6" descr="LogosTIM2009_VoceSemFronteiras"/>
          <p:cNvPicPr>
            <a:picLocks noChangeAspect="1" noChangeArrowheads="1"/>
          </p:cNvPicPr>
          <p:nvPr/>
        </p:nvPicPr>
        <p:blipFill>
          <a:blip r:embed="rId15" cstate="email">
            <a:clrChange>
              <a:clrFrom>
                <a:srgbClr val="000000"/>
              </a:clrFrom>
              <a:clrTo>
                <a:srgbClr val="000000">
                  <a:alpha val="0"/>
                </a:srgbClr>
              </a:clrTo>
            </a:clrChange>
            <a:extLst>
              <a:ext uri="{28A0092B-C50C-407E-A947-70E740481C1C}">
                <a14:useLocalDpi xmlns="" xmlns:a14="http://schemas.microsoft.com/office/drawing/2010/main"/>
              </a:ext>
            </a:extLst>
          </a:blip>
          <a:srcRect/>
          <a:stretch>
            <a:fillRect/>
          </a:stretch>
        </p:blipFill>
        <p:spPr bwMode="auto">
          <a:xfrm>
            <a:off x="8374063" y="131766"/>
            <a:ext cx="1249362" cy="61753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070" r:id="rId1"/>
    <p:sldLayoutId id="2147484069" r:id="rId2"/>
    <p:sldLayoutId id="2147484068" r:id="rId3"/>
    <p:sldLayoutId id="2147484067" r:id="rId4"/>
    <p:sldLayoutId id="2147484066" r:id="rId5"/>
    <p:sldLayoutId id="2147484065" r:id="rId6"/>
    <p:sldLayoutId id="2147484064" r:id="rId7"/>
    <p:sldLayoutId id="2147484063" r:id="rId8"/>
    <p:sldLayoutId id="2147484062" r:id="rId9"/>
    <p:sldLayoutId id="2147484061" r:id="rId10"/>
    <p:sldLayoutId id="2147484060" r:id="rId11"/>
  </p:sldLayoutIdLst>
  <p:txStyles>
    <p:titleStyle>
      <a:lvl1pPr algn="l" rtl="0" eaLnBrk="0" fontAlgn="base" hangingPunct="0">
        <a:lnSpc>
          <a:spcPct val="80000"/>
        </a:lnSpc>
        <a:spcBef>
          <a:spcPct val="0"/>
        </a:spcBef>
        <a:spcAft>
          <a:spcPct val="0"/>
        </a:spcAft>
        <a:defRPr sz="2600" b="1">
          <a:solidFill>
            <a:schemeClr val="bg1"/>
          </a:solidFill>
          <a:latin typeface="+mj-lt"/>
          <a:ea typeface="Arial" charset="0"/>
          <a:cs typeface="+mj-cs"/>
        </a:defRPr>
      </a:lvl1pPr>
      <a:lvl2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charset="0"/>
        </a:defRPr>
      </a:lvl2pPr>
      <a:lvl3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charset="0"/>
        </a:defRPr>
      </a:lvl3pPr>
      <a:lvl4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charset="0"/>
        </a:defRPr>
      </a:lvl4pPr>
      <a:lvl5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charset="0"/>
        </a:defRPr>
      </a:lvl5pPr>
      <a:lvl6pPr marL="457200" algn="l" rtl="0" fontAlgn="base">
        <a:lnSpc>
          <a:spcPct val="80000"/>
        </a:lnSpc>
        <a:spcBef>
          <a:spcPct val="0"/>
        </a:spcBef>
        <a:spcAft>
          <a:spcPct val="0"/>
        </a:spcAft>
        <a:defRPr sz="2600" b="1">
          <a:solidFill>
            <a:schemeClr val="bg1"/>
          </a:solidFill>
          <a:latin typeface="Franklin Gothic Medium" pitchFamily="34" charset="0"/>
          <a:cs typeface="Arial" charset="0"/>
        </a:defRPr>
      </a:lvl6pPr>
      <a:lvl7pPr marL="914400" algn="l" rtl="0" fontAlgn="base">
        <a:lnSpc>
          <a:spcPct val="80000"/>
        </a:lnSpc>
        <a:spcBef>
          <a:spcPct val="0"/>
        </a:spcBef>
        <a:spcAft>
          <a:spcPct val="0"/>
        </a:spcAft>
        <a:defRPr sz="2600" b="1">
          <a:solidFill>
            <a:schemeClr val="bg1"/>
          </a:solidFill>
          <a:latin typeface="Franklin Gothic Medium" pitchFamily="34" charset="0"/>
          <a:cs typeface="Arial" charset="0"/>
        </a:defRPr>
      </a:lvl7pPr>
      <a:lvl8pPr marL="1371600" algn="l" rtl="0" fontAlgn="base">
        <a:lnSpc>
          <a:spcPct val="80000"/>
        </a:lnSpc>
        <a:spcBef>
          <a:spcPct val="0"/>
        </a:spcBef>
        <a:spcAft>
          <a:spcPct val="0"/>
        </a:spcAft>
        <a:defRPr sz="2600" b="1">
          <a:solidFill>
            <a:schemeClr val="bg1"/>
          </a:solidFill>
          <a:latin typeface="Franklin Gothic Medium" pitchFamily="34" charset="0"/>
          <a:cs typeface="Arial" charset="0"/>
        </a:defRPr>
      </a:lvl8pPr>
      <a:lvl9pPr marL="1828800" algn="l" rtl="0" fontAlgn="base">
        <a:lnSpc>
          <a:spcPct val="80000"/>
        </a:lnSpc>
        <a:spcBef>
          <a:spcPct val="0"/>
        </a:spcBef>
        <a:spcAft>
          <a:spcPct val="0"/>
        </a:spcAft>
        <a:defRPr sz="2600" b="1">
          <a:solidFill>
            <a:schemeClr val="bg1"/>
          </a:solidFill>
          <a:latin typeface="Franklin Gothic Medium" pitchFamily="34" charset="0"/>
          <a:cs typeface="Arial" charset="0"/>
        </a:defRPr>
      </a:lvl9pPr>
    </p:titleStyle>
    <p:bodyStyle>
      <a:lvl1pPr marL="342900" indent="-342900" algn="just" rtl="0" eaLnBrk="0" fontAlgn="base" hangingPunct="0">
        <a:lnSpc>
          <a:spcPct val="110000"/>
        </a:lnSpc>
        <a:spcBef>
          <a:spcPct val="20000"/>
        </a:spcBef>
        <a:spcAft>
          <a:spcPct val="10000"/>
        </a:spcAft>
        <a:buClr>
          <a:schemeClr val="accent1"/>
        </a:buClr>
        <a:buFont typeface="Franklin Gothic Medium" pitchFamily="34" charset="0"/>
        <a:buChar char="4"/>
        <a:defRPr sz="2000">
          <a:solidFill>
            <a:schemeClr val="tx1"/>
          </a:solidFill>
          <a:latin typeface="+mn-lt"/>
          <a:ea typeface="Arial" charset="0"/>
          <a:cs typeface="+mn-cs"/>
        </a:defRPr>
      </a:lvl1pPr>
      <a:lvl2pPr marL="812800" indent="-277813" algn="just" rtl="0" eaLnBrk="0" fontAlgn="base" hangingPunct="0">
        <a:lnSpc>
          <a:spcPct val="110000"/>
        </a:lnSpc>
        <a:spcBef>
          <a:spcPct val="20000"/>
        </a:spcBef>
        <a:spcAft>
          <a:spcPct val="10000"/>
        </a:spcAft>
        <a:buClr>
          <a:schemeClr val="accent1"/>
        </a:buClr>
        <a:buFont typeface="Franklin Gothic Medium" pitchFamily="34" charset="0"/>
        <a:buChar char="4"/>
        <a:defRPr sz="2800" b="1">
          <a:solidFill>
            <a:schemeClr val="tx1"/>
          </a:solidFill>
          <a:latin typeface="+mn-lt"/>
          <a:ea typeface="Arial" charset="0"/>
          <a:cs typeface="+mn-cs"/>
        </a:defRPr>
      </a:lvl2pPr>
      <a:lvl3pPr marL="1524000" indent="-266700" algn="just" rtl="0" eaLnBrk="0" fontAlgn="base" hangingPunct="0">
        <a:lnSpc>
          <a:spcPct val="110000"/>
        </a:lnSpc>
        <a:spcBef>
          <a:spcPct val="20000"/>
        </a:spcBef>
        <a:spcAft>
          <a:spcPct val="10000"/>
        </a:spcAft>
        <a:buClr>
          <a:schemeClr val="accent1"/>
        </a:buClr>
        <a:buFont typeface="Franklin Gothic Medium" pitchFamily="34" charset="0"/>
        <a:buChar char="4"/>
        <a:defRPr sz="2400">
          <a:solidFill>
            <a:schemeClr val="tx1"/>
          </a:solidFill>
          <a:latin typeface="+mn-lt"/>
          <a:ea typeface="Arial" charset="0"/>
          <a:cs typeface="+mn-cs"/>
        </a:defRPr>
      </a:lvl3pPr>
      <a:lvl4pPr marL="2157413" indent="-188913" algn="just" rtl="0" eaLnBrk="0" fontAlgn="base" hangingPunct="0">
        <a:lnSpc>
          <a:spcPct val="110000"/>
        </a:lnSpc>
        <a:spcBef>
          <a:spcPct val="20000"/>
        </a:spcBef>
        <a:spcAft>
          <a:spcPct val="10000"/>
        </a:spcAft>
        <a:buClr>
          <a:schemeClr val="accent1"/>
        </a:buClr>
        <a:buFont typeface="Franklin Gothic Medium" pitchFamily="34" charset="0"/>
        <a:buChar char="4"/>
        <a:defRPr sz="1600" b="1">
          <a:solidFill>
            <a:schemeClr val="tx1"/>
          </a:solidFill>
          <a:latin typeface="+mn-lt"/>
          <a:ea typeface="Arial" charset="0"/>
          <a:cs typeface="+mn-cs"/>
        </a:defRPr>
      </a:lvl4pPr>
      <a:lvl5pPr marL="2603500" indent="-177800" algn="just" rtl="0" eaLnBrk="0" fontAlgn="base" hangingPunct="0">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ea typeface="Arial" charset="0"/>
          <a:cs typeface="+mn-cs"/>
        </a:defRPr>
      </a:lvl5pPr>
      <a:lvl6pPr marL="30607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6pPr>
      <a:lvl7pPr marL="35179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7pPr>
      <a:lvl8pPr marL="39751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8pPr>
      <a:lvl9pPr marL="44323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90146" name="Picture 8" descr="TIM_MENTE_SEM_FRONTEIRAS_0803 0008"/>
          <p:cNvPicPr>
            <a:picLocks noChangeAspect="1" noChangeArrowheads="1"/>
          </p:cNvPicPr>
          <p:nvPr userDrawn="1"/>
        </p:nvPicPr>
        <p:blipFill>
          <a:blip r:embed="rId14" cstate="print"/>
          <a:srcRect/>
          <a:stretch>
            <a:fillRect/>
          </a:stretch>
        </p:blipFill>
        <p:spPr bwMode="auto">
          <a:xfrm>
            <a:off x="0" y="-12700"/>
            <a:ext cx="9906000" cy="896938"/>
          </a:xfrm>
          <a:prstGeom prst="rect">
            <a:avLst/>
          </a:prstGeom>
          <a:noFill/>
          <a:ln w="9525">
            <a:noFill/>
            <a:miter lim="800000"/>
            <a:headEnd/>
            <a:tailEnd/>
          </a:ln>
        </p:spPr>
      </p:pic>
      <p:sp>
        <p:nvSpPr>
          <p:cNvPr id="6147" name="Rectangle 2"/>
          <p:cNvSpPr>
            <a:spLocks noChangeArrowheads="1"/>
          </p:cNvSpPr>
          <p:nvPr/>
        </p:nvSpPr>
        <p:spPr bwMode="auto">
          <a:xfrm>
            <a:off x="0" y="0"/>
            <a:ext cx="9906000" cy="6851650"/>
          </a:xfrm>
          <a:prstGeom prst="rect">
            <a:avLst/>
          </a:prstGeom>
          <a:noFill/>
          <a:ln w="12700" cap="sq">
            <a:solidFill>
              <a:srgbClr val="595959"/>
            </a:solidFill>
            <a:miter lim="800000"/>
            <a:headEnd type="none" w="sm" len="sm"/>
            <a:tailEnd type="none" w="sm" len="sm"/>
          </a:ln>
        </p:spPr>
        <p:txBody>
          <a:bodyPr wrap="none" anchor="ctr"/>
          <a:lstStyle/>
          <a:p>
            <a:pPr algn="r" eaLnBrk="0" hangingPunct="0">
              <a:defRPr/>
            </a:pPr>
            <a:endParaRPr lang="pt-BR" sz="1000" b="0" i="1">
              <a:solidFill>
                <a:srgbClr val="004990"/>
              </a:solidFill>
              <a:latin typeface="Franklin Gothic Medium" charset="0"/>
            </a:endParaRPr>
          </a:p>
        </p:txBody>
      </p:sp>
      <p:sp>
        <p:nvSpPr>
          <p:cNvPr id="390148" name="Rectangle 13"/>
          <p:cNvSpPr>
            <a:spLocks noGrp="1" noChangeArrowheads="1"/>
          </p:cNvSpPr>
          <p:nvPr>
            <p:ph type="title"/>
          </p:nvPr>
        </p:nvSpPr>
        <p:spPr bwMode="auto">
          <a:xfrm>
            <a:off x="307983" y="227013"/>
            <a:ext cx="79803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it-IT" smtClean="0"/>
              <a:t>Click to edit Master title style</a:t>
            </a:r>
          </a:p>
        </p:txBody>
      </p:sp>
      <p:sp>
        <p:nvSpPr>
          <p:cNvPr id="6149" name="Rectangle 37"/>
          <p:cNvSpPr>
            <a:spLocks noChangeArrowheads="1"/>
          </p:cNvSpPr>
          <p:nvPr userDrawn="1">
            <p:custDataLst>
              <p:tags r:id="rId13"/>
            </p:custDataLst>
          </p:nvPr>
        </p:nvSpPr>
        <p:spPr bwMode="auto">
          <a:xfrm>
            <a:off x="9631741" y="6597664"/>
            <a:ext cx="125034" cy="123111"/>
          </a:xfrm>
          <a:prstGeom prst="rect">
            <a:avLst/>
          </a:prstGeom>
          <a:noFill/>
          <a:ln w="9525">
            <a:noFill/>
            <a:miter lim="800000"/>
            <a:headEnd/>
            <a:tailEnd/>
          </a:ln>
        </p:spPr>
        <p:txBody>
          <a:bodyPr wrap="none" lIns="0" tIns="0" rIns="0" bIns="0">
            <a:spAutoFit/>
          </a:bodyPr>
          <a:lstStyle/>
          <a:p>
            <a:pPr algn="r" defTabSz="762000" eaLnBrk="0" hangingPunct="0">
              <a:defRPr/>
            </a:pPr>
            <a:fld id="{D4456F85-E8AF-4339-AB0B-5742E341DE88}" type="slidenum">
              <a:rPr lang="it-IT" sz="800" b="0">
                <a:solidFill>
                  <a:srgbClr val="8995B4"/>
                </a:solidFill>
              </a:rPr>
              <a:pPr algn="r" defTabSz="762000" eaLnBrk="0" hangingPunct="0">
                <a:defRPr/>
              </a:pPr>
              <a:t>‹nº›</a:t>
            </a:fld>
            <a:endParaRPr lang="it-IT" sz="800" b="0">
              <a:solidFill>
                <a:srgbClr val="8995B4"/>
              </a:solidFill>
            </a:endParaRPr>
          </a:p>
        </p:txBody>
      </p:sp>
      <p:pic>
        <p:nvPicPr>
          <p:cNvPr id="390150" name="Picture 10" descr="LogosTIM2009_VoceSemFronteiras"/>
          <p:cNvPicPr>
            <a:picLocks noChangeAspect="1" noChangeArrowheads="1"/>
          </p:cNvPicPr>
          <p:nvPr userDrawn="1"/>
        </p:nvPicPr>
        <p:blipFill>
          <a:blip r:embed="rId15" cstate="email">
            <a:clrChange>
              <a:clrFrom>
                <a:srgbClr val="000000"/>
              </a:clrFrom>
              <a:clrTo>
                <a:srgbClr val="000000">
                  <a:alpha val="0"/>
                </a:srgbClr>
              </a:clrTo>
            </a:clrChange>
            <a:extLst>
              <a:ext uri="{28A0092B-C50C-407E-A947-70E740481C1C}">
                <a14:useLocalDpi xmlns="" xmlns:a14="http://schemas.microsoft.com/office/drawing/2010/main"/>
              </a:ext>
            </a:extLst>
          </a:blip>
          <a:srcRect/>
          <a:stretch>
            <a:fillRect/>
          </a:stretch>
        </p:blipFill>
        <p:spPr bwMode="auto">
          <a:xfrm>
            <a:off x="8374063" y="131766"/>
            <a:ext cx="1249362" cy="61753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394" r:id="rId1"/>
    <p:sldLayoutId id="2147484393" r:id="rId2"/>
    <p:sldLayoutId id="2147484392" r:id="rId3"/>
    <p:sldLayoutId id="2147484391" r:id="rId4"/>
    <p:sldLayoutId id="2147484390" r:id="rId5"/>
    <p:sldLayoutId id="2147484389" r:id="rId6"/>
    <p:sldLayoutId id="2147484388" r:id="rId7"/>
    <p:sldLayoutId id="2147484387" r:id="rId8"/>
    <p:sldLayoutId id="2147484386" r:id="rId9"/>
    <p:sldLayoutId id="2147484385" r:id="rId10"/>
    <p:sldLayoutId id="2147484384" r:id="rId11"/>
  </p:sldLayoutIdLst>
  <p:txStyles>
    <p:titleStyle>
      <a:lvl1pPr algn="l" rtl="0" eaLnBrk="0" fontAlgn="base" hangingPunct="0">
        <a:lnSpc>
          <a:spcPct val="80000"/>
        </a:lnSpc>
        <a:spcBef>
          <a:spcPct val="0"/>
        </a:spcBef>
        <a:spcAft>
          <a:spcPct val="0"/>
        </a:spcAft>
        <a:defRPr sz="2600" b="1">
          <a:solidFill>
            <a:schemeClr val="bg1"/>
          </a:solidFill>
          <a:latin typeface="+mj-lt"/>
          <a:ea typeface="+mj-ea"/>
          <a:cs typeface="+mj-cs"/>
        </a:defRPr>
      </a:lvl1pPr>
      <a:lvl2pPr algn="l" rtl="0" eaLnBrk="0" fontAlgn="base" hangingPunct="0">
        <a:lnSpc>
          <a:spcPct val="80000"/>
        </a:lnSpc>
        <a:spcBef>
          <a:spcPct val="0"/>
        </a:spcBef>
        <a:spcAft>
          <a:spcPct val="0"/>
        </a:spcAft>
        <a:defRPr sz="2600" b="1">
          <a:solidFill>
            <a:schemeClr val="bg1"/>
          </a:solidFill>
          <a:latin typeface="Franklin Gothic Medium" pitchFamily="34" charset="0"/>
          <a:cs typeface="Arial" charset="0"/>
        </a:defRPr>
      </a:lvl2pPr>
      <a:lvl3pPr algn="l" rtl="0" eaLnBrk="0" fontAlgn="base" hangingPunct="0">
        <a:lnSpc>
          <a:spcPct val="80000"/>
        </a:lnSpc>
        <a:spcBef>
          <a:spcPct val="0"/>
        </a:spcBef>
        <a:spcAft>
          <a:spcPct val="0"/>
        </a:spcAft>
        <a:defRPr sz="2600" b="1">
          <a:solidFill>
            <a:schemeClr val="bg1"/>
          </a:solidFill>
          <a:latin typeface="Franklin Gothic Medium" pitchFamily="34" charset="0"/>
          <a:cs typeface="Arial" charset="0"/>
        </a:defRPr>
      </a:lvl3pPr>
      <a:lvl4pPr algn="l" rtl="0" eaLnBrk="0" fontAlgn="base" hangingPunct="0">
        <a:lnSpc>
          <a:spcPct val="80000"/>
        </a:lnSpc>
        <a:spcBef>
          <a:spcPct val="0"/>
        </a:spcBef>
        <a:spcAft>
          <a:spcPct val="0"/>
        </a:spcAft>
        <a:defRPr sz="2600" b="1">
          <a:solidFill>
            <a:schemeClr val="bg1"/>
          </a:solidFill>
          <a:latin typeface="Franklin Gothic Medium" pitchFamily="34" charset="0"/>
          <a:cs typeface="Arial" charset="0"/>
        </a:defRPr>
      </a:lvl4pPr>
      <a:lvl5pPr algn="l" rtl="0" eaLnBrk="0" fontAlgn="base" hangingPunct="0">
        <a:lnSpc>
          <a:spcPct val="80000"/>
        </a:lnSpc>
        <a:spcBef>
          <a:spcPct val="0"/>
        </a:spcBef>
        <a:spcAft>
          <a:spcPct val="0"/>
        </a:spcAft>
        <a:defRPr sz="2600" b="1">
          <a:solidFill>
            <a:schemeClr val="bg1"/>
          </a:solidFill>
          <a:latin typeface="Franklin Gothic Medium" pitchFamily="34" charset="0"/>
          <a:cs typeface="Arial" charset="0"/>
        </a:defRPr>
      </a:lvl5pPr>
      <a:lvl6pPr marL="457200" algn="l" rtl="0" fontAlgn="base">
        <a:lnSpc>
          <a:spcPct val="80000"/>
        </a:lnSpc>
        <a:spcBef>
          <a:spcPct val="0"/>
        </a:spcBef>
        <a:spcAft>
          <a:spcPct val="0"/>
        </a:spcAft>
        <a:defRPr sz="2600" b="1">
          <a:solidFill>
            <a:schemeClr val="bg1"/>
          </a:solidFill>
          <a:latin typeface="Franklin Gothic Medium" pitchFamily="34" charset="0"/>
          <a:cs typeface="Arial" charset="0"/>
        </a:defRPr>
      </a:lvl6pPr>
      <a:lvl7pPr marL="914400" algn="l" rtl="0" fontAlgn="base">
        <a:lnSpc>
          <a:spcPct val="80000"/>
        </a:lnSpc>
        <a:spcBef>
          <a:spcPct val="0"/>
        </a:spcBef>
        <a:spcAft>
          <a:spcPct val="0"/>
        </a:spcAft>
        <a:defRPr sz="2600" b="1">
          <a:solidFill>
            <a:schemeClr val="bg1"/>
          </a:solidFill>
          <a:latin typeface="Franklin Gothic Medium" pitchFamily="34" charset="0"/>
          <a:cs typeface="Arial" charset="0"/>
        </a:defRPr>
      </a:lvl7pPr>
      <a:lvl8pPr marL="1371600" algn="l" rtl="0" fontAlgn="base">
        <a:lnSpc>
          <a:spcPct val="80000"/>
        </a:lnSpc>
        <a:spcBef>
          <a:spcPct val="0"/>
        </a:spcBef>
        <a:spcAft>
          <a:spcPct val="0"/>
        </a:spcAft>
        <a:defRPr sz="2600" b="1">
          <a:solidFill>
            <a:schemeClr val="bg1"/>
          </a:solidFill>
          <a:latin typeface="Franklin Gothic Medium" pitchFamily="34" charset="0"/>
          <a:cs typeface="Arial" charset="0"/>
        </a:defRPr>
      </a:lvl8pPr>
      <a:lvl9pPr marL="1828800" algn="l" rtl="0" fontAlgn="base">
        <a:lnSpc>
          <a:spcPct val="80000"/>
        </a:lnSpc>
        <a:spcBef>
          <a:spcPct val="0"/>
        </a:spcBef>
        <a:spcAft>
          <a:spcPct val="0"/>
        </a:spcAft>
        <a:defRPr sz="2600" b="1">
          <a:solidFill>
            <a:schemeClr val="bg1"/>
          </a:solidFill>
          <a:latin typeface="Franklin Gothic Medium" pitchFamily="34" charset="0"/>
          <a:cs typeface="Arial" charset="0"/>
        </a:defRPr>
      </a:lvl9pPr>
    </p:titleStyle>
    <p:bodyStyle>
      <a:lvl1pPr marL="342900" indent="-342900" algn="just" rtl="0" eaLnBrk="0" fontAlgn="base" hangingPunct="0">
        <a:lnSpc>
          <a:spcPct val="110000"/>
        </a:lnSpc>
        <a:spcBef>
          <a:spcPct val="20000"/>
        </a:spcBef>
        <a:spcAft>
          <a:spcPct val="10000"/>
        </a:spcAft>
        <a:buClr>
          <a:schemeClr val="accent1"/>
        </a:buClr>
        <a:buFont typeface="Franklin Gothic Medium" pitchFamily="34" charset="0"/>
        <a:buChar char="4"/>
        <a:defRPr sz="2000">
          <a:solidFill>
            <a:schemeClr val="tx1"/>
          </a:solidFill>
          <a:latin typeface="+mn-lt"/>
          <a:ea typeface="+mn-ea"/>
          <a:cs typeface="+mn-cs"/>
        </a:defRPr>
      </a:lvl1pPr>
      <a:lvl2pPr marL="812800" indent="-277813" algn="just" rtl="0" eaLnBrk="0" fontAlgn="base" hangingPunct="0">
        <a:lnSpc>
          <a:spcPct val="110000"/>
        </a:lnSpc>
        <a:spcBef>
          <a:spcPct val="20000"/>
        </a:spcBef>
        <a:spcAft>
          <a:spcPct val="10000"/>
        </a:spcAft>
        <a:buClr>
          <a:schemeClr val="accent1"/>
        </a:buClr>
        <a:buFont typeface="Franklin Gothic Medium" pitchFamily="34" charset="0"/>
        <a:buChar char="4"/>
        <a:defRPr sz="2800" b="1">
          <a:solidFill>
            <a:schemeClr val="tx1"/>
          </a:solidFill>
          <a:latin typeface="+mn-lt"/>
          <a:cs typeface="+mn-cs"/>
        </a:defRPr>
      </a:lvl2pPr>
      <a:lvl3pPr marL="1524000" indent="-266700" algn="just" rtl="0" eaLnBrk="0" fontAlgn="base" hangingPunct="0">
        <a:lnSpc>
          <a:spcPct val="110000"/>
        </a:lnSpc>
        <a:spcBef>
          <a:spcPct val="20000"/>
        </a:spcBef>
        <a:spcAft>
          <a:spcPct val="10000"/>
        </a:spcAft>
        <a:buClr>
          <a:schemeClr val="accent1"/>
        </a:buClr>
        <a:buFont typeface="Franklin Gothic Medium" pitchFamily="34" charset="0"/>
        <a:buChar char="4"/>
        <a:defRPr sz="2400">
          <a:solidFill>
            <a:schemeClr val="tx1"/>
          </a:solidFill>
          <a:latin typeface="+mn-lt"/>
          <a:cs typeface="+mn-cs"/>
        </a:defRPr>
      </a:lvl3pPr>
      <a:lvl4pPr marL="2157413" indent="-188913" algn="just" rtl="0" eaLnBrk="0" fontAlgn="base" hangingPunct="0">
        <a:lnSpc>
          <a:spcPct val="110000"/>
        </a:lnSpc>
        <a:spcBef>
          <a:spcPct val="20000"/>
        </a:spcBef>
        <a:spcAft>
          <a:spcPct val="10000"/>
        </a:spcAft>
        <a:buClr>
          <a:schemeClr val="accent1"/>
        </a:buClr>
        <a:buFont typeface="Franklin Gothic Medium" pitchFamily="34" charset="0"/>
        <a:buChar char="4"/>
        <a:defRPr sz="1600" b="1">
          <a:solidFill>
            <a:schemeClr val="tx1"/>
          </a:solidFill>
          <a:latin typeface="+mn-lt"/>
          <a:cs typeface="+mn-cs"/>
        </a:defRPr>
      </a:lvl4pPr>
      <a:lvl5pPr marL="2603500" indent="-177800" algn="just" rtl="0" eaLnBrk="0" fontAlgn="base" hangingPunct="0">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5pPr>
      <a:lvl6pPr marL="30607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6pPr>
      <a:lvl7pPr marL="35179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7pPr>
      <a:lvl8pPr marL="39751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8pPr>
      <a:lvl9pPr marL="44323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02434" name="Picture 8" descr="TIM_MENTE_SEM_FRONTEIRAS_0803 0008"/>
          <p:cNvPicPr>
            <a:picLocks noChangeAspect="1" noChangeArrowheads="1"/>
          </p:cNvPicPr>
          <p:nvPr/>
        </p:nvPicPr>
        <p:blipFill>
          <a:blip r:embed="rId14" cstate="print"/>
          <a:srcRect/>
          <a:stretch>
            <a:fillRect/>
          </a:stretch>
        </p:blipFill>
        <p:spPr bwMode="auto">
          <a:xfrm>
            <a:off x="0" y="-12700"/>
            <a:ext cx="9906000" cy="896938"/>
          </a:xfrm>
          <a:prstGeom prst="rect">
            <a:avLst/>
          </a:prstGeom>
          <a:noFill/>
          <a:ln w="9525">
            <a:noFill/>
            <a:miter lim="800000"/>
            <a:headEnd/>
            <a:tailEnd/>
          </a:ln>
        </p:spPr>
      </p:pic>
      <p:sp>
        <p:nvSpPr>
          <p:cNvPr id="6147" name="Rectangle 2"/>
          <p:cNvSpPr>
            <a:spLocks noChangeArrowheads="1"/>
          </p:cNvSpPr>
          <p:nvPr/>
        </p:nvSpPr>
        <p:spPr bwMode="auto">
          <a:xfrm>
            <a:off x="0" y="0"/>
            <a:ext cx="9906000" cy="6851650"/>
          </a:xfrm>
          <a:prstGeom prst="rect">
            <a:avLst/>
          </a:prstGeom>
          <a:noFill/>
          <a:ln w="12700" cap="sq">
            <a:solidFill>
              <a:srgbClr val="595959"/>
            </a:solidFill>
            <a:miter lim="800000"/>
            <a:headEnd type="none" w="sm" len="sm"/>
            <a:tailEnd type="none" w="sm" len="sm"/>
          </a:ln>
        </p:spPr>
        <p:txBody>
          <a:bodyPr wrap="none" anchor="ctr"/>
          <a:lstStyle/>
          <a:p>
            <a:pPr algn="r" eaLnBrk="0" hangingPunct="0">
              <a:defRPr/>
            </a:pPr>
            <a:endParaRPr lang="pt-BR" sz="1000" b="0" i="1">
              <a:solidFill>
                <a:srgbClr val="004990"/>
              </a:solidFill>
              <a:latin typeface="+mn-lt"/>
              <a:cs typeface="+mn-cs"/>
            </a:endParaRPr>
          </a:p>
        </p:txBody>
      </p:sp>
      <p:sp>
        <p:nvSpPr>
          <p:cNvPr id="402436" name="Rectangle 13"/>
          <p:cNvSpPr>
            <a:spLocks noGrp="1" noChangeArrowheads="1"/>
          </p:cNvSpPr>
          <p:nvPr>
            <p:ph type="title"/>
          </p:nvPr>
        </p:nvSpPr>
        <p:spPr bwMode="auto">
          <a:xfrm>
            <a:off x="307983" y="227013"/>
            <a:ext cx="79803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it-IT" smtClean="0"/>
              <a:t>Click to edit Master title style</a:t>
            </a:r>
          </a:p>
        </p:txBody>
      </p:sp>
      <p:sp>
        <p:nvSpPr>
          <p:cNvPr id="6149" name="Rectangle 37"/>
          <p:cNvSpPr>
            <a:spLocks noChangeArrowheads="1"/>
          </p:cNvSpPr>
          <p:nvPr>
            <p:custDataLst>
              <p:tags r:id="rId13"/>
            </p:custDataLst>
          </p:nvPr>
        </p:nvSpPr>
        <p:spPr bwMode="auto">
          <a:xfrm>
            <a:off x="9631741" y="6597664"/>
            <a:ext cx="125034" cy="123111"/>
          </a:xfrm>
          <a:prstGeom prst="rect">
            <a:avLst/>
          </a:prstGeom>
          <a:noFill/>
          <a:ln w="9525">
            <a:noFill/>
            <a:miter lim="800000"/>
            <a:headEnd/>
            <a:tailEnd/>
          </a:ln>
        </p:spPr>
        <p:txBody>
          <a:bodyPr wrap="none" lIns="0" tIns="0" rIns="0" bIns="0">
            <a:spAutoFit/>
          </a:bodyPr>
          <a:lstStyle/>
          <a:p>
            <a:pPr algn="r" defTabSz="762000" eaLnBrk="0" hangingPunct="0">
              <a:defRPr/>
            </a:pPr>
            <a:fld id="{04225892-8DA4-46B6-9D42-182BA2DB33D6}" type="slidenum">
              <a:rPr lang="it-IT" sz="800" b="0">
                <a:solidFill>
                  <a:srgbClr val="8995B4"/>
                </a:solidFill>
                <a:cs typeface="+mn-cs"/>
              </a:rPr>
              <a:pPr algn="r" defTabSz="762000" eaLnBrk="0" hangingPunct="0">
                <a:defRPr/>
              </a:pPr>
              <a:t>‹nº›</a:t>
            </a:fld>
            <a:endParaRPr lang="it-IT" sz="800" b="0">
              <a:solidFill>
                <a:srgbClr val="8995B4"/>
              </a:solidFill>
              <a:cs typeface="+mn-cs"/>
            </a:endParaRPr>
          </a:p>
        </p:txBody>
      </p:sp>
      <p:pic>
        <p:nvPicPr>
          <p:cNvPr id="402438" name="Picture 10" descr="LogosTIM2009_VoceSemFronteiras"/>
          <p:cNvPicPr>
            <a:picLocks noChangeAspect="1" noChangeArrowheads="1"/>
          </p:cNvPicPr>
          <p:nvPr/>
        </p:nvPicPr>
        <p:blipFill>
          <a:blip r:embed="rId15" cstate="email">
            <a:clrChange>
              <a:clrFrom>
                <a:srgbClr val="000000"/>
              </a:clrFrom>
              <a:clrTo>
                <a:srgbClr val="000000">
                  <a:alpha val="0"/>
                </a:srgbClr>
              </a:clrTo>
            </a:clrChange>
            <a:extLst>
              <a:ext uri="{28A0092B-C50C-407E-A947-70E740481C1C}">
                <a14:useLocalDpi xmlns="" xmlns:a14="http://schemas.microsoft.com/office/drawing/2010/main"/>
              </a:ext>
            </a:extLst>
          </a:blip>
          <a:srcRect/>
          <a:stretch>
            <a:fillRect/>
          </a:stretch>
        </p:blipFill>
        <p:spPr bwMode="auto">
          <a:xfrm>
            <a:off x="8374063" y="131766"/>
            <a:ext cx="1249362" cy="61753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405" r:id="rId1"/>
    <p:sldLayoutId id="2147484404" r:id="rId2"/>
    <p:sldLayoutId id="2147484403" r:id="rId3"/>
    <p:sldLayoutId id="2147484402" r:id="rId4"/>
    <p:sldLayoutId id="2147484401" r:id="rId5"/>
    <p:sldLayoutId id="2147484400" r:id="rId6"/>
    <p:sldLayoutId id="2147484399" r:id="rId7"/>
    <p:sldLayoutId id="2147484398" r:id="rId8"/>
    <p:sldLayoutId id="2147484397" r:id="rId9"/>
    <p:sldLayoutId id="2147484396" r:id="rId10"/>
    <p:sldLayoutId id="2147484395" r:id="rId11"/>
  </p:sldLayoutIdLst>
  <p:txStyles>
    <p:titleStyle>
      <a:lvl1pPr algn="l" rtl="0" eaLnBrk="0" fontAlgn="base" hangingPunct="0">
        <a:lnSpc>
          <a:spcPct val="80000"/>
        </a:lnSpc>
        <a:spcBef>
          <a:spcPct val="0"/>
        </a:spcBef>
        <a:spcAft>
          <a:spcPct val="0"/>
        </a:spcAft>
        <a:defRPr sz="2600" b="1">
          <a:solidFill>
            <a:schemeClr val="bg1"/>
          </a:solidFill>
          <a:latin typeface="+mj-lt"/>
          <a:ea typeface="+mj-ea"/>
          <a:cs typeface="+mj-cs"/>
        </a:defRPr>
      </a:lvl1pPr>
      <a:lvl2pPr algn="l" rtl="0" eaLnBrk="0" fontAlgn="base" hangingPunct="0">
        <a:lnSpc>
          <a:spcPct val="80000"/>
        </a:lnSpc>
        <a:spcBef>
          <a:spcPct val="0"/>
        </a:spcBef>
        <a:spcAft>
          <a:spcPct val="0"/>
        </a:spcAft>
        <a:defRPr sz="2600" b="1">
          <a:solidFill>
            <a:schemeClr val="bg1"/>
          </a:solidFill>
          <a:latin typeface="Franklin Gothic Medium" pitchFamily="34" charset="0"/>
          <a:cs typeface="Arial" charset="0"/>
        </a:defRPr>
      </a:lvl2pPr>
      <a:lvl3pPr algn="l" rtl="0" eaLnBrk="0" fontAlgn="base" hangingPunct="0">
        <a:lnSpc>
          <a:spcPct val="80000"/>
        </a:lnSpc>
        <a:spcBef>
          <a:spcPct val="0"/>
        </a:spcBef>
        <a:spcAft>
          <a:spcPct val="0"/>
        </a:spcAft>
        <a:defRPr sz="2600" b="1">
          <a:solidFill>
            <a:schemeClr val="bg1"/>
          </a:solidFill>
          <a:latin typeface="Franklin Gothic Medium" pitchFamily="34" charset="0"/>
          <a:cs typeface="Arial" charset="0"/>
        </a:defRPr>
      </a:lvl3pPr>
      <a:lvl4pPr algn="l" rtl="0" eaLnBrk="0" fontAlgn="base" hangingPunct="0">
        <a:lnSpc>
          <a:spcPct val="80000"/>
        </a:lnSpc>
        <a:spcBef>
          <a:spcPct val="0"/>
        </a:spcBef>
        <a:spcAft>
          <a:spcPct val="0"/>
        </a:spcAft>
        <a:defRPr sz="2600" b="1">
          <a:solidFill>
            <a:schemeClr val="bg1"/>
          </a:solidFill>
          <a:latin typeface="Franklin Gothic Medium" pitchFamily="34" charset="0"/>
          <a:cs typeface="Arial" charset="0"/>
        </a:defRPr>
      </a:lvl4pPr>
      <a:lvl5pPr algn="l" rtl="0" eaLnBrk="0" fontAlgn="base" hangingPunct="0">
        <a:lnSpc>
          <a:spcPct val="80000"/>
        </a:lnSpc>
        <a:spcBef>
          <a:spcPct val="0"/>
        </a:spcBef>
        <a:spcAft>
          <a:spcPct val="0"/>
        </a:spcAft>
        <a:defRPr sz="2600" b="1">
          <a:solidFill>
            <a:schemeClr val="bg1"/>
          </a:solidFill>
          <a:latin typeface="Franklin Gothic Medium" pitchFamily="34" charset="0"/>
          <a:cs typeface="Arial" charset="0"/>
        </a:defRPr>
      </a:lvl5pPr>
      <a:lvl6pPr marL="457200" algn="l" rtl="0" fontAlgn="base">
        <a:lnSpc>
          <a:spcPct val="80000"/>
        </a:lnSpc>
        <a:spcBef>
          <a:spcPct val="0"/>
        </a:spcBef>
        <a:spcAft>
          <a:spcPct val="0"/>
        </a:spcAft>
        <a:defRPr sz="2600" b="1">
          <a:solidFill>
            <a:schemeClr val="bg1"/>
          </a:solidFill>
          <a:latin typeface="Franklin Gothic Medium" pitchFamily="34" charset="0"/>
          <a:cs typeface="Arial" charset="0"/>
        </a:defRPr>
      </a:lvl6pPr>
      <a:lvl7pPr marL="914400" algn="l" rtl="0" fontAlgn="base">
        <a:lnSpc>
          <a:spcPct val="80000"/>
        </a:lnSpc>
        <a:spcBef>
          <a:spcPct val="0"/>
        </a:spcBef>
        <a:spcAft>
          <a:spcPct val="0"/>
        </a:spcAft>
        <a:defRPr sz="2600" b="1">
          <a:solidFill>
            <a:schemeClr val="bg1"/>
          </a:solidFill>
          <a:latin typeface="Franklin Gothic Medium" pitchFamily="34" charset="0"/>
          <a:cs typeface="Arial" charset="0"/>
        </a:defRPr>
      </a:lvl7pPr>
      <a:lvl8pPr marL="1371600" algn="l" rtl="0" fontAlgn="base">
        <a:lnSpc>
          <a:spcPct val="80000"/>
        </a:lnSpc>
        <a:spcBef>
          <a:spcPct val="0"/>
        </a:spcBef>
        <a:spcAft>
          <a:spcPct val="0"/>
        </a:spcAft>
        <a:defRPr sz="2600" b="1">
          <a:solidFill>
            <a:schemeClr val="bg1"/>
          </a:solidFill>
          <a:latin typeface="Franklin Gothic Medium" pitchFamily="34" charset="0"/>
          <a:cs typeface="Arial" charset="0"/>
        </a:defRPr>
      </a:lvl8pPr>
      <a:lvl9pPr marL="1828800" algn="l" rtl="0" fontAlgn="base">
        <a:lnSpc>
          <a:spcPct val="80000"/>
        </a:lnSpc>
        <a:spcBef>
          <a:spcPct val="0"/>
        </a:spcBef>
        <a:spcAft>
          <a:spcPct val="0"/>
        </a:spcAft>
        <a:defRPr sz="2600" b="1">
          <a:solidFill>
            <a:schemeClr val="bg1"/>
          </a:solidFill>
          <a:latin typeface="Franklin Gothic Medium" pitchFamily="34" charset="0"/>
          <a:cs typeface="Arial" charset="0"/>
        </a:defRPr>
      </a:lvl9pPr>
    </p:titleStyle>
    <p:bodyStyle>
      <a:lvl1pPr marL="342900" indent="-342900" algn="just" rtl="0" eaLnBrk="0" fontAlgn="base" hangingPunct="0">
        <a:lnSpc>
          <a:spcPct val="110000"/>
        </a:lnSpc>
        <a:spcBef>
          <a:spcPct val="20000"/>
        </a:spcBef>
        <a:spcAft>
          <a:spcPct val="10000"/>
        </a:spcAft>
        <a:buClr>
          <a:schemeClr val="accent1"/>
        </a:buClr>
        <a:buFont typeface="Franklin Gothic Medium" pitchFamily="34" charset="0"/>
        <a:buChar char="4"/>
        <a:defRPr sz="2000">
          <a:solidFill>
            <a:schemeClr val="tx1"/>
          </a:solidFill>
          <a:latin typeface="+mn-lt"/>
          <a:ea typeface="+mn-ea"/>
          <a:cs typeface="+mn-cs"/>
        </a:defRPr>
      </a:lvl1pPr>
      <a:lvl2pPr marL="812800" indent="-277813" algn="just" rtl="0" eaLnBrk="0" fontAlgn="base" hangingPunct="0">
        <a:lnSpc>
          <a:spcPct val="110000"/>
        </a:lnSpc>
        <a:spcBef>
          <a:spcPct val="20000"/>
        </a:spcBef>
        <a:spcAft>
          <a:spcPct val="10000"/>
        </a:spcAft>
        <a:buClr>
          <a:schemeClr val="accent1"/>
        </a:buClr>
        <a:buFont typeface="Franklin Gothic Medium" pitchFamily="34" charset="0"/>
        <a:buChar char="4"/>
        <a:defRPr sz="2800" b="1">
          <a:solidFill>
            <a:schemeClr val="tx1"/>
          </a:solidFill>
          <a:latin typeface="+mn-lt"/>
          <a:cs typeface="+mn-cs"/>
        </a:defRPr>
      </a:lvl2pPr>
      <a:lvl3pPr marL="1524000" indent="-266700" algn="just" rtl="0" eaLnBrk="0" fontAlgn="base" hangingPunct="0">
        <a:lnSpc>
          <a:spcPct val="110000"/>
        </a:lnSpc>
        <a:spcBef>
          <a:spcPct val="20000"/>
        </a:spcBef>
        <a:spcAft>
          <a:spcPct val="10000"/>
        </a:spcAft>
        <a:buClr>
          <a:schemeClr val="accent1"/>
        </a:buClr>
        <a:buFont typeface="Franklin Gothic Medium" pitchFamily="34" charset="0"/>
        <a:buChar char="4"/>
        <a:defRPr sz="2400">
          <a:solidFill>
            <a:schemeClr val="tx1"/>
          </a:solidFill>
          <a:latin typeface="+mn-lt"/>
          <a:cs typeface="+mn-cs"/>
        </a:defRPr>
      </a:lvl3pPr>
      <a:lvl4pPr marL="2157413" indent="-188913" algn="just" rtl="0" eaLnBrk="0" fontAlgn="base" hangingPunct="0">
        <a:lnSpc>
          <a:spcPct val="110000"/>
        </a:lnSpc>
        <a:spcBef>
          <a:spcPct val="20000"/>
        </a:spcBef>
        <a:spcAft>
          <a:spcPct val="10000"/>
        </a:spcAft>
        <a:buClr>
          <a:schemeClr val="accent1"/>
        </a:buClr>
        <a:buFont typeface="Franklin Gothic Medium" pitchFamily="34" charset="0"/>
        <a:buChar char="4"/>
        <a:defRPr sz="1600" b="1">
          <a:solidFill>
            <a:schemeClr val="tx1"/>
          </a:solidFill>
          <a:latin typeface="+mn-lt"/>
          <a:cs typeface="+mn-cs"/>
        </a:defRPr>
      </a:lvl4pPr>
      <a:lvl5pPr marL="2603500" indent="-177800" algn="just" rtl="0" eaLnBrk="0" fontAlgn="base" hangingPunct="0">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5pPr>
      <a:lvl6pPr marL="30607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6pPr>
      <a:lvl7pPr marL="35179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7pPr>
      <a:lvl8pPr marL="39751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8pPr>
      <a:lvl9pPr marL="44323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14722" name="Picture 8" descr="TIM_MENTE_SEM_FRONTEIRAS_0803 0008"/>
          <p:cNvPicPr>
            <a:picLocks noChangeAspect="1" noChangeArrowheads="1"/>
          </p:cNvPicPr>
          <p:nvPr/>
        </p:nvPicPr>
        <p:blipFill>
          <a:blip r:embed="rId14" cstate="print"/>
          <a:srcRect/>
          <a:stretch>
            <a:fillRect/>
          </a:stretch>
        </p:blipFill>
        <p:spPr bwMode="auto">
          <a:xfrm>
            <a:off x="0" y="-12700"/>
            <a:ext cx="9906000" cy="896938"/>
          </a:xfrm>
          <a:prstGeom prst="rect">
            <a:avLst/>
          </a:prstGeom>
          <a:noFill/>
          <a:ln w="9525">
            <a:noFill/>
            <a:miter lim="800000"/>
            <a:headEnd/>
            <a:tailEnd/>
          </a:ln>
        </p:spPr>
      </p:pic>
      <p:sp>
        <p:nvSpPr>
          <p:cNvPr id="6147" name="Rectangle 2"/>
          <p:cNvSpPr>
            <a:spLocks noChangeArrowheads="1"/>
          </p:cNvSpPr>
          <p:nvPr/>
        </p:nvSpPr>
        <p:spPr bwMode="auto">
          <a:xfrm>
            <a:off x="0" y="0"/>
            <a:ext cx="9906000" cy="6851650"/>
          </a:xfrm>
          <a:prstGeom prst="rect">
            <a:avLst/>
          </a:prstGeom>
          <a:noFill/>
          <a:ln w="12700" cap="sq">
            <a:solidFill>
              <a:srgbClr val="595959"/>
            </a:solidFill>
            <a:miter lim="800000"/>
            <a:headEnd type="none" w="sm" len="sm"/>
            <a:tailEnd type="none" w="sm" len="sm"/>
          </a:ln>
        </p:spPr>
        <p:txBody>
          <a:bodyPr wrap="none" anchor="ctr"/>
          <a:lstStyle/>
          <a:p>
            <a:pPr algn="r" eaLnBrk="0" hangingPunct="0">
              <a:defRPr/>
            </a:pPr>
            <a:endParaRPr lang="pt-BR" sz="1000" b="0" i="1">
              <a:solidFill>
                <a:srgbClr val="004990"/>
              </a:solidFill>
              <a:latin typeface="Franklin Gothic Medium" charset="0"/>
            </a:endParaRPr>
          </a:p>
        </p:txBody>
      </p:sp>
      <p:sp>
        <p:nvSpPr>
          <p:cNvPr id="414724" name="Rectangle 13"/>
          <p:cNvSpPr>
            <a:spLocks noGrp="1" noChangeArrowheads="1"/>
          </p:cNvSpPr>
          <p:nvPr>
            <p:ph type="title"/>
          </p:nvPr>
        </p:nvSpPr>
        <p:spPr bwMode="auto">
          <a:xfrm>
            <a:off x="307983" y="227013"/>
            <a:ext cx="79803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it-IT" smtClean="0"/>
              <a:t>Click to edit Master title style</a:t>
            </a:r>
          </a:p>
        </p:txBody>
      </p:sp>
      <p:sp>
        <p:nvSpPr>
          <p:cNvPr id="6149" name="Rectangle 37"/>
          <p:cNvSpPr>
            <a:spLocks noChangeArrowheads="1"/>
          </p:cNvSpPr>
          <p:nvPr>
            <p:custDataLst>
              <p:tags r:id="rId13"/>
            </p:custDataLst>
          </p:nvPr>
        </p:nvSpPr>
        <p:spPr bwMode="auto">
          <a:xfrm>
            <a:off x="9631741" y="6597664"/>
            <a:ext cx="125034" cy="123111"/>
          </a:xfrm>
          <a:prstGeom prst="rect">
            <a:avLst/>
          </a:prstGeom>
          <a:noFill/>
          <a:ln w="9525">
            <a:noFill/>
            <a:miter lim="800000"/>
            <a:headEnd/>
            <a:tailEnd/>
          </a:ln>
        </p:spPr>
        <p:txBody>
          <a:bodyPr wrap="none" lIns="0" tIns="0" rIns="0" bIns="0">
            <a:spAutoFit/>
          </a:bodyPr>
          <a:lstStyle/>
          <a:p>
            <a:pPr algn="r" defTabSz="762000" eaLnBrk="0" hangingPunct="0">
              <a:defRPr/>
            </a:pPr>
            <a:fld id="{378632BB-695A-4944-88A8-4F2881907F98}" type="slidenum">
              <a:rPr lang="it-IT" sz="800" b="0">
                <a:solidFill>
                  <a:srgbClr val="8995B4"/>
                </a:solidFill>
              </a:rPr>
              <a:pPr algn="r" defTabSz="762000" eaLnBrk="0" hangingPunct="0">
                <a:defRPr/>
              </a:pPr>
              <a:t>‹nº›</a:t>
            </a:fld>
            <a:endParaRPr lang="it-IT" sz="800" b="0">
              <a:solidFill>
                <a:srgbClr val="8995B4"/>
              </a:solidFill>
            </a:endParaRPr>
          </a:p>
        </p:txBody>
      </p:sp>
      <p:pic>
        <p:nvPicPr>
          <p:cNvPr id="414726" name="Picture 10" descr="LogosTIM2009_VoceSemFronteiras"/>
          <p:cNvPicPr>
            <a:picLocks noChangeAspect="1" noChangeArrowheads="1"/>
          </p:cNvPicPr>
          <p:nvPr/>
        </p:nvPicPr>
        <p:blipFill>
          <a:blip r:embed="rId15" cstate="email">
            <a:clrChange>
              <a:clrFrom>
                <a:srgbClr val="000000"/>
              </a:clrFrom>
              <a:clrTo>
                <a:srgbClr val="000000">
                  <a:alpha val="0"/>
                </a:srgbClr>
              </a:clrTo>
            </a:clrChange>
            <a:extLst>
              <a:ext uri="{28A0092B-C50C-407E-A947-70E740481C1C}">
                <a14:useLocalDpi xmlns="" xmlns:a14="http://schemas.microsoft.com/office/drawing/2010/main"/>
              </a:ext>
            </a:extLst>
          </a:blip>
          <a:srcRect/>
          <a:stretch>
            <a:fillRect/>
          </a:stretch>
        </p:blipFill>
        <p:spPr bwMode="auto">
          <a:xfrm>
            <a:off x="8374063" y="131766"/>
            <a:ext cx="1249362" cy="61753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416" r:id="rId1"/>
    <p:sldLayoutId id="2147484415" r:id="rId2"/>
    <p:sldLayoutId id="2147484414" r:id="rId3"/>
    <p:sldLayoutId id="2147484413" r:id="rId4"/>
    <p:sldLayoutId id="2147484412" r:id="rId5"/>
    <p:sldLayoutId id="2147484411" r:id="rId6"/>
    <p:sldLayoutId id="2147484410" r:id="rId7"/>
    <p:sldLayoutId id="2147484409" r:id="rId8"/>
    <p:sldLayoutId id="2147484408" r:id="rId9"/>
    <p:sldLayoutId id="2147484407" r:id="rId10"/>
    <p:sldLayoutId id="2147484406" r:id="rId11"/>
  </p:sldLayoutIdLst>
  <p:txStyles>
    <p:titleStyle>
      <a:lvl1pPr algn="l" rtl="0" eaLnBrk="0" fontAlgn="base" hangingPunct="0">
        <a:lnSpc>
          <a:spcPct val="80000"/>
        </a:lnSpc>
        <a:spcBef>
          <a:spcPct val="0"/>
        </a:spcBef>
        <a:spcAft>
          <a:spcPct val="0"/>
        </a:spcAft>
        <a:defRPr sz="2600" b="1">
          <a:solidFill>
            <a:schemeClr val="bg1"/>
          </a:solidFill>
          <a:latin typeface="+mj-lt"/>
          <a:ea typeface="+mj-ea"/>
          <a:cs typeface="+mj-cs"/>
        </a:defRPr>
      </a:lvl1pPr>
      <a:lvl2pPr algn="l" rtl="0" eaLnBrk="0" fontAlgn="base" hangingPunct="0">
        <a:lnSpc>
          <a:spcPct val="80000"/>
        </a:lnSpc>
        <a:spcBef>
          <a:spcPct val="0"/>
        </a:spcBef>
        <a:spcAft>
          <a:spcPct val="0"/>
        </a:spcAft>
        <a:defRPr sz="2600" b="1">
          <a:solidFill>
            <a:schemeClr val="bg1"/>
          </a:solidFill>
          <a:latin typeface="Franklin Gothic Medium" pitchFamily="34" charset="0"/>
          <a:cs typeface="Arial" charset="0"/>
        </a:defRPr>
      </a:lvl2pPr>
      <a:lvl3pPr algn="l" rtl="0" eaLnBrk="0" fontAlgn="base" hangingPunct="0">
        <a:lnSpc>
          <a:spcPct val="80000"/>
        </a:lnSpc>
        <a:spcBef>
          <a:spcPct val="0"/>
        </a:spcBef>
        <a:spcAft>
          <a:spcPct val="0"/>
        </a:spcAft>
        <a:defRPr sz="2600" b="1">
          <a:solidFill>
            <a:schemeClr val="bg1"/>
          </a:solidFill>
          <a:latin typeface="Franklin Gothic Medium" pitchFamily="34" charset="0"/>
          <a:cs typeface="Arial" charset="0"/>
        </a:defRPr>
      </a:lvl3pPr>
      <a:lvl4pPr algn="l" rtl="0" eaLnBrk="0" fontAlgn="base" hangingPunct="0">
        <a:lnSpc>
          <a:spcPct val="80000"/>
        </a:lnSpc>
        <a:spcBef>
          <a:spcPct val="0"/>
        </a:spcBef>
        <a:spcAft>
          <a:spcPct val="0"/>
        </a:spcAft>
        <a:defRPr sz="2600" b="1">
          <a:solidFill>
            <a:schemeClr val="bg1"/>
          </a:solidFill>
          <a:latin typeface="Franklin Gothic Medium" pitchFamily="34" charset="0"/>
          <a:cs typeface="Arial" charset="0"/>
        </a:defRPr>
      </a:lvl4pPr>
      <a:lvl5pPr algn="l" rtl="0" eaLnBrk="0" fontAlgn="base" hangingPunct="0">
        <a:lnSpc>
          <a:spcPct val="80000"/>
        </a:lnSpc>
        <a:spcBef>
          <a:spcPct val="0"/>
        </a:spcBef>
        <a:spcAft>
          <a:spcPct val="0"/>
        </a:spcAft>
        <a:defRPr sz="2600" b="1">
          <a:solidFill>
            <a:schemeClr val="bg1"/>
          </a:solidFill>
          <a:latin typeface="Franklin Gothic Medium" pitchFamily="34" charset="0"/>
          <a:cs typeface="Arial" charset="0"/>
        </a:defRPr>
      </a:lvl5pPr>
      <a:lvl6pPr marL="457200" algn="l" rtl="0" fontAlgn="base">
        <a:lnSpc>
          <a:spcPct val="80000"/>
        </a:lnSpc>
        <a:spcBef>
          <a:spcPct val="0"/>
        </a:spcBef>
        <a:spcAft>
          <a:spcPct val="0"/>
        </a:spcAft>
        <a:defRPr sz="2600" b="1">
          <a:solidFill>
            <a:schemeClr val="bg1"/>
          </a:solidFill>
          <a:latin typeface="Franklin Gothic Medium" pitchFamily="34" charset="0"/>
          <a:cs typeface="Arial" charset="0"/>
        </a:defRPr>
      </a:lvl6pPr>
      <a:lvl7pPr marL="914400" algn="l" rtl="0" fontAlgn="base">
        <a:lnSpc>
          <a:spcPct val="80000"/>
        </a:lnSpc>
        <a:spcBef>
          <a:spcPct val="0"/>
        </a:spcBef>
        <a:spcAft>
          <a:spcPct val="0"/>
        </a:spcAft>
        <a:defRPr sz="2600" b="1">
          <a:solidFill>
            <a:schemeClr val="bg1"/>
          </a:solidFill>
          <a:latin typeface="Franklin Gothic Medium" pitchFamily="34" charset="0"/>
          <a:cs typeface="Arial" charset="0"/>
        </a:defRPr>
      </a:lvl7pPr>
      <a:lvl8pPr marL="1371600" algn="l" rtl="0" fontAlgn="base">
        <a:lnSpc>
          <a:spcPct val="80000"/>
        </a:lnSpc>
        <a:spcBef>
          <a:spcPct val="0"/>
        </a:spcBef>
        <a:spcAft>
          <a:spcPct val="0"/>
        </a:spcAft>
        <a:defRPr sz="2600" b="1">
          <a:solidFill>
            <a:schemeClr val="bg1"/>
          </a:solidFill>
          <a:latin typeface="Franklin Gothic Medium" pitchFamily="34" charset="0"/>
          <a:cs typeface="Arial" charset="0"/>
        </a:defRPr>
      </a:lvl8pPr>
      <a:lvl9pPr marL="1828800" algn="l" rtl="0" fontAlgn="base">
        <a:lnSpc>
          <a:spcPct val="80000"/>
        </a:lnSpc>
        <a:spcBef>
          <a:spcPct val="0"/>
        </a:spcBef>
        <a:spcAft>
          <a:spcPct val="0"/>
        </a:spcAft>
        <a:defRPr sz="2600" b="1">
          <a:solidFill>
            <a:schemeClr val="bg1"/>
          </a:solidFill>
          <a:latin typeface="Franklin Gothic Medium" pitchFamily="34" charset="0"/>
          <a:cs typeface="Arial" charset="0"/>
        </a:defRPr>
      </a:lvl9pPr>
    </p:titleStyle>
    <p:bodyStyle>
      <a:lvl1pPr marL="342900" indent="-342900" algn="just" rtl="0" eaLnBrk="0" fontAlgn="base" hangingPunct="0">
        <a:lnSpc>
          <a:spcPct val="110000"/>
        </a:lnSpc>
        <a:spcBef>
          <a:spcPct val="20000"/>
        </a:spcBef>
        <a:spcAft>
          <a:spcPct val="10000"/>
        </a:spcAft>
        <a:buClr>
          <a:schemeClr val="accent1"/>
        </a:buClr>
        <a:buFont typeface="Franklin Gothic Medium" pitchFamily="34" charset="0"/>
        <a:buChar char="4"/>
        <a:defRPr sz="2000">
          <a:solidFill>
            <a:schemeClr val="tx1"/>
          </a:solidFill>
          <a:latin typeface="+mn-lt"/>
          <a:ea typeface="+mn-ea"/>
          <a:cs typeface="+mn-cs"/>
        </a:defRPr>
      </a:lvl1pPr>
      <a:lvl2pPr marL="812800" indent="-277813" algn="just" rtl="0" eaLnBrk="0" fontAlgn="base" hangingPunct="0">
        <a:lnSpc>
          <a:spcPct val="110000"/>
        </a:lnSpc>
        <a:spcBef>
          <a:spcPct val="20000"/>
        </a:spcBef>
        <a:spcAft>
          <a:spcPct val="10000"/>
        </a:spcAft>
        <a:buClr>
          <a:schemeClr val="accent1"/>
        </a:buClr>
        <a:buFont typeface="Franklin Gothic Medium" pitchFamily="34" charset="0"/>
        <a:buChar char="4"/>
        <a:defRPr sz="2800" b="1">
          <a:solidFill>
            <a:schemeClr val="tx1"/>
          </a:solidFill>
          <a:latin typeface="+mn-lt"/>
          <a:cs typeface="+mn-cs"/>
        </a:defRPr>
      </a:lvl2pPr>
      <a:lvl3pPr marL="1524000" indent="-266700" algn="just" rtl="0" eaLnBrk="0" fontAlgn="base" hangingPunct="0">
        <a:lnSpc>
          <a:spcPct val="110000"/>
        </a:lnSpc>
        <a:spcBef>
          <a:spcPct val="20000"/>
        </a:spcBef>
        <a:spcAft>
          <a:spcPct val="10000"/>
        </a:spcAft>
        <a:buClr>
          <a:schemeClr val="accent1"/>
        </a:buClr>
        <a:buFont typeface="Franklin Gothic Medium" pitchFamily="34" charset="0"/>
        <a:buChar char="4"/>
        <a:defRPr sz="2400">
          <a:solidFill>
            <a:schemeClr val="tx1"/>
          </a:solidFill>
          <a:latin typeface="+mn-lt"/>
          <a:cs typeface="+mn-cs"/>
        </a:defRPr>
      </a:lvl3pPr>
      <a:lvl4pPr marL="2157413" indent="-188913" algn="just" rtl="0" eaLnBrk="0" fontAlgn="base" hangingPunct="0">
        <a:lnSpc>
          <a:spcPct val="110000"/>
        </a:lnSpc>
        <a:spcBef>
          <a:spcPct val="20000"/>
        </a:spcBef>
        <a:spcAft>
          <a:spcPct val="10000"/>
        </a:spcAft>
        <a:buClr>
          <a:schemeClr val="accent1"/>
        </a:buClr>
        <a:buFont typeface="Franklin Gothic Medium" pitchFamily="34" charset="0"/>
        <a:buChar char="4"/>
        <a:defRPr sz="1600" b="1">
          <a:solidFill>
            <a:schemeClr val="tx1"/>
          </a:solidFill>
          <a:latin typeface="+mn-lt"/>
          <a:cs typeface="+mn-cs"/>
        </a:defRPr>
      </a:lvl4pPr>
      <a:lvl5pPr marL="2603500" indent="-177800" algn="just" rtl="0" eaLnBrk="0" fontAlgn="base" hangingPunct="0">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5pPr>
      <a:lvl6pPr marL="30607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6pPr>
      <a:lvl7pPr marL="35179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7pPr>
      <a:lvl8pPr marL="39751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8pPr>
      <a:lvl9pPr marL="44323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6146" name="Picture 8" descr="TIM_MENTE_SEM_FRONTEIRAS_0803 0008"/>
          <p:cNvPicPr>
            <a:picLocks noChangeAspect="1" noChangeArrowheads="1"/>
          </p:cNvPicPr>
          <p:nvPr userDrawn="1"/>
        </p:nvPicPr>
        <p:blipFill>
          <a:blip r:embed="rId17" cstate="print">
            <a:extLst>
              <a:ext uri="{28A0092B-C50C-407E-A947-70E740481C1C}">
                <a14:useLocalDpi xmlns="" xmlns:a14="http://schemas.microsoft.com/office/drawing/2010/main"/>
              </a:ext>
            </a:extLst>
          </a:blip>
          <a:srcRect/>
          <a:stretch>
            <a:fillRect/>
          </a:stretch>
        </p:blipFill>
        <p:spPr bwMode="auto">
          <a:xfrm>
            <a:off x="0" y="-12700"/>
            <a:ext cx="9906000" cy="8969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147" name="Rectangle 2"/>
          <p:cNvSpPr>
            <a:spLocks noChangeArrowheads="1"/>
          </p:cNvSpPr>
          <p:nvPr/>
        </p:nvSpPr>
        <p:spPr bwMode="auto">
          <a:xfrm>
            <a:off x="0" y="0"/>
            <a:ext cx="9906000" cy="6851650"/>
          </a:xfrm>
          <a:prstGeom prst="rect">
            <a:avLst/>
          </a:prstGeom>
          <a:noFill/>
          <a:ln w="12700" cap="sq">
            <a:solidFill>
              <a:srgbClr val="595959"/>
            </a:solidFill>
            <a:miter lim="800000"/>
            <a:headEnd type="none" w="sm" len="sm"/>
            <a:tailEnd type="none" w="sm" len="sm"/>
          </a:ln>
          <a:extLst>
            <a:ext uri="{909E8E84-426E-40dd-AFC4-6F175D3DCCD1}">
              <a14:hiddenFill xmlns="" xmlns:a14="http://schemas.microsoft.com/office/drawing/2010/main">
                <a:solidFill>
                  <a:srgbClr val="FFFFFF"/>
                </a:solidFill>
              </a14:hiddenFill>
            </a:ext>
          </a:extLst>
        </p:spPr>
        <p:txBody>
          <a:bodyPr wrap="none" anchor="ctr"/>
          <a:lstStyle/>
          <a:p>
            <a:pPr algn="r" eaLnBrk="0" hangingPunct="0"/>
            <a:endParaRPr lang="pt-BR" sz="1000" b="0" i="1" smtClean="0">
              <a:solidFill>
                <a:srgbClr val="004990"/>
              </a:solidFill>
              <a:latin typeface="Franklin Gothic Medium" pitchFamily="34" charset="0"/>
              <a:cs typeface="Arial" pitchFamily="34" charset="0"/>
            </a:endParaRPr>
          </a:p>
        </p:txBody>
      </p:sp>
      <p:sp>
        <p:nvSpPr>
          <p:cNvPr id="6148" name="Rectangle 13"/>
          <p:cNvSpPr>
            <a:spLocks noGrp="1" noChangeArrowheads="1"/>
          </p:cNvSpPr>
          <p:nvPr>
            <p:ph type="title"/>
          </p:nvPr>
        </p:nvSpPr>
        <p:spPr bwMode="auto">
          <a:xfrm>
            <a:off x="307983" y="227013"/>
            <a:ext cx="7980363"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it-IT" smtClean="0"/>
              <a:t>Click to edit Master title style</a:t>
            </a:r>
          </a:p>
        </p:txBody>
      </p:sp>
      <p:sp>
        <p:nvSpPr>
          <p:cNvPr id="6149" name="Rectangle 37"/>
          <p:cNvSpPr>
            <a:spLocks noChangeArrowheads="1"/>
          </p:cNvSpPr>
          <p:nvPr userDrawn="1">
            <p:custDataLst>
              <p:tags r:id="rId16"/>
            </p:custDataLst>
          </p:nvPr>
        </p:nvSpPr>
        <p:spPr bwMode="auto">
          <a:xfrm>
            <a:off x="9631741" y="6597663"/>
            <a:ext cx="125034"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p>
            <a:pPr algn="r" defTabSz="762000" eaLnBrk="0" hangingPunct="0"/>
            <a:fld id="{276641BC-F25B-4B8E-A4DF-AF457C8D7ACC}" type="slidenum">
              <a:rPr lang="it-IT" sz="800" b="0" smtClean="0">
                <a:solidFill>
                  <a:srgbClr val="8995B4"/>
                </a:solidFill>
                <a:latin typeface="Arial" pitchFamily="34" charset="0"/>
                <a:cs typeface="Arial" pitchFamily="34" charset="0"/>
              </a:rPr>
              <a:pPr algn="r" defTabSz="762000" eaLnBrk="0" hangingPunct="0"/>
              <a:t>‹nº›</a:t>
            </a:fld>
            <a:endParaRPr lang="it-IT" sz="800" b="0" smtClean="0">
              <a:solidFill>
                <a:srgbClr val="8995B4"/>
              </a:solidFill>
              <a:latin typeface="Arial" pitchFamily="34" charset="0"/>
              <a:cs typeface="Arial" pitchFamily="34" charset="0"/>
            </a:endParaRPr>
          </a:p>
        </p:txBody>
      </p:sp>
      <p:pic>
        <p:nvPicPr>
          <p:cNvPr id="6150" name="Picture 10" descr="LogosTIM2009_VoceSemFronteiras"/>
          <p:cNvPicPr>
            <a:picLocks noChangeAspect="1" noChangeArrowheads="1"/>
          </p:cNvPicPr>
          <p:nvPr userDrawn="1"/>
        </p:nvPicPr>
        <p:blipFill>
          <a:blip r:embed="rId18" cstate="email">
            <a:clrChange>
              <a:clrFrom>
                <a:srgbClr val="000000"/>
              </a:clrFrom>
              <a:clrTo>
                <a:srgbClr val="000000">
                  <a:alpha val="0"/>
                </a:srgbClr>
              </a:clrTo>
            </a:clrChange>
            <a:extLst>
              <a:ext uri="{28A0092B-C50C-407E-A947-70E740481C1C}">
                <a14:useLocalDpi xmlns="" xmlns:a14="http://schemas.microsoft.com/office/drawing/2010/main"/>
              </a:ext>
            </a:extLst>
          </a:blip>
          <a:srcRect/>
          <a:stretch>
            <a:fillRect/>
          </a:stretch>
        </p:blipFill>
        <p:spPr bwMode="auto">
          <a:xfrm>
            <a:off x="8374063" y="131766"/>
            <a:ext cx="1249362" cy="6175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 xmlns:p14="http://schemas.microsoft.com/office/powerpoint/2010/main" val="3316242121"/>
      </p:ext>
    </p:extLst>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8" r:id="rId10"/>
    <p:sldLayoutId id="2147484429" r:id="rId11"/>
    <p:sldLayoutId id="2147484430" r:id="rId12"/>
    <p:sldLayoutId id="2147484431" r:id="rId13"/>
    <p:sldLayoutId id="2147484432" r:id="rId14"/>
  </p:sldLayoutIdLst>
  <p:txStyles>
    <p:titleStyle>
      <a:lvl1pPr algn="l" rtl="0" eaLnBrk="0" fontAlgn="base" hangingPunct="0">
        <a:lnSpc>
          <a:spcPct val="80000"/>
        </a:lnSpc>
        <a:spcBef>
          <a:spcPct val="0"/>
        </a:spcBef>
        <a:spcAft>
          <a:spcPct val="0"/>
        </a:spcAft>
        <a:defRPr sz="2600" b="1">
          <a:solidFill>
            <a:schemeClr val="bg1"/>
          </a:solidFill>
          <a:latin typeface="+mj-lt"/>
          <a:ea typeface="Arial" charset="0"/>
          <a:cs typeface="+mj-cs"/>
        </a:defRPr>
      </a:lvl1pPr>
      <a:lvl2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2pPr>
      <a:lvl3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3pPr>
      <a:lvl4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4pPr>
      <a:lvl5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5pPr>
      <a:lvl6pPr marL="4572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6pPr>
      <a:lvl7pPr marL="9144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7pPr>
      <a:lvl8pPr marL="13716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8pPr>
      <a:lvl9pPr marL="18288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9pPr>
    </p:titleStyle>
    <p:bodyStyle>
      <a:lvl1pPr marL="342900" indent="-342900" algn="just" rtl="0" eaLnBrk="0" fontAlgn="base" hangingPunct="0">
        <a:lnSpc>
          <a:spcPct val="110000"/>
        </a:lnSpc>
        <a:spcBef>
          <a:spcPct val="20000"/>
        </a:spcBef>
        <a:spcAft>
          <a:spcPct val="10000"/>
        </a:spcAft>
        <a:buClr>
          <a:schemeClr val="accent1"/>
        </a:buClr>
        <a:buFont typeface="Franklin Gothic Medium" pitchFamily="34" charset="0"/>
        <a:buChar char="4"/>
        <a:defRPr sz="2000">
          <a:solidFill>
            <a:schemeClr val="tx1"/>
          </a:solidFill>
          <a:latin typeface="+mn-lt"/>
          <a:ea typeface="Arial" charset="0"/>
          <a:cs typeface="+mn-cs"/>
        </a:defRPr>
      </a:lvl1pPr>
      <a:lvl2pPr marL="812800" indent="-277813" algn="just" rtl="0" eaLnBrk="0" fontAlgn="base" hangingPunct="0">
        <a:lnSpc>
          <a:spcPct val="110000"/>
        </a:lnSpc>
        <a:spcBef>
          <a:spcPct val="20000"/>
        </a:spcBef>
        <a:spcAft>
          <a:spcPct val="10000"/>
        </a:spcAft>
        <a:buClr>
          <a:schemeClr val="accent1"/>
        </a:buClr>
        <a:buFont typeface="Franklin Gothic Medium" pitchFamily="34" charset="0"/>
        <a:buChar char="4"/>
        <a:defRPr sz="2800" b="1">
          <a:solidFill>
            <a:schemeClr val="tx1"/>
          </a:solidFill>
          <a:latin typeface="+mn-lt"/>
          <a:ea typeface="Arial" charset="0"/>
          <a:cs typeface="+mn-cs"/>
        </a:defRPr>
      </a:lvl2pPr>
      <a:lvl3pPr marL="1524000" indent="-266700" algn="just" rtl="0" eaLnBrk="0" fontAlgn="base" hangingPunct="0">
        <a:lnSpc>
          <a:spcPct val="110000"/>
        </a:lnSpc>
        <a:spcBef>
          <a:spcPct val="20000"/>
        </a:spcBef>
        <a:spcAft>
          <a:spcPct val="10000"/>
        </a:spcAft>
        <a:buClr>
          <a:schemeClr val="accent1"/>
        </a:buClr>
        <a:buFont typeface="Franklin Gothic Medium" pitchFamily="34" charset="0"/>
        <a:buChar char="4"/>
        <a:defRPr sz="2400">
          <a:solidFill>
            <a:schemeClr val="tx1"/>
          </a:solidFill>
          <a:latin typeface="+mn-lt"/>
          <a:ea typeface="Arial" charset="0"/>
          <a:cs typeface="+mn-cs"/>
        </a:defRPr>
      </a:lvl3pPr>
      <a:lvl4pPr marL="2157413" indent="-188913" algn="just" rtl="0" eaLnBrk="0" fontAlgn="base" hangingPunct="0">
        <a:lnSpc>
          <a:spcPct val="110000"/>
        </a:lnSpc>
        <a:spcBef>
          <a:spcPct val="20000"/>
        </a:spcBef>
        <a:spcAft>
          <a:spcPct val="10000"/>
        </a:spcAft>
        <a:buClr>
          <a:schemeClr val="accent1"/>
        </a:buClr>
        <a:buFont typeface="Franklin Gothic Medium" pitchFamily="34" charset="0"/>
        <a:buChar char="4"/>
        <a:defRPr sz="1600" b="1">
          <a:solidFill>
            <a:schemeClr val="tx1"/>
          </a:solidFill>
          <a:latin typeface="+mn-lt"/>
          <a:ea typeface="Arial" charset="0"/>
          <a:cs typeface="+mn-cs"/>
        </a:defRPr>
      </a:lvl4pPr>
      <a:lvl5pPr marL="2603500" indent="-177800" algn="just" rtl="0" eaLnBrk="0" fontAlgn="base" hangingPunct="0">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ea typeface="Arial" charset="0"/>
          <a:cs typeface="+mn-cs"/>
        </a:defRPr>
      </a:lvl5pPr>
      <a:lvl6pPr marL="30607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6pPr>
      <a:lvl7pPr marL="35179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7pPr>
      <a:lvl8pPr marL="39751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8pPr>
      <a:lvl9pPr marL="44323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1986" name="Picture 8" descr="TIM_MENTE_SEM_FRONTEIRAS_0803 0008"/>
          <p:cNvPicPr>
            <a:picLocks noChangeAspect="1" noChangeArrowheads="1"/>
          </p:cNvPicPr>
          <p:nvPr/>
        </p:nvPicPr>
        <p:blipFill>
          <a:blip r:embed="rId14" cstate="print"/>
          <a:srcRect/>
          <a:stretch>
            <a:fillRect/>
          </a:stretch>
        </p:blipFill>
        <p:spPr bwMode="auto">
          <a:xfrm>
            <a:off x="0" y="-12700"/>
            <a:ext cx="9906000" cy="896938"/>
          </a:xfrm>
          <a:prstGeom prst="rect">
            <a:avLst/>
          </a:prstGeom>
          <a:noFill/>
          <a:ln w="9525">
            <a:noFill/>
            <a:miter lim="800000"/>
            <a:headEnd/>
            <a:tailEnd/>
          </a:ln>
        </p:spPr>
      </p:pic>
      <p:sp>
        <p:nvSpPr>
          <p:cNvPr id="4099" name="Rectangle 3"/>
          <p:cNvSpPr>
            <a:spLocks noChangeArrowheads="1"/>
          </p:cNvSpPr>
          <p:nvPr/>
        </p:nvSpPr>
        <p:spPr bwMode="auto">
          <a:xfrm>
            <a:off x="0" y="0"/>
            <a:ext cx="9906000" cy="6851650"/>
          </a:xfrm>
          <a:prstGeom prst="rect">
            <a:avLst/>
          </a:prstGeom>
          <a:noFill/>
          <a:ln w="12700" cap="sq">
            <a:solidFill>
              <a:srgbClr val="595959"/>
            </a:solidFill>
            <a:miter lim="800000"/>
            <a:headEnd type="none" w="sm" len="sm"/>
            <a:tailEnd type="none" w="sm" len="sm"/>
          </a:ln>
        </p:spPr>
        <p:txBody>
          <a:bodyPr wrap="none" anchor="ctr"/>
          <a:lstStyle/>
          <a:p>
            <a:pPr algn="r" eaLnBrk="0" hangingPunct="0">
              <a:defRPr/>
            </a:pPr>
            <a:endParaRPr lang="pt-BR" sz="1000" b="0" i="1">
              <a:latin typeface="Franklin Gothic Medium" charset="0"/>
            </a:endParaRPr>
          </a:p>
        </p:txBody>
      </p:sp>
      <p:sp>
        <p:nvSpPr>
          <p:cNvPr id="41988" name="Rectangle 13"/>
          <p:cNvSpPr>
            <a:spLocks noGrp="1" noChangeArrowheads="1"/>
          </p:cNvSpPr>
          <p:nvPr>
            <p:ph type="title"/>
          </p:nvPr>
        </p:nvSpPr>
        <p:spPr bwMode="auto">
          <a:xfrm>
            <a:off x="307983" y="227013"/>
            <a:ext cx="79803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it-IT" smtClean="0"/>
              <a:t>Click to edit Master title style</a:t>
            </a:r>
          </a:p>
        </p:txBody>
      </p:sp>
      <p:sp>
        <p:nvSpPr>
          <p:cNvPr id="4101" name="Rectangle 37"/>
          <p:cNvSpPr>
            <a:spLocks noChangeArrowheads="1"/>
          </p:cNvSpPr>
          <p:nvPr>
            <p:custDataLst>
              <p:tags r:id="rId13"/>
            </p:custDataLst>
          </p:nvPr>
        </p:nvSpPr>
        <p:spPr bwMode="auto">
          <a:xfrm>
            <a:off x="9631741" y="6597664"/>
            <a:ext cx="125034" cy="123111"/>
          </a:xfrm>
          <a:prstGeom prst="rect">
            <a:avLst/>
          </a:prstGeom>
          <a:noFill/>
          <a:ln w="9525">
            <a:noFill/>
            <a:miter lim="800000"/>
            <a:headEnd/>
            <a:tailEnd/>
          </a:ln>
        </p:spPr>
        <p:txBody>
          <a:bodyPr wrap="none" lIns="0" tIns="0" rIns="0" bIns="0">
            <a:spAutoFit/>
          </a:bodyPr>
          <a:lstStyle/>
          <a:p>
            <a:pPr algn="r" defTabSz="762000" eaLnBrk="0" hangingPunct="0">
              <a:defRPr/>
            </a:pPr>
            <a:fld id="{1F48888B-7FD5-4E5F-A693-5394997941DE}" type="slidenum">
              <a:rPr lang="it-IT" sz="800" b="0">
                <a:solidFill>
                  <a:srgbClr val="8995B4"/>
                </a:solidFill>
              </a:rPr>
              <a:pPr algn="r" defTabSz="762000" eaLnBrk="0" hangingPunct="0">
                <a:defRPr/>
              </a:pPr>
              <a:t>‹nº›</a:t>
            </a:fld>
            <a:endParaRPr lang="it-IT" sz="800" b="0">
              <a:solidFill>
                <a:srgbClr val="8995B4"/>
              </a:solidFill>
            </a:endParaRPr>
          </a:p>
        </p:txBody>
      </p:sp>
      <p:pic>
        <p:nvPicPr>
          <p:cNvPr id="41990" name="Picture 10" descr="LogosTIM2009_VoceSemFronteiras"/>
          <p:cNvPicPr>
            <a:picLocks noChangeAspect="1" noChangeArrowheads="1"/>
          </p:cNvPicPr>
          <p:nvPr/>
        </p:nvPicPr>
        <p:blipFill>
          <a:blip r:embed="rId15" cstate="email">
            <a:clrChange>
              <a:clrFrom>
                <a:srgbClr val="000000"/>
              </a:clrFrom>
              <a:clrTo>
                <a:srgbClr val="000000">
                  <a:alpha val="0"/>
                </a:srgbClr>
              </a:clrTo>
            </a:clrChange>
            <a:extLst>
              <a:ext uri="{28A0092B-C50C-407E-A947-70E740481C1C}">
                <a14:useLocalDpi xmlns="" xmlns:a14="http://schemas.microsoft.com/office/drawing/2010/main"/>
              </a:ext>
            </a:extLst>
          </a:blip>
          <a:srcRect/>
          <a:stretch>
            <a:fillRect/>
          </a:stretch>
        </p:blipFill>
        <p:spPr bwMode="auto">
          <a:xfrm>
            <a:off x="8374063" y="131766"/>
            <a:ext cx="1249362" cy="61753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081" r:id="rId1"/>
    <p:sldLayoutId id="2147484080" r:id="rId2"/>
    <p:sldLayoutId id="2147484079" r:id="rId3"/>
    <p:sldLayoutId id="2147484078" r:id="rId4"/>
    <p:sldLayoutId id="2147484077" r:id="rId5"/>
    <p:sldLayoutId id="2147484076" r:id="rId6"/>
    <p:sldLayoutId id="2147484075" r:id="rId7"/>
    <p:sldLayoutId id="2147484074" r:id="rId8"/>
    <p:sldLayoutId id="2147484073" r:id="rId9"/>
    <p:sldLayoutId id="2147484072" r:id="rId10"/>
    <p:sldLayoutId id="2147484071" r:id="rId11"/>
  </p:sldLayoutIdLst>
  <p:txStyles>
    <p:titleStyle>
      <a:lvl1pPr algn="l" rtl="0" eaLnBrk="0" fontAlgn="base" hangingPunct="0">
        <a:lnSpc>
          <a:spcPct val="80000"/>
        </a:lnSpc>
        <a:spcBef>
          <a:spcPct val="0"/>
        </a:spcBef>
        <a:spcAft>
          <a:spcPct val="0"/>
        </a:spcAft>
        <a:defRPr sz="2600" b="1">
          <a:solidFill>
            <a:schemeClr val="bg1"/>
          </a:solidFill>
          <a:latin typeface="+mj-lt"/>
          <a:ea typeface="Arial" charset="0"/>
          <a:cs typeface="+mj-cs"/>
        </a:defRPr>
      </a:lvl1pPr>
      <a:lvl2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charset="0"/>
        </a:defRPr>
      </a:lvl2pPr>
      <a:lvl3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charset="0"/>
        </a:defRPr>
      </a:lvl3pPr>
      <a:lvl4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charset="0"/>
        </a:defRPr>
      </a:lvl4pPr>
      <a:lvl5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charset="0"/>
        </a:defRPr>
      </a:lvl5pPr>
      <a:lvl6pPr marL="457200" algn="l" rtl="0" fontAlgn="base">
        <a:lnSpc>
          <a:spcPct val="80000"/>
        </a:lnSpc>
        <a:spcBef>
          <a:spcPct val="0"/>
        </a:spcBef>
        <a:spcAft>
          <a:spcPct val="0"/>
        </a:spcAft>
        <a:defRPr sz="2600" b="1">
          <a:solidFill>
            <a:schemeClr val="bg1"/>
          </a:solidFill>
          <a:latin typeface="Franklin Gothic Medium" pitchFamily="34" charset="0"/>
          <a:cs typeface="Arial" charset="0"/>
        </a:defRPr>
      </a:lvl6pPr>
      <a:lvl7pPr marL="914400" algn="l" rtl="0" fontAlgn="base">
        <a:lnSpc>
          <a:spcPct val="80000"/>
        </a:lnSpc>
        <a:spcBef>
          <a:spcPct val="0"/>
        </a:spcBef>
        <a:spcAft>
          <a:spcPct val="0"/>
        </a:spcAft>
        <a:defRPr sz="2600" b="1">
          <a:solidFill>
            <a:schemeClr val="bg1"/>
          </a:solidFill>
          <a:latin typeface="Franklin Gothic Medium" pitchFamily="34" charset="0"/>
          <a:cs typeface="Arial" charset="0"/>
        </a:defRPr>
      </a:lvl7pPr>
      <a:lvl8pPr marL="1371600" algn="l" rtl="0" fontAlgn="base">
        <a:lnSpc>
          <a:spcPct val="80000"/>
        </a:lnSpc>
        <a:spcBef>
          <a:spcPct val="0"/>
        </a:spcBef>
        <a:spcAft>
          <a:spcPct val="0"/>
        </a:spcAft>
        <a:defRPr sz="2600" b="1">
          <a:solidFill>
            <a:schemeClr val="bg1"/>
          </a:solidFill>
          <a:latin typeface="Franklin Gothic Medium" pitchFamily="34" charset="0"/>
          <a:cs typeface="Arial" charset="0"/>
        </a:defRPr>
      </a:lvl8pPr>
      <a:lvl9pPr marL="1828800" algn="l" rtl="0" fontAlgn="base">
        <a:lnSpc>
          <a:spcPct val="80000"/>
        </a:lnSpc>
        <a:spcBef>
          <a:spcPct val="0"/>
        </a:spcBef>
        <a:spcAft>
          <a:spcPct val="0"/>
        </a:spcAft>
        <a:defRPr sz="2600" b="1">
          <a:solidFill>
            <a:schemeClr val="bg1"/>
          </a:solidFill>
          <a:latin typeface="Franklin Gothic Medium" pitchFamily="34" charset="0"/>
          <a:cs typeface="Arial" charset="0"/>
        </a:defRPr>
      </a:lvl9pPr>
    </p:titleStyle>
    <p:bodyStyle>
      <a:lvl1pPr marL="342900" indent="-342900" algn="just" rtl="0" eaLnBrk="0" fontAlgn="base" hangingPunct="0">
        <a:lnSpc>
          <a:spcPct val="110000"/>
        </a:lnSpc>
        <a:spcBef>
          <a:spcPct val="20000"/>
        </a:spcBef>
        <a:spcAft>
          <a:spcPct val="10000"/>
        </a:spcAft>
        <a:buClr>
          <a:schemeClr val="accent1"/>
        </a:buClr>
        <a:buFont typeface="Franklin Gothic Medium" pitchFamily="34" charset="0"/>
        <a:buChar char="4"/>
        <a:defRPr sz="2000">
          <a:solidFill>
            <a:schemeClr val="tx1"/>
          </a:solidFill>
          <a:latin typeface="+mn-lt"/>
          <a:ea typeface="Arial" charset="0"/>
          <a:cs typeface="+mn-cs"/>
        </a:defRPr>
      </a:lvl1pPr>
      <a:lvl2pPr marL="812800" indent="-277813" algn="just" rtl="0" eaLnBrk="0" fontAlgn="base" hangingPunct="0">
        <a:lnSpc>
          <a:spcPct val="110000"/>
        </a:lnSpc>
        <a:spcBef>
          <a:spcPct val="20000"/>
        </a:spcBef>
        <a:spcAft>
          <a:spcPct val="10000"/>
        </a:spcAft>
        <a:buClr>
          <a:schemeClr val="accent1"/>
        </a:buClr>
        <a:buFont typeface="Franklin Gothic Medium" pitchFamily="34" charset="0"/>
        <a:buChar char="4"/>
        <a:defRPr sz="2800" b="1">
          <a:solidFill>
            <a:schemeClr val="tx1"/>
          </a:solidFill>
          <a:latin typeface="+mn-lt"/>
          <a:ea typeface="Arial" charset="0"/>
          <a:cs typeface="+mn-cs"/>
        </a:defRPr>
      </a:lvl2pPr>
      <a:lvl3pPr marL="1524000" indent="-266700" algn="just" rtl="0" eaLnBrk="0" fontAlgn="base" hangingPunct="0">
        <a:lnSpc>
          <a:spcPct val="110000"/>
        </a:lnSpc>
        <a:spcBef>
          <a:spcPct val="20000"/>
        </a:spcBef>
        <a:spcAft>
          <a:spcPct val="10000"/>
        </a:spcAft>
        <a:buClr>
          <a:schemeClr val="accent1"/>
        </a:buClr>
        <a:buFont typeface="Franklin Gothic Medium" pitchFamily="34" charset="0"/>
        <a:buChar char="4"/>
        <a:defRPr sz="2400">
          <a:solidFill>
            <a:schemeClr val="tx1"/>
          </a:solidFill>
          <a:latin typeface="+mn-lt"/>
          <a:ea typeface="Arial" charset="0"/>
          <a:cs typeface="+mn-cs"/>
        </a:defRPr>
      </a:lvl3pPr>
      <a:lvl4pPr marL="2157413" indent="-188913" algn="just" rtl="0" eaLnBrk="0" fontAlgn="base" hangingPunct="0">
        <a:lnSpc>
          <a:spcPct val="110000"/>
        </a:lnSpc>
        <a:spcBef>
          <a:spcPct val="20000"/>
        </a:spcBef>
        <a:spcAft>
          <a:spcPct val="10000"/>
        </a:spcAft>
        <a:buClr>
          <a:schemeClr val="accent1"/>
        </a:buClr>
        <a:buFont typeface="Franklin Gothic Medium" pitchFamily="34" charset="0"/>
        <a:buChar char="4"/>
        <a:defRPr sz="1600" b="1">
          <a:solidFill>
            <a:schemeClr val="tx1"/>
          </a:solidFill>
          <a:latin typeface="+mn-lt"/>
          <a:ea typeface="Arial" charset="0"/>
          <a:cs typeface="+mn-cs"/>
        </a:defRPr>
      </a:lvl4pPr>
      <a:lvl5pPr marL="2603500" indent="-177800" algn="just" rtl="0" eaLnBrk="0" fontAlgn="base" hangingPunct="0">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ea typeface="Arial" charset="0"/>
          <a:cs typeface="+mn-cs"/>
        </a:defRPr>
      </a:lvl5pPr>
      <a:lvl6pPr marL="30607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6pPr>
      <a:lvl7pPr marL="35179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7pPr>
      <a:lvl8pPr marL="39751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8pPr>
      <a:lvl9pPr marL="44323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4274" name="Picture 8" descr="TIM_MENTE_SEM_FRONTEIRAS_0803 0008"/>
          <p:cNvPicPr>
            <a:picLocks noChangeAspect="1" noChangeArrowheads="1"/>
          </p:cNvPicPr>
          <p:nvPr/>
        </p:nvPicPr>
        <p:blipFill>
          <a:blip r:embed="rId15" cstate="print"/>
          <a:srcRect/>
          <a:stretch>
            <a:fillRect/>
          </a:stretch>
        </p:blipFill>
        <p:spPr bwMode="auto">
          <a:xfrm>
            <a:off x="0" y="-12700"/>
            <a:ext cx="9906000" cy="896938"/>
          </a:xfrm>
          <a:prstGeom prst="rect">
            <a:avLst/>
          </a:prstGeom>
          <a:noFill/>
          <a:ln w="9525">
            <a:noFill/>
            <a:miter lim="800000"/>
            <a:headEnd/>
            <a:tailEnd/>
          </a:ln>
        </p:spPr>
      </p:pic>
      <p:sp>
        <p:nvSpPr>
          <p:cNvPr id="5123" name="Rectangle 2"/>
          <p:cNvSpPr>
            <a:spLocks noChangeArrowheads="1"/>
          </p:cNvSpPr>
          <p:nvPr/>
        </p:nvSpPr>
        <p:spPr bwMode="auto">
          <a:xfrm>
            <a:off x="0" y="0"/>
            <a:ext cx="9906000" cy="6851650"/>
          </a:xfrm>
          <a:prstGeom prst="rect">
            <a:avLst/>
          </a:prstGeom>
          <a:noFill/>
          <a:ln w="12700" cap="sq">
            <a:solidFill>
              <a:srgbClr val="595959"/>
            </a:solidFill>
            <a:miter lim="800000"/>
            <a:headEnd type="none" w="sm" len="sm"/>
            <a:tailEnd type="none" w="sm" len="sm"/>
          </a:ln>
        </p:spPr>
        <p:txBody>
          <a:bodyPr wrap="none" anchor="ctr"/>
          <a:lstStyle/>
          <a:p>
            <a:pPr algn="r" eaLnBrk="0" hangingPunct="0">
              <a:defRPr/>
            </a:pPr>
            <a:endParaRPr lang="pt-BR" sz="1000" b="0" i="1">
              <a:latin typeface="Franklin Gothic Medium" charset="0"/>
            </a:endParaRPr>
          </a:p>
        </p:txBody>
      </p:sp>
      <p:sp>
        <p:nvSpPr>
          <p:cNvPr id="54276" name="Rectangle 13"/>
          <p:cNvSpPr>
            <a:spLocks noGrp="1" noChangeArrowheads="1"/>
          </p:cNvSpPr>
          <p:nvPr>
            <p:ph type="title"/>
          </p:nvPr>
        </p:nvSpPr>
        <p:spPr bwMode="auto">
          <a:xfrm>
            <a:off x="307983" y="227013"/>
            <a:ext cx="79803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it-IT" smtClean="0"/>
              <a:t>Click to edit Master title style</a:t>
            </a:r>
          </a:p>
        </p:txBody>
      </p:sp>
      <p:sp>
        <p:nvSpPr>
          <p:cNvPr id="5125" name="Rectangle 37"/>
          <p:cNvSpPr>
            <a:spLocks noChangeArrowheads="1"/>
          </p:cNvSpPr>
          <p:nvPr>
            <p:custDataLst>
              <p:tags r:id="rId14"/>
            </p:custDataLst>
          </p:nvPr>
        </p:nvSpPr>
        <p:spPr bwMode="auto">
          <a:xfrm>
            <a:off x="9631741" y="6597664"/>
            <a:ext cx="125034" cy="123111"/>
          </a:xfrm>
          <a:prstGeom prst="rect">
            <a:avLst/>
          </a:prstGeom>
          <a:noFill/>
          <a:ln w="9525">
            <a:noFill/>
            <a:miter lim="800000"/>
            <a:headEnd/>
            <a:tailEnd/>
          </a:ln>
        </p:spPr>
        <p:txBody>
          <a:bodyPr wrap="none" lIns="0" tIns="0" rIns="0" bIns="0">
            <a:spAutoFit/>
          </a:bodyPr>
          <a:lstStyle/>
          <a:p>
            <a:pPr algn="r" defTabSz="762000" eaLnBrk="0" hangingPunct="0">
              <a:defRPr/>
            </a:pPr>
            <a:fld id="{F93CABD1-B4C0-442E-8FE9-ADEE2E7DCF53}" type="slidenum">
              <a:rPr lang="it-IT" sz="800" b="0">
                <a:solidFill>
                  <a:srgbClr val="8995B4"/>
                </a:solidFill>
              </a:rPr>
              <a:pPr algn="r" defTabSz="762000" eaLnBrk="0" hangingPunct="0">
                <a:defRPr/>
              </a:pPr>
              <a:t>‹nº›</a:t>
            </a:fld>
            <a:endParaRPr lang="it-IT" sz="800" b="0">
              <a:solidFill>
                <a:srgbClr val="8995B4"/>
              </a:solidFill>
            </a:endParaRPr>
          </a:p>
        </p:txBody>
      </p:sp>
      <p:pic>
        <p:nvPicPr>
          <p:cNvPr id="54278" name="Picture 10" descr="LogosTIM2009_VoceSemFronteiras"/>
          <p:cNvPicPr>
            <a:picLocks noChangeAspect="1" noChangeArrowheads="1"/>
          </p:cNvPicPr>
          <p:nvPr/>
        </p:nvPicPr>
        <p:blipFill>
          <a:blip r:embed="rId16" cstate="email">
            <a:clrChange>
              <a:clrFrom>
                <a:srgbClr val="000000"/>
              </a:clrFrom>
              <a:clrTo>
                <a:srgbClr val="000000">
                  <a:alpha val="0"/>
                </a:srgbClr>
              </a:clrTo>
            </a:clrChange>
            <a:extLst>
              <a:ext uri="{28A0092B-C50C-407E-A947-70E740481C1C}">
                <a14:useLocalDpi xmlns="" xmlns:a14="http://schemas.microsoft.com/office/drawing/2010/main"/>
              </a:ext>
            </a:extLst>
          </a:blip>
          <a:srcRect/>
          <a:stretch>
            <a:fillRect/>
          </a:stretch>
        </p:blipFill>
        <p:spPr bwMode="auto">
          <a:xfrm>
            <a:off x="8374063" y="131766"/>
            <a:ext cx="1249362" cy="61753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093" r:id="rId1"/>
    <p:sldLayoutId id="2147484092" r:id="rId2"/>
    <p:sldLayoutId id="2147484091" r:id="rId3"/>
    <p:sldLayoutId id="2147484090" r:id="rId4"/>
    <p:sldLayoutId id="2147484089" r:id="rId5"/>
    <p:sldLayoutId id="2147484088" r:id="rId6"/>
    <p:sldLayoutId id="2147484087" r:id="rId7"/>
    <p:sldLayoutId id="2147484086" r:id="rId8"/>
    <p:sldLayoutId id="2147484085" r:id="rId9"/>
    <p:sldLayoutId id="2147484084" r:id="rId10"/>
    <p:sldLayoutId id="2147484083" r:id="rId11"/>
    <p:sldLayoutId id="2147484082" r:id="rId12"/>
  </p:sldLayoutIdLst>
  <p:txStyles>
    <p:titleStyle>
      <a:lvl1pPr algn="l" rtl="0" eaLnBrk="0" fontAlgn="base" hangingPunct="0">
        <a:lnSpc>
          <a:spcPct val="80000"/>
        </a:lnSpc>
        <a:spcBef>
          <a:spcPct val="0"/>
        </a:spcBef>
        <a:spcAft>
          <a:spcPct val="0"/>
        </a:spcAft>
        <a:defRPr sz="2600" b="1">
          <a:solidFill>
            <a:schemeClr val="bg1"/>
          </a:solidFill>
          <a:latin typeface="+mj-lt"/>
          <a:ea typeface="Arial" charset="0"/>
          <a:cs typeface="+mj-cs"/>
        </a:defRPr>
      </a:lvl1pPr>
      <a:lvl2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2pPr>
      <a:lvl3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3pPr>
      <a:lvl4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4pPr>
      <a:lvl5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5pPr>
      <a:lvl6pPr marL="4572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6pPr>
      <a:lvl7pPr marL="9144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7pPr>
      <a:lvl8pPr marL="13716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8pPr>
      <a:lvl9pPr marL="18288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9pPr>
    </p:titleStyle>
    <p:bodyStyle>
      <a:lvl1pPr marL="342900" indent="-342900" algn="just" rtl="0" eaLnBrk="0" fontAlgn="base" hangingPunct="0">
        <a:lnSpc>
          <a:spcPct val="110000"/>
        </a:lnSpc>
        <a:spcBef>
          <a:spcPct val="20000"/>
        </a:spcBef>
        <a:spcAft>
          <a:spcPct val="10000"/>
        </a:spcAft>
        <a:buClr>
          <a:schemeClr val="accent1"/>
        </a:buClr>
        <a:buFont typeface="Franklin Gothic Medium" pitchFamily="34" charset="0"/>
        <a:buChar char="4"/>
        <a:defRPr sz="2000">
          <a:solidFill>
            <a:schemeClr val="tx1"/>
          </a:solidFill>
          <a:latin typeface="+mn-lt"/>
          <a:ea typeface="Arial" charset="0"/>
          <a:cs typeface="+mn-cs"/>
        </a:defRPr>
      </a:lvl1pPr>
      <a:lvl2pPr marL="812800" indent="-277813" algn="just" rtl="0" eaLnBrk="0" fontAlgn="base" hangingPunct="0">
        <a:lnSpc>
          <a:spcPct val="110000"/>
        </a:lnSpc>
        <a:spcBef>
          <a:spcPct val="20000"/>
        </a:spcBef>
        <a:spcAft>
          <a:spcPct val="10000"/>
        </a:spcAft>
        <a:buClr>
          <a:schemeClr val="accent1"/>
        </a:buClr>
        <a:buFont typeface="Franklin Gothic Medium" pitchFamily="34" charset="0"/>
        <a:buChar char="4"/>
        <a:defRPr sz="2800" b="1">
          <a:solidFill>
            <a:schemeClr val="tx1"/>
          </a:solidFill>
          <a:latin typeface="+mn-lt"/>
          <a:ea typeface="Arial" charset="0"/>
          <a:cs typeface="+mn-cs"/>
        </a:defRPr>
      </a:lvl2pPr>
      <a:lvl3pPr marL="1524000" indent="-266700" algn="just" rtl="0" eaLnBrk="0" fontAlgn="base" hangingPunct="0">
        <a:lnSpc>
          <a:spcPct val="110000"/>
        </a:lnSpc>
        <a:spcBef>
          <a:spcPct val="20000"/>
        </a:spcBef>
        <a:spcAft>
          <a:spcPct val="10000"/>
        </a:spcAft>
        <a:buClr>
          <a:schemeClr val="accent1"/>
        </a:buClr>
        <a:buFont typeface="Franklin Gothic Medium" pitchFamily="34" charset="0"/>
        <a:buChar char="4"/>
        <a:defRPr sz="2400">
          <a:solidFill>
            <a:schemeClr val="tx1"/>
          </a:solidFill>
          <a:latin typeface="+mn-lt"/>
          <a:ea typeface="Arial" charset="0"/>
          <a:cs typeface="+mn-cs"/>
        </a:defRPr>
      </a:lvl3pPr>
      <a:lvl4pPr marL="2157413" indent="-188913" algn="just" rtl="0" eaLnBrk="0" fontAlgn="base" hangingPunct="0">
        <a:lnSpc>
          <a:spcPct val="110000"/>
        </a:lnSpc>
        <a:spcBef>
          <a:spcPct val="20000"/>
        </a:spcBef>
        <a:spcAft>
          <a:spcPct val="10000"/>
        </a:spcAft>
        <a:buClr>
          <a:schemeClr val="accent1"/>
        </a:buClr>
        <a:buFont typeface="Franklin Gothic Medium" pitchFamily="34" charset="0"/>
        <a:buChar char="4"/>
        <a:defRPr sz="1600" b="1">
          <a:solidFill>
            <a:schemeClr val="tx1"/>
          </a:solidFill>
          <a:latin typeface="+mn-lt"/>
          <a:ea typeface="Arial" charset="0"/>
          <a:cs typeface="+mn-cs"/>
        </a:defRPr>
      </a:lvl4pPr>
      <a:lvl5pPr marL="2603500" indent="-177800" algn="just" rtl="0" eaLnBrk="0" fontAlgn="base" hangingPunct="0">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ea typeface="Arial" charset="0"/>
          <a:cs typeface="+mn-cs"/>
        </a:defRPr>
      </a:lvl5pPr>
      <a:lvl6pPr marL="30607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6pPr>
      <a:lvl7pPr marL="35179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7pPr>
      <a:lvl8pPr marL="39751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8pPr>
      <a:lvl9pPr marL="44323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67586" name="Picture 8" descr="TIM_MENTE_SEM_FRONTEIRAS_0803 0008"/>
          <p:cNvPicPr>
            <a:picLocks noChangeAspect="1" noChangeArrowheads="1"/>
          </p:cNvPicPr>
          <p:nvPr/>
        </p:nvPicPr>
        <p:blipFill>
          <a:blip r:embed="rId16" cstate="print"/>
          <a:srcRect/>
          <a:stretch>
            <a:fillRect/>
          </a:stretch>
        </p:blipFill>
        <p:spPr bwMode="auto">
          <a:xfrm>
            <a:off x="0" y="-12700"/>
            <a:ext cx="9906000" cy="896938"/>
          </a:xfrm>
          <a:prstGeom prst="rect">
            <a:avLst/>
          </a:prstGeom>
          <a:noFill/>
          <a:ln w="9525">
            <a:noFill/>
            <a:miter lim="800000"/>
            <a:headEnd/>
            <a:tailEnd/>
          </a:ln>
        </p:spPr>
      </p:pic>
      <p:sp>
        <p:nvSpPr>
          <p:cNvPr id="6147" name="Rectangle 2"/>
          <p:cNvSpPr>
            <a:spLocks noChangeArrowheads="1"/>
          </p:cNvSpPr>
          <p:nvPr/>
        </p:nvSpPr>
        <p:spPr bwMode="auto">
          <a:xfrm>
            <a:off x="0" y="0"/>
            <a:ext cx="9906000" cy="6851650"/>
          </a:xfrm>
          <a:prstGeom prst="rect">
            <a:avLst/>
          </a:prstGeom>
          <a:noFill/>
          <a:ln w="12700" cap="sq">
            <a:solidFill>
              <a:srgbClr val="595959"/>
            </a:solidFill>
            <a:miter lim="800000"/>
            <a:headEnd type="none" w="sm" len="sm"/>
            <a:tailEnd type="none" w="sm" len="sm"/>
          </a:ln>
        </p:spPr>
        <p:txBody>
          <a:bodyPr wrap="none" anchor="ctr"/>
          <a:lstStyle/>
          <a:p>
            <a:pPr algn="r" eaLnBrk="0" hangingPunct="0">
              <a:defRPr/>
            </a:pPr>
            <a:endParaRPr lang="pt-BR" sz="1000" b="0" i="1">
              <a:latin typeface="Franklin Gothic Medium" charset="0"/>
            </a:endParaRPr>
          </a:p>
        </p:txBody>
      </p:sp>
      <p:sp>
        <p:nvSpPr>
          <p:cNvPr id="67588" name="Rectangle 13"/>
          <p:cNvSpPr>
            <a:spLocks noGrp="1" noChangeArrowheads="1"/>
          </p:cNvSpPr>
          <p:nvPr>
            <p:ph type="title"/>
          </p:nvPr>
        </p:nvSpPr>
        <p:spPr bwMode="auto">
          <a:xfrm>
            <a:off x="307983" y="227013"/>
            <a:ext cx="79803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it-IT" smtClean="0"/>
              <a:t>Click to edit Master title style</a:t>
            </a:r>
          </a:p>
        </p:txBody>
      </p:sp>
      <p:sp>
        <p:nvSpPr>
          <p:cNvPr id="6149" name="Rectangle 37"/>
          <p:cNvSpPr>
            <a:spLocks noChangeArrowheads="1"/>
          </p:cNvSpPr>
          <p:nvPr>
            <p:custDataLst>
              <p:tags r:id="rId15"/>
            </p:custDataLst>
          </p:nvPr>
        </p:nvSpPr>
        <p:spPr bwMode="auto">
          <a:xfrm>
            <a:off x="9631741" y="6597664"/>
            <a:ext cx="125034" cy="123111"/>
          </a:xfrm>
          <a:prstGeom prst="rect">
            <a:avLst/>
          </a:prstGeom>
          <a:noFill/>
          <a:ln w="9525">
            <a:noFill/>
            <a:miter lim="800000"/>
            <a:headEnd/>
            <a:tailEnd/>
          </a:ln>
        </p:spPr>
        <p:txBody>
          <a:bodyPr wrap="none" lIns="0" tIns="0" rIns="0" bIns="0">
            <a:spAutoFit/>
          </a:bodyPr>
          <a:lstStyle/>
          <a:p>
            <a:pPr algn="r" defTabSz="762000" eaLnBrk="0" hangingPunct="0">
              <a:defRPr/>
            </a:pPr>
            <a:fld id="{4E3776C0-ADA0-4D80-B4EF-F9EA95BF0136}" type="slidenum">
              <a:rPr lang="it-IT" sz="800" b="0">
                <a:solidFill>
                  <a:srgbClr val="8995B4"/>
                </a:solidFill>
              </a:rPr>
              <a:pPr algn="r" defTabSz="762000" eaLnBrk="0" hangingPunct="0">
                <a:defRPr/>
              </a:pPr>
              <a:t>‹nº›</a:t>
            </a:fld>
            <a:endParaRPr lang="it-IT" sz="800" b="0">
              <a:solidFill>
                <a:srgbClr val="8995B4"/>
              </a:solidFill>
            </a:endParaRPr>
          </a:p>
        </p:txBody>
      </p:sp>
      <p:pic>
        <p:nvPicPr>
          <p:cNvPr id="67590" name="Picture 10" descr="LogosTIM2009_VoceSemFronteiras"/>
          <p:cNvPicPr>
            <a:picLocks noChangeAspect="1" noChangeArrowheads="1"/>
          </p:cNvPicPr>
          <p:nvPr/>
        </p:nvPicPr>
        <p:blipFill>
          <a:blip r:embed="rId17" cstate="email">
            <a:clrChange>
              <a:clrFrom>
                <a:srgbClr val="000000"/>
              </a:clrFrom>
              <a:clrTo>
                <a:srgbClr val="000000">
                  <a:alpha val="0"/>
                </a:srgbClr>
              </a:clrTo>
            </a:clrChange>
            <a:extLst>
              <a:ext uri="{28A0092B-C50C-407E-A947-70E740481C1C}">
                <a14:useLocalDpi xmlns="" xmlns:a14="http://schemas.microsoft.com/office/drawing/2010/main"/>
              </a:ext>
            </a:extLst>
          </a:blip>
          <a:srcRect/>
          <a:stretch>
            <a:fillRect/>
          </a:stretch>
        </p:blipFill>
        <p:spPr bwMode="auto">
          <a:xfrm>
            <a:off x="8374063" y="131766"/>
            <a:ext cx="1249362" cy="61753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106" r:id="rId1"/>
    <p:sldLayoutId id="2147484105" r:id="rId2"/>
    <p:sldLayoutId id="2147484104" r:id="rId3"/>
    <p:sldLayoutId id="2147484103" r:id="rId4"/>
    <p:sldLayoutId id="2147484102" r:id="rId5"/>
    <p:sldLayoutId id="2147484101" r:id="rId6"/>
    <p:sldLayoutId id="2147484100" r:id="rId7"/>
    <p:sldLayoutId id="2147484099" r:id="rId8"/>
    <p:sldLayoutId id="2147484098" r:id="rId9"/>
    <p:sldLayoutId id="2147484097" r:id="rId10"/>
    <p:sldLayoutId id="2147484096" r:id="rId11"/>
    <p:sldLayoutId id="2147484095" r:id="rId12"/>
    <p:sldLayoutId id="2147484094" r:id="rId13"/>
  </p:sldLayoutIdLst>
  <p:txStyles>
    <p:titleStyle>
      <a:lvl1pPr algn="l" rtl="0" eaLnBrk="0" fontAlgn="base" hangingPunct="0">
        <a:lnSpc>
          <a:spcPct val="80000"/>
        </a:lnSpc>
        <a:spcBef>
          <a:spcPct val="0"/>
        </a:spcBef>
        <a:spcAft>
          <a:spcPct val="0"/>
        </a:spcAft>
        <a:defRPr sz="2600" b="1">
          <a:solidFill>
            <a:schemeClr val="bg1"/>
          </a:solidFill>
          <a:latin typeface="+mj-lt"/>
          <a:ea typeface="Arial" charset="0"/>
          <a:cs typeface="+mj-cs"/>
        </a:defRPr>
      </a:lvl1pPr>
      <a:lvl2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2pPr>
      <a:lvl3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3pPr>
      <a:lvl4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4pPr>
      <a:lvl5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5pPr>
      <a:lvl6pPr marL="4572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6pPr>
      <a:lvl7pPr marL="9144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7pPr>
      <a:lvl8pPr marL="13716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8pPr>
      <a:lvl9pPr marL="18288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9pPr>
    </p:titleStyle>
    <p:bodyStyle>
      <a:lvl1pPr marL="342900" indent="-342900" algn="just" rtl="0" eaLnBrk="0" fontAlgn="base" hangingPunct="0">
        <a:lnSpc>
          <a:spcPct val="110000"/>
        </a:lnSpc>
        <a:spcBef>
          <a:spcPct val="20000"/>
        </a:spcBef>
        <a:spcAft>
          <a:spcPct val="10000"/>
        </a:spcAft>
        <a:buClr>
          <a:schemeClr val="accent1"/>
        </a:buClr>
        <a:buFont typeface="Franklin Gothic Medium" pitchFamily="34" charset="0"/>
        <a:buChar char="4"/>
        <a:defRPr sz="2000">
          <a:solidFill>
            <a:schemeClr val="tx1"/>
          </a:solidFill>
          <a:latin typeface="+mn-lt"/>
          <a:ea typeface="Arial" charset="0"/>
          <a:cs typeface="+mn-cs"/>
        </a:defRPr>
      </a:lvl1pPr>
      <a:lvl2pPr marL="812800" indent="-277813" algn="just" rtl="0" eaLnBrk="0" fontAlgn="base" hangingPunct="0">
        <a:lnSpc>
          <a:spcPct val="110000"/>
        </a:lnSpc>
        <a:spcBef>
          <a:spcPct val="20000"/>
        </a:spcBef>
        <a:spcAft>
          <a:spcPct val="10000"/>
        </a:spcAft>
        <a:buClr>
          <a:schemeClr val="accent1"/>
        </a:buClr>
        <a:buFont typeface="Franklin Gothic Medium" pitchFamily="34" charset="0"/>
        <a:buChar char="4"/>
        <a:defRPr sz="2800" b="1">
          <a:solidFill>
            <a:schemeClr val="tx1"/>
          </a:solidFill>
          <a:latin typeface="+mn-lt"/>
          <a:ea typeface="Arial" charset="0"/>
          <a:cs typeface="+mn-cs"/>
        </a:defRPr>
      </a:lvl2pPr>
      <a:lvl3pPr marL="1524000" indent="-266700" algn="just" rtl="0" eaLnBrk="0" fontAlgn="base" hangingPunct="0">
        <a:lnSpc>
          <a:spcPct val="110000"/>
        </a:lnSpc>
        <a:spcBef>
          <a:spcPct val="20000"/>
        </a:spcBef>
        <a:spcAft>
          <a:spcPct val="10000"/>
        </a:spcAft>
        <a:buClr>
          <a:schemeClr val="accent1"/>
        </a:buClr>
        <a:buFont typeface="Franklin Gothic Medium" pitchFamily="34" charset="0"/>
        <a:buChar char="4"/>
        <a:defRPr sz="2400">
          <a:solidFill>
            <a:schemeClr val="tx1"/>
          </a:solidFill>
          <a:latin typeface="+mn-lt"/>
          <a:ea typeface="Arial" charset="0"/>
          <a:cs typeface="+mn-cs"/>
        </a:defRPr>
      </a:lvl3pPr>
      <a:lvl4pPr marL="2157413" indent="-188913" algn="just" rtl="0" eaLnBrk="0" fontAlgn="base" hangingPunct="0">
        <a:lnSpc>
          <a:spcPct val="110000"/>
        </a:lnSpc>
        <a:spcBef>
          <a:spcPct val="20000"/>
        </a:spcBef>
        <a:spcAft>
          <a:spcPct val="10000"/>
        </a:spcAft>
        <a:buClr>
          <a:schemeClr val="accent1"/>
        </a:buClr>
        <a:buFont typeface="Franklin Gothic Medium" pitchFamily="34" charset="0"/>
        <a:buChar char="4"/>
        <a:defRPr sz="1600" b="1">
          <a:solidFill>
            <a:schemeClr val="tx1"/>
          </a:solidFill>
          <a:latin typeface="+mn-lt"/>
          <a:ea typeface="Arial" charset="0"/>
          <a:cs typeface="+mn-cs"/>
        </a:defRPr>
      </a:lvl4pPr>
      <a:lvl5pPr marL="2603500" indent="-177800" algn="just" rtl="0" eaLnBrk="0" fontAlgn="base" hangingPunct="0">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ea typeface="Arial" charset="0"/>
          <a:cs typeface="+mn-cs"/>
        </a:defRPr>
      </a:lvl5pPr>
      <a:lvl6pPr marL="30607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6pPr>
      <a:lvl7pPr marL="35179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7pPr>
      <a:lvl8pPr marL="39751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8pPr>
      <a:lvl9pPr marL="44323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81922" name="Picture 8" descr="TIM_MENTE_SEM_FRONTEIRAS_0803 0008"/>
          <p:cNvPicPr>
            <a:picLocks noChangeAspect="1" noChangeArrowheads="1"/>
          </p:cNvPicPr>
          <p:nvPr/>
        </p:nvPicPr>
        <p:blipFill>
          <a:blip r:embed="rId14" cstate="print"/>
          <a:srcRect/>
          <a:stretch>
            <a:fillRect/>
          </a:stretch>
        </p:blipFill>
        <p:spPr bwMode="auto">
          <a:xfrm>
            <a:off x="0" y="-12700"/>
            <a:ext cx="9906000" cy="896938"/>
          </a:xfrm>
          <a:prstGeom prst="rect">
            <a:avLst/>
          </a:prstGeom>
          <a:noFill/>
          <a:ln w="9525">
            <a:noFill/>
            <a:miter lim="800000"/>
            <a:headEnd/>
            <a:tailEnd/>
          </a:ln>
        </p:spPr>
      </p:pic>
      <p:sp>
        <p:nvSpPr>
          <p:cNvPr id="7171" name="Rectangle 2"/>
          <p:cNvSpPr>
            <a:spLocks noChangeArrowheads="1"/>
          </p:cNvSpPr>
          <p:nvPr/>
        </p:nvSpPr>
        <p:spPr bwMode="auto">
          <a:xfrm>
            <a:off x="0" y="0"/>
            <a:ext cx="9906000" cy="6851650"/>
          </a:xfrm>
          <a:prstGeom prst="rect">
            <a:avLst/>
          </a:prstGeom>
          <a:noFill/>
          <a:ln w="12700" cap="sq">
            <a:solidFill>
              <a:srgbClr val="595959"/>
            </a:solidFill>
            <a:miter lim="800000"/>
            <a:headEnd type="none" w="sm" len="sm"/>
            <a:tailEnd type="none" w="sm" len="sm"/>
          </a:ln>
        </p:spPr>
        <p:txBody>
          <a:bodyPr wrap="none" anchor="ctr"/>
          <a:lstStyle/>
          <a:p>
            <a:pPr algn="r" eaLnBrk="0" hangingPunct="0">
              <a:defRPr/>
            </a:pPr>
            <a:endParaRPr lang="pt-BR" sz="1000" b="0" i="1">
              <a:latin typeface="Franklin Gothic Medium" charset="0"/>
            </a:endParaRPr>
          </a:p>
        </p:txBody>
      </p:sp>
      <p:sp>
        <p:nvSpPr>
          <p:cNvPr id="81924" name="Rectangle 13"/>
          <p:cNvSpPr>
            <a:spLocks noGrp="1" noChangeArrowheads="1"/>
          </p:cNvSpPr>
          <p:nvPr>
            <p:ph type="title"/>
          </p:nvPr>
        </p:nvSpPr>
        <p:spPr bwMode="auto">
          <a:xfrm>
            <a:off x="307983" y="227013"/>
            <a:ext cx="79803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it-IT" smtClean="0"/>
              <a:t>Click to edit Master title style</a:t>
            </a:r>
          </a:p>
        </p:txBody>
      </p:sp>
      <p:sp>
        <p:nvSpPr>
          <p:cNvPr id="7173" name="Rectangle 37"/>
          <p:cNvSpPr>
            <a:spLocks noChangeArrowheads="1"/>
          </p:cNvSpPr>
          <p:nvPr>
            <p:custDataLst>
              <p:tags r:id="rId13"/>
            </p:custDataLst>
          </p:nvPr>
        </p:nvSpPr>
        <p:spPr bwMode="auto">
          <a:xfrm>
            <a:off x="9631741" y="6597664"/>
            <a:ext cx="125034" cy="123111"/>
          </a:xfrm>
          <a:prstGeom prst="rect">
            <a:avLst/>
          </a:prstGeom>
          <a:noFill/>
          <a:ln w="9525">
            <a:noFill/>
            <a:miter lim="800000"/>
            <a:headEnd/>
            <a:tailEnd/>
          </a:ln>
        </p:spPr>
        <p:txBody>
          <a:bodyPr wrap="none" lIns="0" tIns="0" rIns="0" bIns="0">
            <a:spAutoFit/>
          </a:bodyPr>
          <a:lstStyle/>
          <a:p>
            <a:pPr algn="r" defTabSz="762000" eaLnBrk="0" hangingPunct="0">
              <a:defRPr/>
            </a:pPr>
            <a:fld id="{8829F9C6-1D61-4AFA-B0CE-91376AC7592C}" type="slidenum">
              <a:rPr lang="it-IT" sz="800" b="0">
                <a:solidFill>
                  <a:srgbClr val="8995B4"/>
                </a:solidFill>
              </a:rPr>
              <a:pPr algn="r" defTabSz="762000" eaLnBrk="0" hangingPunct="0">
                <a:defRPr/>
              </a:pPr>
              <a:t>‹nº›</a:t>
            </a:fld>
            <a:endParaRPr lang="it-IT" sz="800" b="0">
              <a:solidFill>
                <a:srgbClr val="8995B4"/>
              </a:solidFill>
            </a:endParaRPr>
          </a:p>
        </p:txBody>
      </p:sp>
      <p:pic>
        <p:nvPicPr>
          <p:cNvPr id="81926" name="Picture 10" descr="LogosTIM2009_VoceSemFronteiras"/>
          <p:cNvPicPr>
            <a:picLocks noChangeAspect="1" noChangeArrowheads="1"/>
          </p:cNvPicPr>
          <p:nvPr/>
        </p:nvPicPr>
        <p:blipFill>
          <a:blip r:embed="rId15" cstate="email">
            <a:clrChange>
              <a:clrFrom>
                <a:srgbClr val="000000"/>
              </a:clrFrom>
              <a:clrTo>
                <a:srgbClr val="000000">
                  <a:alpha val="0"/>
                </a:srgbClr>
              </a:clrTo>
            </a:clrChange>
            <a:extLst>
              <a:ext uri="{28A0092B-C50C-407E-A947-70E740481C1C}">
                <a14:useLocalDpi xmlns="" xmlns:a14="http://schemas.microsoft.com/office/drawing/2010/main"/>
              </a:ext>
            </a:extLst>
          </a:blip>
          <a:srcRect/>
          <a:stretch>
            <a:fillRect/>
          </a:stretch>
        </p:blipFill>
        <p:spPr bwMode="auto">
          <a:xfrm>
            <a:off x="8374063" y="131766"/>
            <a:ext cx="1249362" cy="61753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117" r:id="rId1"/>
    <p:sldLayoutId id="2147484116" r:id="rId2"/>
    <p:sldLayoutId id="2147484115" r:id="rId3"/>
    <p:sldLayoutId id="2147484114" r:id="rId4"/>
    <p:sldLayoutId id="2147484113" r:id="rId5"/>
    <p:sldLayoutId id="2147484112" r:id="rId6"/>
    <p:sldLayoutId id="2147484111" r:id="rId7"/>
    <p:sldLayoutId id="2147484110" r:id="rId8"/>
    <p:sldLayoutId id="2147484109" r:id="rId9"/>
    <p:sldLayoutId id="2147484108" r:id="rId10"/>
    <p:sldLayoutId id="2147484107" r:id="rId11"/>
  </p:sldLayoutIdLst>
  <p:txStyles>
    <p:titleStyle>
      <a:lvl1pPr algn="l" rtl="0" eaLnBrk="0" fontAlgn="base" hangingPunct="0">
        <a:lnSpc>
          <a:spcPct val="80000"/>
        </a:lnSpc>
        <a:spcBef>
          <a:spcPct val="0"/>
        </a:spcBef>
        <a:spcAft>
          <a:spcPct val="0"/>
        </a:spcAft>
        <a:defRPr sz="2600" b="1">
          <a:solidFill>
            <a:schemeClr val="bg1"/>
          </a:solidFill>
          <a:latin typeface="+mj-lt"/>
          <a:ea typeface="Arial" charset="0"/>
          <a:cs typeface="+mj-cs"/>
        </a:defRPr>
      </a:lvl1pPr>
      <a:lvl2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2pPr>
      <a:lvl3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3pPr>
      <a:lvl4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4pPr>
      <a:lvl5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5pPr>
      <a:lvl6pPr marL="4572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6pPr>
      <a:lvl7pPr marL="9144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7pPr>
      <a:lvl8pPr marL="13716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8pPr>
      <a:lvl9pPr marL="18288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9pPr>
    </p:titleStyle>
    <p:bodyStyle>
      <a:lvl1pPr marL="342900" indent="-342900" algn="just" rtl="0" eaLnBrk="0" fontAlgn="base" hangingPunct="0">
        <a:lnSpc>
          <a:spcPct val="110000"/>
        </a:lnSpc>
        <a:spcBef>
          <a:spcPct val="20000"/>
        </a:spcBef>
        <a:spcAft>
          <a:spcPct val="10000"/>
        </a:spcAft>
        <a:buClr>
          <a:schemeClr val="accent1"/>
        </a:buClr>
        <a:buFont typeface="Franklin Gothic Medium" pitchFamily="34" charset="0"/>
        <a:buChar char="4"/>
        <a:defRPr sz="2000">
          <a:solidFill>
            <a:schemeClr val="tx1"/>
          </a:solidFill>
          <a:latin typeface="+mn-lt"/>
          <a:ea typeface="Arial" charset="0"/>
          <a:cs typeface="+mn-cs"/>
        </a:defRPr>
      </a:lvl1pPr>
      <a:lvl2pPr marL="812800" indent="-277813" algn="just" rtl="0" eaLnBrk="0" fontAlgn="base" hangingPunct="0">
        <a:lnSpc>
          <a:spcPct val="110000"/>
        </a:lnSpc>
        <a:spcBef>
          <a:spcPct val="20000"/>
        </a:spcBef>
        <a:spcAft>
          <a:spcPct val="10000"/>
        </a:spcAft>
        <a:buClr>
          <a:schemeClr val="accent1"/>
        </a:buClr>
        <a:buFont typeface="Franklin Gothic Medium" pitchFamily="34" charset="0"/>
        <a:buChar char="4"/>
        <a:defRPr sz="2800" b="1">
          <a:solidFill>
            <a:schemeClr val="tx1"/>
          </a:solidFill>
          <a:latin typeface="+mn-lt"/>
          <a:ea typeface="Arial" charset="0"/>
          <a:cs typeface="+mn-cs"/>
        </a:defRPr>
      </a:lvl2pPr>
      <a:lvl3pPr marL="1524000" indent="-266700" algn="just" rtl="0" eaLnBrk="0" fontAlgn="base" hangingPunct="0">
        <a:lnSpc>
          <a:spcPct val="110000"/>
        </a:lnSpc>
        <a:spcBef>
          <a:spcPct val="20000"/>
        </a:spcBef>
        <a:spcAft>
          <a:spcPct val="10000"/>
        </a:spcAft>
        <a:buClr>
          <a:schemeClr val="accent1"/>
        </a:buClr>
        <a:buFont typeface="Franklin Gothic Medium" pitchFamily="34" charset="0"/>
        <a:buChar char="4"/>
        <a:defRPr sz="2400">
          <a:solidFill>
            <a:schemeClr val="tx1"/>
          </a:solidFill>
          <a:latin typeface="+mn-lt"/>
          <a:ea typeface="Arial" charset="0"/>
          <a:cs typeface="+mn-cs"/>
        </a:defRPr>
      </a:lvl3pPr>
      <a:lvl4pPr marL="2157413" indent="-188913" algn="just" rtl="0" eaLnBrk="0" fontAlgn="base" hangingPunct="0">
        <a:lnSpc>
          <a:spcPct val="110000"/>
        </a:lnSpc>
        <a:spcBef>
          <a:spcPct val="20000"/>
        </a:spcBef>
        <a:spcAft>
          <a:spcPct val="10000"/>
        </a:spcAft>
        <a:buClr>
          <a:schemeClr val="accent1"/>
        </a:buClr>
        <a:buFont typeface="Franklin Gothic Medium" pitchFamily="34" charset="0"/>
        <a:buChar char="4"/>
        <a:defRPr sz="1600" b="1">
          <a:solidFill>
            <a:schemeClr val="tx1"/>
          </a:solidFill>
          <a:latin typeface="+mn-lt"/>
          <a:ea typeface="Arial" charset="0"/>
          <a:cs typeface="+mn-cs"/>
        </a:defRPr>
      </a:lvl4pPr>
      <a:lvl5pPr marL="2603500" indent="-177800" algn="just" rtl="0" eaLnBrk="0" fontAlgn="base" hangingPunct="0">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ea typeface="Arial" charset="0"/>
          <a:cs typeface="+mn-cs"/>
        </a:defRPr>
      </a:lvl5pPr>
      <a:lvl6pPr marL="30607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6pPr>
      <a:lvl7pPr marL="35179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7pPr>
      <a:lvl8pPr marL="39751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8pPr>
      <a:lvl9pPr marL="44323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94210" name="Picture 5" descr="Capa 4T09"/>
          <p:cNvPicPr>
            <a:picLocks noChangeAspect="1" noChangeArrowheads="1"/>
          </p:cNvPicPr>
          <p:nvPr/>
        </p:nvPicPr>
        <p:blipFill>
          <a:blip r:embed="rId13" cstate="print"/>
          <a:srcRect/>
          <a:stretch>
            <a:fillRect/>
          </a:stretch>
        </p:blipFill>
        <p:spPr bwMode="auto">
          <a:xfrm>
            <a:off x="0" y="361956"/>
            <a:ext cx="9906000" cy="6092825"/>
          </a:xfrm>
          <a:prstGeom prst="rect">
            <a:avLst/>
          </a:prstGeom>
          <a:noFill/>
          <a:ln w="9525">
            <a:noFill/>
            <a:miter lim="800000"/>
            <a:headEnd/>
            <a:tailEnd/>
          </a:ln>
        </p:spPr>
      </p:pic>
      <p:sp>
        <p:nvSpPr>
          <p:cNvPr id="1027" name="Text Box 6"/>
          <p:cNvSpPr txBox="1">
            <a:spLocks noChangeArrowheads="1"/>
          </p:cNvSpPr>
          <p:nvPr/>
        </p:nvSpPr>
        <p:spPr bwMode="auto">
          <a:xfrm>
            <a:off x="44450" y="6465888"/>
            <a:ext cx="5629275" cy="366712"/>
          </a:xfrm>
          <a:prstGeom prst="rect">
            <a:avLst/>
          </a:prstGeom>
          <a:noFill/>
          <a:ln>
            <a:noFill/>
          </a:ln>
          <a:extLst/>
        </p:spPr>
        <p:txBody>
          <a:bodyPr>
            <a:spAutoFit/>
          </a:bodyPr>
          <a:lstStyle/>
          <a:p>
            <a:pPr>
              <a:defRPr/>
            </a:pPr>
            <a:endParaRPr lang="en-GB">
              <a:solidFill>
                <a:srgbClr val="004990"/>
              </a:solidFill>
            </a:endParaRPr>
          </a:p>
        </p:txBody>
      </p:sp>
      <p:pic>
        <p:nvPicPr>
          <p:cNvPr id="94212" name="Picture 7" descr="TIM_NovaLogova_fundo-transparente_ENG_Branco"/>
          <p:cNvPicPr>
            <a:picLocks noChangeAspect="1" noChangeArrowheads="1"/>
          </p:cNvPicPr>
          <p:nvPr/>
        </p:nvPicPr>
        <p:blipFill>
          <a:blip r:embed="rId14" cstate="print"/>
          <a:srcRect/>
          <a:stretch>
            <a:fillRect/>
          </a:stretch>
        </p:blipFill>
        <p:spPr bwMode="auto">
          <a:xfrm>
            <a:off x="93663" y="938224"/>
            <a:ext cx="3384550" cy="1031875"/>
          </a:xfrm>
          <a:prstGeom prst="rect">
            <a:avLst/>
          </a:prstGeom>
          <a:noFill/>
          <a:ln w="9525">
            <a:noFill/>
            <a:miter lim="800000"/>
            <a:headEnd/>
            <a:tailEnd/>
          </a:ln>
        </p:spPr>
      </p:pic>
      <p:sp>
        <p:nvSpPr>
          <p:cNvPr id="1029" name="Text Box 8"/>
          <p:cNvSpPr txBox="1">
            <a:spLocks noChangeArrowheads="1"/>
          </p:cNvSpPr>
          <p:nvPr/>
        </p:nvSpPr>
        <p:spPr bwMode="auto">
          <a:xfrm>
            <a:off x="8750300" y="6148395"/>
            <a:ext cx="1063625" cy="307777"/>
          </a:xfrm>
          <a:prstGeom prst="rect">
            <a:avLst/>
          </a:prstGeom>
          <a:noFill/>
          <a:ln>
            <a:noFill/>
          </a:ln>
          <a:extLst/>
        </p:spPr>
        <p:txBody>
          <a:bodyPr>
            <a:spAutoFit/>
          </a:bodyPr>
          <a:lstStyle/>
          <a:p>
            <a:pPr algn="r">
              <a:defRPr/>
            </a:pPr>
            <a:r>
              <a:rPr lang="en-GB" sz="1400">
                <a:solidFill>
                  <a:srgbClr val="FFFFFF"/>
                </a:solidFill>
              </a:rPr>
              <a:t>TIM Brasil</a:t>
            </a:r>
            <a:endParaRPr lang="en-GB">
              <a:solidFill>
                <a:srgbClr val="FFFFFF"/>
              </a:solidFill>
            </a:endParaRPr>
          </a:p>
        </p:txBody>
      </p:sp>
    </p:spTree>
  </p:cSld>
  <p:clrMap bg1="lt1" tx1="dk1" bg2="lt2" tx2="dk2" accent1="accent1" accent2="accent2" accent3="accent3" accent4="accent4" accent5="accent5" accent6="accent6" hlink="hlink" folHlink="folHlink"/>
  <p:sldLayoutIdLst>
    <p:sldLayoutId id="2147484128" r:id="rId1"/>
    <p:sldLayoutId id="2147484127" r:id="rId2"/>
    <p:sldLayoutId id="2147484126" r:id="rId3"/>
    <p:sldLayoutId id="2147484125" r:id="rId4"/>
    <p:sldLayoutId id="2147484124" r:id="rId5"/>
    <p:sldLayoutId id="2147484123" r:id="rId6"/>
    <p:sldLayoutId id="2147484122" r:id="rId7"/>
    <p:sldLayoutId id="2147484121" r:id="rId8"/>
    <p:sldLayoutId id="2147484120" r:id="rId9"/>
    <p:sldLayoutId id="2147484119" r:id="rId10"/>
    <p:sldLayoutId id="2147484118" r:id="rId11"/>
  </p:sldLayoutIdLst>
  <p:txStyles>
    <p:titleStyle>
      <a:lvl1pPr algn="l" rtl="0" eaLnBrk="0" fontAlgn="base" hangingPunct="0">
        <a:lnSpc>
          <a:spcPct val="80000"/>
        </a:lnSpc>
        <a:spcBef>
          <a:spcPct val="0"/>
        </a:spcBef>
        <a:spcAft>
          <a:spcPct val="0"/>
        </a:spcAft>
        <a:defRPr sz="2200" b="1">
          <a:solidFill>
            <a:srgbClr val="EE1C23"/>
          </a:solidFill>
          <a:latin typeface="+mj-lt"/>
          <a:ea typeface="Arial" charset="0"/>
          <a:cs typeface="+mj-cs"/>
        </a:defRPr>
      </a:lvl1pPr>
      <a:lvl2pPr algn="l" rtl="0" eaLnBrk="0" fontAlgn="base" hangingPunct="0">
        <a:lnSpc>
          <a:spcPct val="80000"/>
        </a:lnSpc>
        <a:spcBef>
          <a:spcPct val="0"/>
        </a:spcBef>
        <a:spcAft>
          <a:spcPct val="0"/>
        </a:spcAft>
        <a:defRPr sz="2200" b="1">
          <a:solidFill>
            <a:srgbClr val="EE1C23"/>
          </a:solidFill>
          <a:latin typeface="Franklin Gothic Medium" pitchFamily="34" charset="0"/>
          <a:ea typeface="Arial" charset="0"/>
          <a:cs typeface="Arial" charset="0"/>
        </a:defRPr>
      </a:lvl2pPr>
      <a:lvl3pPr algn="l" rtl="0" eaLnBrk="0" fontAlgn="base" hangingPunct="0">
        <a:lnSpc>
          <a:spcPct val="80000"/>
        </a:lnSpc>
        <a:spcBef>
          <a:spcPct val="0"/>
        </a:spcBef>
        <a:spcAft>
          <a:spcPct val="0"/>
        </a:spcAft>
        <a:defRPr sz="2200" b="1">
          <a:solidFill>
            <a:srgbClr val="EE1C23"/>
          </a:solidFill>
          <a:latin typeface="Franklin Gothic Medium" pitchFamily="34" charset="0"/>
          <a:ea typeface="Arial" charset="0"/>
          <a:cs typeface="Arial" charset="0"/>
        </a:defRPr>
      </a:lvl3pPr>
      <a:lvl4pPr algn="l" rtl="0" eaLnBrk="0" fontAlgn="base" hangingPunct="0">
        <a:lnSpc>
          <a:spcPct val="80000"/>
        </a:lnSpc>
        <a:spcBef>
          <a:spcPct val="0"/>
        </a:spcBef>
        <a:spcAft>
          <a:spcPct val="0"/>
        </a:spcAft>
        <a:defRPr sz="2200" b="1">
          <a:solidFill>
            <a:srgbClr val="EE1C23"/>
          </a:solidFill>
          <a:latin typeface="Franklin Gothic Medium" pitchFamily="34" charset="0"/>
          <a:ea typeface="Arial" charset="0"/>
          <a:cs typeface="Arial" charset="0"/>
        </a:defRPr>
      </a:lvl4pPr>
      <a:lvl5pPr algn="l" rtl="0" eaLnBrk="0" fontAlgn="base" hangingPunct="0">
        <a:lnSpc>
          <a:spcPct val="80000"/>
        </a:lnSpc>
        <a:spcBef>
          <a:spcPct val="0"/>
        </a:spcBef>
        <a:spcAft>
          <a:spcPct val="0"/>
        </a:spcAft>
        <a:defRPr sz="2200" b="1">
          <a:solidFill>
            <a:srgbClr val="EE1C23"/>
          </a:solidFill>
          <a:latin typeface="Franklin Gothic Medium" pitchFamily="34" charset="0"/>
          <a:ea typeface="Arial" charset="0"/>
          <a:cs typeface="Arial" charset="0"/>
        </a:defRPr>
      </a:lvl5pPr>
      <a:lvl6pPr marL="457200" algn="l" rtl="0" fontAlgn="base">
        <a:lnSpc>
          <a:spcPct val="80000"/>
        </a:lnSpc>
        <a:spcBef>
          <a:spcPct val="0"/>
        </a:spcBef>
        <a:spcAft>
          <a:spcPct val="0"/>
        </a:spcAft>
        <a:defRPr sz="2200" b="1">
          <a:solidFill>
            <a:srgbClr val="EE1C23"/>
          </a:solidFill>
          <a:latin typeface="Franklin Gothic Medium" pitchFamily="34" charset="0"/>
          <a:cs typeface="Arial" charset="0"/>
        </a:defRPr>
      </a:lvl6pPr>
      <a:lvl7pPr marL="914400" algn="l" rtl="0" fontAlgn="base">
        <a:lnSpc>
          <a:spcPct val="80000"/>
        </a:lnSpc>
        <a:spcBef>
          <a:spcPct val="0"/>
        </a:spcBef>
        <a:spcAft>
          <a:spcPct val="0"/>
        </a:spcAft>
        <a:defRPr sz="2200" b="1">
          <a:solidFill>
            <a:srgbClr val="EE1C23"/>
          </a:solidFill>
          <a:latin typeface="Franklin Gothic Medium" pitchFamily="34" charset="0"/>
          <a:cs typeface="Arial" charset="0"/>
        </a:defRPr>
      </a:lvl7pPr>
      <a:lvl8pPr marL="1371600" algn="l" rtl="0" fontAlgn="base">
        <a:lnSpc>
          <a:spcPct val="80000"/>
        </a:lnSpc>
        <a:spcBef>
          <a:spcPct val="0"/>
        </a:spcBef>
        <a:spcAft>
          <a:spcPct val="0"/>
        </a:spcAft>
        <a:defRPr sz="2200" b="1">
          <a:solidFill>
            <a:srgbClr val="EE1C23"/>
          </a:solidFill>
          <a:latin typeface="Franklin Gothic Medium" pitchFamily="34" charset="0"/>
          <a:cs typeface="Arial" charset="0"/>
        </a:defRPr>
      </a:lvl8pPr>
      <a:lvl9pPr marL="1828800" algn="l" rtl="0" fontAlgn="base">
        <a:lnSpc>
          <a:spcPct val="80000"/>
        </a:lnSpc>
        <a:spcBef>
          <a:spcPct val="0"/>
        </a:spcBef>
        <a:spcAft>
          <a:spcPct val="0"/>
        </a:spcAft>
        <a:defRPr sz="2200" b="1">
          <a:solidFill>
            <a:srgbClr val="EE1C23"/>
          </a:solidFill>
          <a:latin typeface="Franklin Gothic Medium" pitchFamily="34" charset="0"/>
          <a:cs typeface="Arial" charset="0"/>
        </a:defRPr>
      </a:lvl9pPr>
    </p:titleStyle>
    <p:bodyStyle>
      <a:lvl1pPr marL="342900" indent="-342900" algn="just" rtl="0" eaLnBrk="0" fontAlgn="base" hangingPunct="0">
        <a:lnSpc>
          <a:spcPct val="110000"/>
        </a:lnSpc>
        <a:spcBef>
          <a:spcPct val="20000"/>
        </a:spcBef>
        <a:spcAft>
          <a:spcPct val="10000"/>
        </a:spcAft>
        <a:buClr>
          <a:schemeClr val="accent1"/>
        </a:buClr>
        <a:buFont typeface="Franklin Gothic Medium" pitchFamily="34" charset="0"/>
        <a:buChar char="4"/>
        <a:defRPr sz="2000">
          <a:solidFill>
            <a:schemeClr val="tx1"/>
          </a:solidFill>
          <a:latin typeface="+mn-lt"/>
          <a:ea typeface="Arial" charset="0"/>
          <a:cs typeface="+mn-cs"/>
        </a:defRPr>
      </a:lvl1pPr>
      <a:lvl2pPr marL="812800" indent="-277813" algn="just" rtl="0" eaLnBrk="0" fontAlgn="base" hangingPunct="0">
        <a:lnSpc>
          <a:spcPct val="110000"/>
        </a:lnSpc>
        <a:spcBef>
          <a:spcPct val="20000"/>
        </a:spcBef>
        <a:spcAft>
          <a:spcPct val="10000"/>
        </a:spcAft>
        <a:buClr>
          <a:schemeClr val="accent1"/>
        </a:buClr>
        <a:buFont typeface="Franklin Gothic Medium" pitchFamily="34" charset="0"/>
        <a:buChar char="4"/>
        <a:defRPr sz="2800" b="1">
          <a:solidFill>
            <a:schemeClr val="tx1"/>
          </a:solidFill>
          <a:latin typeface="+mn-lt"/>
          <a:ea typeface="Arial" charset="0"/>
          <a:cs typeface="+mn-cs"/>
        </a:defRPr>
      </a:lvl2pPr>
      <a:lvl3pPr marL="1524000" indent="-266700" algn="just" rtl="0" eaLnBrk="0" fontAlgn="base" hangingPunct="0">
        <a:lnSpc>
          <a:spcPct val="110000"/>
        </a:lnSpc>
        <a:spcBef>
          <a:spcPct val="20000"/>
        </a:spcBef>
        <a:spcAft>
          <a:spcPct val="10000"/>
        </a:spcAft>
        <a:buClr>
          <a:schemeClr val="accent1"/>
        </a:buClr>
        <a:buFont typeface="Franklin Gothic Medium" pitchFamily="34" charset="0"/>
        <a:buChar char="4"/>
        <a:defRPr sz="2400">
          <a:solidFill>
            <a:schemeClr val="tx1"/>
          </a:solidFill>
          <a:latin typeface="+mn-lt"/>
          <a:ea typeface="Arial" charset="0"/>
          <a:cs typeface="+mn-cs"/>
        </a:defRPr>
      </a:lvl3pPr>
      <a:lvl4pPr marL="2157413" indent="-188913" algn="just" rtl="0" eaLnBrk="0" fontAlgn="base" hangingPunct="0">
        <a:lnSpc>
          <a:spcPct val="110000"/>
        </a:lnSpc>
        <a:spcBef>
          <a:spcPct val="20000"/>
        </a:spcBef>
        <a:spcAft>
          <a:spcPct val="10000"/>
        </a:spcAft>
        <a:buClr>
          <a:schemeClr val="accent1"/>
        </a:buClr>
        <a:buFont typeface="Franklin Gothic Medium" pitchFamily="34" charset="0"/>
        <a:buChar char="4"/>
        <a:defRPr sz="1600" b="1">
          <a:solidFill>
            <a:schemeClr val="tx1"/>
          </a:solidFill>
          <a:latin typeface="+mn-lt"/>
          <a:ea typeface="Arial" charset="0"/>
          <a:cs typeface="+mn-cs"/>
        </a:defRPr>
      </a:lvl4pPr>
      <a:lvl5pPr marL="2603500" indent="-177800" algn="just" rtl="0" eaLnBrk="0" fontAlgn="base" hangingPunct="0">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ea typeface="Arial" charset="0"/>
          <a:cs typeface="+mn-cs"/>
        </a:defRPr>
      </a:lvl5pPr>
      <a:lvl6pPr marL="30607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6pPr>
      <a:lvl7pPr marL="35179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7pPr>
      <a:lvl8pPr marL="39751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8pPr>
      <a:lvl9pPr marL="44323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6498" name="Picture 8" descr="TIM_MENTE_SEM_FRONTEIRAS_0803 0008"/>
          <p:cNvPicPr>
            <a:picLocks noChangeAspect="1" noChangeArrowheads="1"/>
          </p:cNvPicPr>
          <p:nvPr/>
        </p:nvPicPr>
        <p:blipFill>
          <a:blip r:embed="rId15" cstate="print"/>
          <a:srcRect/>
          <a:stretch>
            <a:fillRect/>
          </a:stretch>
        </p:blipFill>
        <p:spPr bwMode="auto">
          <a:xfrm>
            <a:off x="0" y="-12700"/>
            <a:ext cx="9906000" cy="896938"/>
          </a:xfrm>
          <a:prstGeom prst="rect">
            <a:avLst/>
          </a:prstGeom>
          <a:noFill/>
          <a:ln w="9525">
            <a:noFill/>
            <a:miter lim="800000"/>
            <a:headEnd/>
            <a:tailEnd/>
          </a:ln>
        </p:spPr>
      </p:pic>
      <p:sp>
        <p:nvSpPr>
          <p:cNvPr id="9219" name="Rectangle 2"/>
          <p:cNvSpPr>
            <a:spLocks noChangeArrowheads="1"/>
          </p:cNvSpPr>
          <p:nvPr/>
        </p:nvSpPr>
        <p:spPr bwMode="auto">
          <a:xfrm>
            <a:off x="0" y="0"/>
            <a:ext cx="9906000" cy="6851650"/>
          </a:xfrm>
          <a:prstGeom prst="rect">
            <a:avLst/>
          </a:prstGeom>
          <a:noFill/>
          <a:ln w="12700" cap="sq">
            <a:solidFill>
              <a:srgbClr val="595959"/>
            </a:solidFill>
            <a:miter lim="800000"/>
            <a:headEnd type="none" w="sm" len="sm"/>
            <a:tailEnd type="none" w="sm" len="sm"/>
          </a:ln>
        </p:spPr>
        <p:txBody>
          <a:bodyPr wrap="none" anchor="ctr"/>
          <a:lstStyle/>
          <a:p>
            <a:pPr algn="r" eaLnBrk="0" hangingPunct="0">
              <a:defRPr/>
            </a:pPr>
            <a:endParaRPr lang="pt-BR" sz="1000" b="0" i="1">
              <a:solidFill>
                <a:srgbClr val="004990"/>
              </a:solidFill>
              <a:latin typeface="Franklin Gothic Medium" charset="0"/>
            </a:endParaRPr>
          </a:p>
        </p:txBody>
      </p:sp>
      <p:sp>
        <p:nvSpPr>
          <p:cNvPr id="106500" name="Rectangle 13"/>
          <p:cNvSpPr>
            <a:spLocks noGrp="1" noChangeArrowheads="1"/>
          </p:cNvSpPr>
          <p:nvPr>
            <p:ph type="title"/>
          </p:nvPr>
        </p:nvSpPr>
        <p:spPr bwMode="auto">
          <a:xfrm>
            <a:off x="307983" y="227013"/>
            <a:ext cx="79803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it-IT" smtClean="0"/>
              <a:t>Click to edit Master title style</a:t>
            </a:r>
          </a:p>
        </p:txBody>
      </p:sp>
      <p:sp>
        <p:nvSpPr>
          <p:cNvPr id="9221" name="Rectangle 37"/>
          <p:cNvSpPr>
            <a:spLocks noChangeArrowheads="1"/>
          </p:cNvSpPr>
          <p:nvPr>
            <p:custDataLst>
              <p:tags r:id="rId14"/>
            </p:custDataLst>
          </p:nvPr>
        </p:nvSpPr>
        <p:spPr bwMode="auto">
          <a:xfrm>
            <a:off x="9631741" y="6597664"/>
            <a:ext cx="125034" cy="123111"/>
          </a:xfrm>
          <a:prstGeom prst="rect">
            <a:avLst/>
          </a:prstGeom>
          <a:noFill/>
          <a:ln w="9525">
            <a:noFill/>
            <a:miter lim="800000"/>
            <a:headEnd/>
            <a:tailEnd/>
          </a:ln>
        </p:spPr>
        <p:txBody>
          <a:bodyPr wrap="none" lIns="0" tIns="0" rIns="0" bIns="0">
            <a:spAutoFit/>
          </a:bodyPr>
          <a:lstStyle/>
          <a:p>
            <a:pPr algn="r" defTabSz="762000" eaLnBrk="0" hangingPunct="0">
              <a:defRPr/>
            </a:pPr>
            <a:fld id="{7B6F515D-D9CB-4FF9-88F6-47617D18CFC4}" type="slidenum">
              <a:rPr lang="it-IT" sz="800" b="0">
                <a:solidFill>
                  <a:srgbClr val="8995B4"/>
                </a:solidFill>
              </a:rPr>
              <a:pPr algn="r" defTabSz="762000" eaLnBrk="0" hangingPunct="0">
                <a:defRPr/>
              </a:pPr>
              <a:t>‹nº›</a:t>
            </a:fld>
            <a:endParaRPr lang="it-IT" sz="800" b="0">
              <a:solidFill>
                <a:srgbClr val="8995B4"/>
              </a:solidFill>
            </a:endParaRPr>
          </a:p>
        </p:txBody>
      </p:sp>
      <p:pic>
        <p:nvPicPr>
          <p:cNvPr id="106502" name="Picture 10" descr="LogosTIM2009_VoceSemFronteiras"/>
          <p:cNvPicPr>
            <a:picLocks noChangeAspect="1" noChangeArrowheads="1"/>
          </p:cNvPicPr>
          <p:nvPr/>
        </p:nvPicPr>
        <p:blipFill>
          <a:blip r:embed="rId16" cstate="email">
            <a:clrChange>
              <a:clrFrom>
                <a:srgbClr val="000000"/>
              </a:clrFrom>
              <a:clrTo>
                <a:srgbClr val="000000">
                  <a:alpha val="0"/>
                </a:srgbClr>
              </a:clrTo>
            </a:clrChange>
            <a:extLst>
              <a:ext uri="{28A0092B-C50C-407E-A947-70E740481C1C}">
                <a14:useLocalDpi xmlns="" xmlns:a14="http://schemas.microsoft.com/office/drawing/2010/main"/>
              </a:ext>
            </a:extLst>
          </a:blip>
          <a:srcRect/>
          <a:stretch>
            <a:fillRect/>
          </a:stretch>
        </p:blipFill>
        <p:spPr bwMode="auto">
          <a:xfrm>
            <a:off x="8374063" y="131766"/>
            <a:ext cx="1249362" cy="61753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140" r:id="rId1"/>
    <p:sldLayoutId id="2147484139" r:id="rId2"/>
    <p:sldLayoutId id="2147484138" r:id="rId3"/>
    <p:sldLayoutId id="2147484137" r:id="rId4"/>
    <p:sldLayoutId id="2147484136" r:id="rId5"/>
    <p:sldLayoutId id="2147484135" r:id="rId6"/>
    <p:sldLayoutId id="2147484134" r:id="rId7"/>
    <p:sldLayoutId id="2147484133" r:id="rId8"/>
    <p:sldLayoutId id="2147484132" r:id="rId9"/>
    <p:sldLayoutId id="2147484131" r:id="rId10"/>
    <p:sldLayoutId id="2147484130" r:id="rId11"/>
    <p:sldLayoutId id="2147484129" r:id="rId12"/>
  </p:sldLayoutIdLst>
  <p:txStyles>
    <p:titleStyle>
      <a:lvl1pPr algn="l" rtl="0" eaLnBrk="0" fontAlgn="base" hangingPunct="0">
        <a:lnSpc>
          <a:spcPct val="80000"/>
        </a:lnSpc>
        <a:spcBef>
          <a:spcPct val="0"/>
        </a:spcBef>
        <a:spcAft>
          <a:spcPct val="0"/>
        </a:spcAft>
        <a:defRPr sz="2600" b="1">
          <a:solidFill>
            <a:schemeClr val="bg1"/>
          </a:solidFill>
          <a:latin typeface="+mj-lt"/>
          <a:ea typeface="Arial" charset="0"/>
          <a:cs typeface="+mj-cs"/>
        </a:defRPr>
      </a:lvl1pPr>
      <a:lvl2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2pPr>
      <a:lvl3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3pPr>
      <a:lvl4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4pPr>
      <a:lvl5pPr algn="l" rtl="0" eaLnBrk="0" fontAlgn="base" hangingPunct="0">
        <a:lnSpc>
          <a:spcPct val="80000"/>
        </a:lnSpc>
        <a:spcBef>
          <a:spcPct val="0"/>
        </a:spcBef>
        <a:spcAft>
          <a:spcPct val="0"/>
        </a:spcAft>
        <a:defRPr sz="2600" b="1">
          <a:solidFill>
            <a:schemeClr val="bg1"/>
          </a:solidFill>
          <a:latin typeface="Franklin Gothic Medium" pitchFamily="34" charset="0"/>
          <a:ea typeface="Arial" charset="0"/>
          <a:cs typeface="Arial" pitchFamily="34" charset="0"/>
        </a:defRPr>
      </a:lvl5pPr>
      <a:lvl6pPr marL="4572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6pPr>
      <a:lvl7pPr marL="9144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7pPr>
      <a:lvl8pPr marL="13716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8pPr>
      <a:lvl9pPr marL="1828800" algn="l" rtl="0" fontAlgn="base">
        <a:lnSpc>
          <a:spcPct val="80000"/>
        </a:lnSpc>
        <a:spcBef>
          <a:spcPct val="0"/>
        </a:spcBef>
        <a:spcAft>
          <a:spcPct val="0"/>
        </a:spcAft>
        <a:defRPr sz="2600" b="1">
          <a:solidFill>
            <a:schemeClr val="bg1"/>
          </a:solidFill>
          <a:latin typeface="Franklin Gothic Medium" pitchFamily="34" charset="0"/>
          <a:cs typeface="Arial" pitchFamily="34" charset="0"/>
        </a:defRPr>
      </a:lvl9pPr>
    </p:titleStyle>
    <p:bodyStyle>
      <a:lvl1pPr marL="342900" indent="-342900" algn="just" rtl="0" eaLnBrk="0" fontAlgn="base" hangingPunct="0">
        <a:lnSpc>
          <a:spcPct val="110000"/>
        </a:lnSpc>
        <a:spcBef>
          <a:spcPct val="20000"/>
        </a:spcBef>
        <a:spcAft>
          <a:spcPct val="10000"/>
        </a:spcAft>
        <a:buClr>
          <a:schemeClr val="accent1"/>
        </a:buClr>
        <a:buFont typeface="Franklin Gothic Medium" pitchFamily="34" charset="0"/>
        <a:buChar char="4"/>
        <a:defRPr sz="2000">
          <a:solidFill>
            <a:schemeClr val="tx1"/>
          </a:solidFill>
          <a:latin typeface="+mn-lt"/>
          <a:ea typeface="Arial" charset="0"/>
          <a:cs typeface="+mn-cs"/>
        </a:defRPr>
      </a:lvl1pPr>
      <a:lvl2pPr marL="812800" indent="-277813" algn="just" rtl="0" eaLnBrk="0" fontAlgn="base" hangingPunct="0">
        <a:lnSpc>
          <a:spcPct val="110000"/>
        </a:lnSpc>
        <a:spcBef>
          <a:spcPct val="20000"/>
        </a:spcBef>
        <a:spcAft>
          <a:spcPct val="10000"/>
        </a:spcAft>
        <a:buClr>
          <a:schemeClr val="accent1"/>
        </a:buClr>
        <a:buFont typeface="Franklin Gothic Medium" pitchFamily="34" charset="0"/>
        <a:buChar char="4"/>
        <a:defRPr sz="2800" b="1">
          <a:solidFill>
            <a:schemeClr val="tx1"/>
          </a:solidFill>
          <a:latin typeface="+mn-lt"/>
          <a:ea typeface="Arial" charset="0"/>
          <a:cs typeface="+mn-cs"/>
        </a:defRPr>
      </a:lvl2pPr>
      <a:lvl3pPr marL="1524000" indent="-266700" algn="just" rtl="0" eaLnBrk="0" fontAlgn="base" hangingPunct="0">
        <a:lnSpc>
          <a:spcPct val="110000"/>
        </a:lnSpc>
        <a:spcBef>
          <a:spcPct val="20000"/>
        </a:spcBef>
        <a:spcAft>
          <a:spcPct val="10000"/>
        </a:spcAft>
        <a:buClr>
          <a:schemeClr val="accent1"/>
        </a:buClr>
        <a:buFont typeface="Franklin Gothic Medium" pitchFamily="34" charset="0"/>
        <a:buChar char="4"/>
        <a:defRPr sz="2400">
          <a:solidFill>
            <a:schemeClr val="tx1"/>
          </a:solidFill>
          <a:latin typeface="+mn-lt"/>
          <a:ea typeface="Arial" charset="0"/>
          <a:cs typeface="+mn-cs"/>
        </a:defRPr>
      </a:lvl3pPr>
      <a:lvl4pPr marL="2157413" indent="-188913" algn="just" rtl="0" eaLnBrk="0" fontAlgn="base" hangingPunct="0">
        <a:lnSpc>
          <a:spcPct val="110000"/>
        </a:lnSpc>
        <a:spcBef>
          <a:spcPct val="20000"/>
        </a:spcBef>
        <a:spcAft>
          <a:spcPct val="10000"/>
        </a:spcAft>
        <a:buClr>
          <a:schemeClr val="accent1"/>
        </a:buClr>
        <a:buFont typeface="Franklin Gothic Medium" pitchFamily="34" charset="0"/>
        <a:buChar char="4"/>
        <a:defRPr sz="1600" b="1">
          <a:solidFill>
            <a:schemeClr val="tx1"/>
          </a:solidFill>
          <a:latin typeface="+mn-lt"/>
          <a:ea typeface="Arial" charset="0"/>
          <a:cs typeface="+mn-cs"/>
        </a:defRPr>
      </a:lvl4pPr>
      <a:lvl5pPr marL="2603500" indent="-177800" algn="just" rtl="0" eaLnBrk="0" fontAlgn="base" hangingPunct="0">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ea typeface="Arial" charset="0"/>
          <a:cs typeface="+mn-cs"/>
        </a:defRPr>
      </a:lvl5pPr>
      <a:lvl6pPr marL="30607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6pPr>
      <a:lvl7pPr marL="35179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7pPr>
      <a:lvl8pPr marL="39751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8pPr>
      <a:lvl9pPr marL="4432300" indent="-177800" algn="just" rtl="0" fontAlgn="base">
        <a:lnSpc>
          <a:spcPct val="110000"/>
        </a:lnSpc>
        <a:spcBef>
          <a:spcPct val="20000"/>
        </a:spcBef>
        <a:spcAft>
          <a:spcPct val="10000"/>
        </a:spcAft>
        <a:buClr>
          <a:schemeClr val="accent1"/>
        </a:buClr>
        <a:buFont typeface="Franklin Gothic Medium" pitchFamily="34" charset="0"/>
        <a:buChar char="4"/>
        <a:defRPr sz="1600">
          <a:solidFill>
            <a:schemeClr val="tx1"/>
          </a:solidFill>
          <a:latin typeface="+mn-lt"/>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385.xml"/></Relationships>
</file>

<file path=ppt/slides/_rels/slide10.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png"/><Relationship Id="rId1" Type="http://schemas.openxmlformats.org/officeDocument/2006/relationships/slideLayout" Target="../slideLayouts/slideLayout386.xml"/></Relationships>
</file>

<file path=ppt/slides/_rels/slide1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5.xml"/><Relationship Id="rId1" Type="http://schemas.openxmlformats.org/officeDocument/2006/relationships/slideLayout" Target="../slideLayouts/slideLayout38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9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91.xml"/></Relationships>
</file>

<file path=ppt/slides/_rels/slide14.xml.rels><?xml version="1.0" encoding="UTF-8" standalone="yes"?>
<Relationships xmlns="http://schemas.openxmlformats.org/package/2006/relationships"><Relationship Id="rId8" Type="http://schemas.openxmlformats.org/officeDocument/2006/relationships/oleObject" Target="../embeddings/oleObject1.bin"/><Relationship Id="rId13" Type="http://schemas.openxmlformats.org/officeDocument/2006/relationships/oleObject" Target="../embeddings/oleObject6.bin"/><Relationship Id="rId18" Type="http://schemas.openxmlformats.org/officeDocument/2006/relationships/oleObject" Target="../embeddings/oleObject11.bin"/><Relationship Id="rId26" Type="http://schemas.openxmlformats.org/officeDocument/2006/relationships/oleObject" Target="../embeddings/oleObject19.bin"/><Relationship Id="rId3" Type="http://schemas.openxmlformats.org/officeDocument/2006/relationships/slideLayout" Target="../slideLayouts/slideLayout391.xml"/><Relationship Id="rId21" Type="http://schemas.openxmlformats.org/officeDocument/2006/relationships/oleObject" Target="../embeddings/oleObject14.bin"/><Relationship Id="rId7" Type="http://schemas.openxmlformats.org/officeDocument/2006/relationships/image" Target="../media/image28.jpeg"/><Relationship Id="rId12" Type="http://schemas.openxmlformats.org/officeDocument/2006/relationships/oleObject" Target="../embeddings/oleObject5.bin"/><Relationship Id="rId17" Type="http://schemas.openxmlformats.org/officeDocument/2006/relationships/oleObject" Target="../embeddings/oleObject10.bin"/><Relationship Id="rId25" Type="http://schemas.openxmlformats.org/officeDocument/2006/relationships/oleObject" Target="../embeddings/oleObject18.bin"/><Relationship Id="rId2" Type="http://schemas.openxmlformats.org/officeDocument/2006/relationships/tags" Target="../tags/tag31.xml"/><Relationship Id="rId16" Type="http://schemas.openxmlformats.org/officeDocument/2006/relationships/oleObject" Target="../embeddings/oleObject9.bin"/><Relationship Id="rId20" Type="http://schemas.openxmlformats.org/officeDocument/2006/relationships/oleObject" Target="../embeddings/oleObject13.bin"/><Relationship Id="rId1" Type="http://schemas.openxmlformats.org/officeDocument/2006/relationships/vmlDrawing" Target="../drawings/vmlDrawing1.vml"/><Relationship Id="rId6" Type="http://schemas.openxmlformats.org/officeDocument/2006/relationships/image" Target="../media/image27.jpeg"/><Relationship Id="rId11" Type="http://schemas.openxmlformats.org/officeDocument/2006/relationships/oleObject" Target="../embeddings/oleObject4.bin"/><Relationship Id="rId24" Type="http://schemas.openxmlformats.org/officeDocument/2006/relationships/oleObject" Target="../embeddings/oleObject17.bin"/><Relationship Id="rId5" Type="http://schemas.openxmlformats.org/officeDocument/2006/relationships/image" Target="../media/image26.jpeg"/><Relationship Id="rId15" Type="http://schemas.openxmlformats.org/officeDocument/2006/relationships/oleObject" Target="../embeddings/oleObject8.bin"/><Relationship Id="rId23" Type="http://schemas.openxmlformats.org/officeDocument/2006/relationships/oleObject" Target="../embeddings/oleObject16.bin"/><Relationship Id="rId10" Type="http://schemas.openxmlformats.org/officeDocument/2006/relationships/oleObject" Target="../embeddings/oleObject3.bin"/><Relationship Id="rId19" Type="http://schemas.openxmlformats.org/officeDocument/2006/relationships/oleObject" Target="../embeddings/oleObject12.bin"/><Relationship Id="rId4" Type="http://schemas.openxmlformats.org/officeDocument/2006/relationships/notesSlide" Target="../notesSlides/notesSlide8.xml"/><Relationship Id="rId9" Type="http://schemas.openxmlformats.org/officeDocument/2006/relationships/oleObject" Target="../embeddings/oleObject2.bin"/><Relationship Id="rId14" Type="http://schemas.openxmlformats.org/officeDocument/2006/relationships/oleObject" Target="../embeddings/oleObject7.bin"/><Relationship Id="rId22" Type="http://schemas.openxmlformats.org/officeDocument/2006/relationships/oleObject" Target="../embeddings/oleObject15.bin"/><Relationship Id="rId27" Type="http://schemas.openxmlformats.org/officeDocument/2006/relationships/oleObject" Target="../embeddings/oleObject20.bin"/></Relationships>
</file>

<file path=ppt/slides/_rels/slide15.xml.rels><?xml version="1.0" encoding="UTF-8" standalone="yes"?>
<Relationships xmlns="http://schemas.openxmlformats.org/package/2006/relationships"><Relationship Id="rId8" Type="http://schemas.openxmlformats.org/officeDocument/2006/relationships/oleObject" Target="../embeddings/oleObject23.bin"/><Relationship Id="rId13" Type="http://schemas.openxmlformats.org/officeDocument/2006/relationships/oleObject" Target="../embeddings/oleObject28.bin"/><Relationship Id="rId18" Type="http://schemas.openxmlformats.org/officeDocument/2006/relationships/oleObject" Target="../embeddings/oleObject33.bin"/><Relationship Id="rId26" Type="http://schemas.openxmlformats.org/officeDocument/2006/relationships/chart" Target="../charts/chart2.xml"/><Relationship Id="rId3" Type="http://schemas.openxmlformats.org/officeDocument/2006/relationships/slideLayout" Target="../slideLayouts/slideLayout391.xml"/><Relationship Id="rId21" Type="http://schemas.openxmlformats.org/officeDocument/2006/relationships/oleObject" Target="../embeddings/oleObject36.bin"/><Relationship Id="rId7" Type="http://schemas.openxmlformats.org/officeDocument/2006/relationships/oleObject" Target="../embeddings/oleObject22.bin"/><Relationship Id="rId12" Type="http://schemas.openxmlformats.org/officeDocument/2006/relationships/oleObject" Target="../embeddings/oleObject27.bin"/><Relationship Id="rId17" Type="http://schemas.openxmlformats.org/officeDocument/2006/relationships/oleObject" Target="../embeddings/oleObject32.bin"/><Relationship Id="rId25" Type="http://schemas.openxmlformats.org/officeDocument/2006/relationships/oleObject" Target="../embeddings/oleObject40.bin"/><Relationship Id="rId2" Type="http://schemas.openxmlformats.org/officeDocument/2006/relationships/tags" Target="../tags/tag32.xml"/><Relationship Id="rId16" Type="http://schemas.openxmlformats.org/officeDocument/2006/relationships/oleObject" Target="../embeddings/oleObject31.bin"/><Relationship Id="rId20" Type="http://schemas.openxmlformats.org/officeDocument/2006/relationships/oleObject" Target="../embeddings/oleObject35.bin"/><Relationship Id="rId1" Type="http://schemas.openxmlformats.org/officeDocument/2006/relationships/vmlDrawing" Target="../drawings/vmlDrawing2.vml"/><Relationship Id="rId6" Type="http://schemas.openxmlformats.org/officeDocument/2006/relationships/oleObject" Target="../embeddings/oleObject21.bin"/><Relationship Id="rId11" Type="http://schemas.openxmlformats.org/officeDocument/2006/relationships/oleObject" Target="../embeddings/oleObject26.bin"/><Relationship Id="rId24" Type="http://schemas.openxmlformats.org/officeDocument/2006/relationships/oleObject" Target="../embeddings/oleObject39.bin"/><Relationship Id="rId5" Type="http://schemas.openxmlformats.org/officeDocument/2006/relationships/chart" Target="../charts/chart1.xml"/><Relationship Id="rId15" Type="http://schemas.openxmlformats.org/officeDocument/2006/relationships/oleObject" Target="../embeddings/oleObject30.bin"/><Relationship Id="rId23" Type="http://schemas.openxmlformats.org/officeDocument/2006/relationships/oleObject" Target="../embeddings/oleObject38.bin"/><Relationship Id="rId10" Type="http://schemas.openxmlformats.org/officeDocument/2006/relationships/oleObject" Target="../embeddings/oleObject25.bin"/><Relationship Id="rId19" Type="http://schemas.openxmlformats.org/officeDocument/2006/relationships/oleObject" Target="../embeddings/oleObject34.bin"/><Relationship Id="rId4" Type="http://schemas.openxmlformats.org/officeDocument/2006/relationships/notesSlide" Target="../notesSlides/notesSlide9.xml"/><Relationship Id="rId9" Type="http://schemas.openxmlformats.org/officeDocument/2006/relationships/oleObject" Target="../embeddings/oleObject24.bin"/><Relationship Id="rId14" Type="http://schemas.openxmlformats.org/officeDocument/2006/relationships/oleObject" Target="../embeddings/oleObject29.bin"/><Relationship Id="rId22" Type="http://schemas.openxmlformats.org/officeDocument/2006/relationships/oleObject" Target="../embeddings/oleObject37.bin"/></Relationships>
</file>

<file path=ppt/slides/_rels/slide16.xml.rels><?xml version="1.0" encoding="UTF-8" standalone="yes"?>
<Relationships xmlns="http://schemas.openxmlformats.org/package/2006/relationships"><Relationship Id="rId8" Type="http://schemas.openxmlformats.org/officeDocument/2006/relationships/oleObject" Target="../embeddings/oleObject43.bin"/><Relationship Id="rId13" Type="http://schemas.openxmlformats.org/officeDocument/2006/relationships/oleObject" Target="../embeddings/oleObject48.bin"/><Relationship Id="rId18" Type="http://schemas.openxmlformats.org/officeDocument/2006/relationships/oleObject" Target="../embeddings/oleObject53.bin"/><Relationship Id="rId3" Type="http://schemas.openxmlformats.org/officeDocument/2006/relationships/slideLayout" Target="../slideLayouts/slideLayout391.xml"/><Relationship Id="rId21" Type="http://schemas.openxmlformats.org/officeDocument/2006/relationships/oleObject" Target="../embeddings/oleObject56.bin"/><Relationship Id="rId7" Type="http://schemas.openxmlformats.org/officeDocument/2006/relationships/oleObject" Target="../embeddings/oleObject42.bin"/><Relationship Id="rId12" Type="http://schemas.openxmlformats.org/officeDocument/2006/relationships/oleObject" Target="../embeddings/oleObject47.bin"/><Relationship Id="rId17" Type="http://schemas.openxmlformats.org/officeDocument/2006/relationships/oleObject" Target="../embeddings/oleObject52.bin"/><Relationship Id="rId25" Type="http://schemas.openxmlformats.org/officeDocument/2006/relationships/oleObject" Target="../embeddings/oleObject60.bin"/><Relationship Id="rId2" Type="http://schemas.openxmlformats.org/officeDocument/2006/relationships/tags" Target="../tags/tag33.xml"/><Relationship Id="rId16" Type="http://schemas.openxmlformats.org/officeDocument/2006/relationships/oleObject" Target="../embeddings/oleObject51.bin"/><Relationship Id="rId20" Type="http://schemas.openxmlformats.org/officeDocument/2006/relationships/oleObject" Target="../embeddings/oleObject55.bin"/><Relationship Id="rId1" Type="http://schemas.openxmlformats.org/officeDocument/2006/relationships/vmlDrawing" Target="../drawings/vmlDrawing3.vml"/><Relationship Id="rId6" Type="http://schemas.openxmlformats.org/officeDocument/2006/relationships/oleObject" Target="../embeddings/oleObject41.bin"/><Relationship Id="rId11" Type="http://schemas.openxmlformats.org/officeDocument/2006/relationships/oleObject" Target="../embeddings/oleObject46.bin"/><Relationship Id="rId24" Type="http://schemas.openxmlformats.org/officeDocument/2006/relationships/oleObject" Target="../embeddings/oleObject59.bin"/><Relationship Id="rId5" Type="http://schemas.openxmlformats.org/officeDocument/2006/relationships/image" Target="../media/image29.jpeg"/><Relationship Id="rId15" Type="http://schemas.openxmlformats.org/officeDocument/2006/relationships/oleObject" Target="../embeddings/oleObject50.bin"/><Relationship Id="rId23" Type="http://schemas.openxmlformats.org/officeDocument/2006/relationships/oleObject" Target="../embeddings/oleObject58.bin"/><Relationship Id="rId10" Type="http://schemas.openxmlformats.org/officeDocument/2006/relationships/oleObject" Target="../embeddings/oleObject45.bin"/><Relationship Id="rId19" Type="http://schemas.openxmlformats.org/officeDocument/2006/relationships/oleObject" Target="../embeddings/oleObject54.bin"/><Relationship Id="rId4" Type="http://schemas.openxmlformats.org/officeDocument/2006/relationships/notesSlide" Target="../notesSlides/notesSlide10.xml"/><Relationship Id="rId9" Type="http://schemas.openxmlformats.org/officeDocument/2006/relationships/oleObject" Target="../embeddings/oleObject44.bin"/><Relationship Id="rId14" Type="http://schemas.openxmlformats.org/officeDocument/2006/relationships/oleObject" Target="../embeddings/oleObject49.bin"/><Relationship Id="rId22" Type="http://schemas.openxmlformats.org/officeDocument/2006/relationships/oleObject" Target="../embeddings/oleObject57.bin"/></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91.xml"/></Relationships>
</file>

<file path=ppt/slides/_rels/slide18.xml.rels><?xml version="1.0" encoding="UTF-8" standalone="yes"?>
<Relationships xmlns="http://schemas.openxmlformats.org/package/2006/relationships"><Relationship Id="rId8" Type="http://schemas.openxmlformats.org/officeDocument/2006/relationships/oleObject" Target="../embeddings/oleObject62.bin"/><Relationship Id="rId13" Type="http://schemas.openxmlformats.org/officeDocument/2006/relationships/oleObject" Target="../embeddings/oleObject67.bin"/><Relationship Id="rId18" Type="http://schemas.openxmlformats.org/officeDocument/2006/relationships/oleObject" Target="../embeddings/oleObject72.bin"/><Relationship Id="rId26" Type="http://schemas.openxmlformats.org/officeDocument/2006/relationships/oleObject" Target="../embeddings/oleObject80.bin"/><Relationship Id="rId3" Type="http://schemas.openxmlformats.org/officeDocument/2006/relationships/slideLayout" Target="../slideLayouts/slideLayout391.xml"/><Relationship Id="rId21" Type="http://schemas.openxmlformats.org/officeDocument/2006/relationships/oleObject" Target="../embeddings/oleObject75.bin"/><Relationship Id="rId7" Type="http://schemas.openxmlformats.org/officeDocument/2006/relationships/oleObject" Target="../embeddings/oleObject61.bin"/><Relationship Id="rId12" Type="http://schemas.openxmlformats.org/officeDocument/2006/relationships/oleObject" Target="../embeddings/oleObject66.bin"/><Relationship Id="rId17" Type="http://schemas.openxmlformats.org/officeDocument/2006/relationships/oleObject" Target="../embeddings/oleObject71.bin"/><Relationship Id="rId25" Type="http://schemas.openxmlformats.org/officeDocument/2006/relationships/oleObject" Target="../embeddings/oleObject79.bin"/><Relationship Id="rId2" Type="http://schemas.openxmlformats.org/officeDocument/2006/relationships/tags" Target="../tags/tag34.xml"/><Relationship Id="rId16" Type="http://schemas.openxmlformats.org/officeDocument/2006/relationships/oleObject" Target="../embeddings/oleObject70.bin"/><Relationship Id="rId20" Type="http://schemas.openxmlformats.org/officeDocument/2006/relationships/oleObject" Target="../embeddings/oleObject74.bin"/><Relationship Id="rId29" Type="http://schemas.openxmlformats.org/officeDocument/2006/relationships/image" Target="../media/image35.png"/><Relationship Id="rId1" Type="http://schemas.openxmlformats.org/officeDocument/2006/relationships/vmlDrawing" Target="../drawings/vmlDrawing4.vml"/><Relationship Id="rId6" Type="http://schemas.openxmlformats.org/officeDocument/2006/relationships/image" Target="../media/image32.jpeg"/><Relationship Id="rId11" Type="http://schemas.openxmlformats.org/officeDocument/2006/relationships/oleObject" Target="../embeddings/oleObject65.bin"/><Relationship Id="rId24" Type="http://schemas.openxmlformats.org/officeDocument/2006/relationships/oleObject" Target="../embeddings/oleObject78.bin"/><Relationship Id="rId5" Type="http://schemas.openxmlformats.org/officeDocument/2006/relationships/image" Target="../media/image31.jpeg"/><Relationship Id="rId15" Type="http://schemas.openxmlformats.org/officeDocument/2006/relationships/oleObject" Target="../embeddings/oleObject69.bin"/><Relationship Id="rId23" Type="http://schemas.openxmlformats.org/officeDocument/2006/relationships/oleObject" Target="../embeddings/oleObject77.bin"/><Relationship Id="rId28" Type="http://schemas.openxmlformats.org/officeDocument/2006/relationships/image" Target="../media/image34.png"/><Relationship Id="rId10" Type="http://schemas.openxmlformats.org/officeDocument/2006/relationships/oleObject" Target="../embeddings/oleObject64.bin"/><Relationship Id="rId19" Type="http://schemas.openxmlformats.org/officeDocument/2006/relationships/oleObject" Target="../embeddings/oleObject73.bin"/><Relationship Id="rId31" Type="http://schemas.openxmlformats.org/officeDocument/2006/relationships/image" Target="../media/image37.png"/><Relationship Id="rId4" Type="http://schemas.openxmlformats.org/officeDocument/2006/relationships/image" Target="../media/image30.jpeg"/><Relationship Id="rId9" Type="http://schemas.openxmlformats.org/officeDocument/2006/relationships/oleObject" Target="../embeddings/oleObject63.bin"/><Relationship Id="rId14" Type="http://schemas.openxmlformats.org/officeDocument/2006/relationships/oleObject" Target="../embeddings/oleObject68.bin"/><Relationship Id="rId22" Type="http://schemas.openxmlformats.org/officeDocument/2006/relationships/oleObject" Target="../embeddings/oleObject76.bin"/><Relationship Id="rId27" Type="http://schemas.openxmlformats.org/officeDocument/2006/relationships/image" Target="../media/image33.png"/><Relationship Id="rId30" Type="http://schemas.openxmlformats.org/officeDocument/2006/relationships/image" Target="../media/image36.png"/></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391.xml"/><Relationship Id="rId1" Type="http://schemas.openxmlformats.org/officeDocument/2006/relationships/tags" Target="../tags/tag3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86.xml"/></Relationships>
</file>

<file path=ppt/slides/_rels/slide20.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slideLayout" Target="../slideLayouts/slideLayout391.xml"/><Relationship Id="rId1" Type="http://schemas.openxmlformats.org/officeDocument/2006/relationships/tags" Target="../tags/tag36.xml"/></Relationships>
</file>

<file path=ppt/slides/_rels/slide21.xml.rels><?xml version="1.0" encoding="UTF-8" standalone="yes"?>
<Relationships xmlns="http://schemas.openxmlformats.org/package/2006/relationships"><Relationship Id="rId3" Type="http://schemas.openxmlformats.org/officeDocument/2006/relationships/image" Target="../media/image39.gif"/><Relationship Id="rId2" Type="http://schemas.openxmlformats.org/officeDocument/2006/relationships/slideLayout" Target="../slideLayouts/slideLayout391.xml"/><Relationship Id="rId1" Type="http://schemas.openxmlformats.org/officeDocument/2006/relationships/tags" Target="../tags/tag37.xml"/><Relationship Id="rId4" Type="http://schemas.openxmlformats.org/officeDocument/2006/relationships/image" Target="file:///C:\Program%20Files\iManager%20MDS%206600\WDM\bin\..\icon\NEW_STATION_OTM.bmp"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39.gif"/><Relationship Id="rId2" Type="http://schemas.openxmlformats.org/officeDocument/2006/relationships/slideLayout" Target="../slideLayouts/slideLayout391.xml"/><Relationship Id="rId1" Type="http://schemas.openxmlformats.org/officeDocument/2006/relationships/tags" Target="../tags/tag38.xml"/><Relationship Id="rId4" Type="http://schemas.openxmlformats.org/officeDocument/2006/relationships/image" Target="file:///C:\Program%20Files\iManager%20MDS%206600\WDM\bin\..\icon\NEW_STATION_OTM.bmp" TargetMode="Externa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91.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91.xml"/><Relationship Id="rId1" Type="http://schemas.openxmlformats.org/officeDocument/2006/relationships/tags" Target="../tags/tag39.xml"/><Relationship Id="rId4" Type="http://schemas.openxmlformats.org/officeDocument/2006/relationships/image" Target="../media/image40.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91.xml"/><Relationship Id="rId1" Type="http://schemas.openxmlformats.org/officeDocument/2006/relationships/tags" Target="../tags/tag40.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91.xml"/><Relationship Id="rId1" Type="http://schemas.openxmlformats.org/officeDocument/2006/relationships/tags" Target="../tags/tag41.xml"/><Relationship Id="rId4" Type="http://schemas.openxmlformats.org/officeDocument/2006/relationships/chart" Target="../charts/char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91.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91.xml"/><Relationship Id="rId1" Type="http://schemas.openxmlformats.org/officeDocument/2006/relationships/tags" Target="../tags/tag42.xml"/><Relationship Id="rId5" Type="http://schemas.openxmlformats.org/officeDocument/2006/relationships/image" Target="../media/image42.wmf"/><Relationship Id="rId4" Type="http://schemas.openxmlformats.org/officeDocument/2006/relationships/image" Target="../media/image41.wmf"/></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91.xml"/><Relationship Id="rId1" Type="http://schemas.openxmlformats.org/officeDocument/2006/relationships/tags" Target="../tags/tag43.xml"/><Relationship Id="rId6" Type="http://schemas.openxmlformats.org/officeDocument/2006/relationships/image" Target="../media/image45.png"/><Relationship Id="rId5" Type="http://schemas.openxmlformats.org/officeDocument/2006/relationships/image" Target="../media/image44.emf"/><Relationship Id="rId4" Type="http://schemas.openxmlformats.org/officeDocument/2006/relationships/image" Target="../media/image43.emf"/></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8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91.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91.xml"/><Relationship Id="rId1" Type="http://schemas.openxmlformats.org/officeDocument/2006/relationships/tags" Target="../tags/tag44.xml"/></Relationships>
</file>

<file path=ppt/slides/_rels/slide3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1.xml"/><Relationship Id="rId1" Type="http://schemas.openxmlformats.org/officeDocument/2006/relationships/slideLayout" Target="../slideLayouts/slideLayout386.xml"/></Relationships>
</file>

<file path=ppt/slides/_rels/slide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xml"/><Relationship Id="rId1" Type="http://schemas.openxmlformats.org/officeDocument/2006/relationships/slideLayout" Target="../slideLayouts/slideLayout386.xml"/></Relationships>
</file>

<file path=ppt/slides/_rels/slide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386.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8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38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391.xml"/><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4.xml"/><Relationship Id="rId1" Type="http://schemas.openxmlformats.org/officeDocument/2006/relationships/slideLayout" Target="../slideLayouts/slideLayout38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1" descr="02-3059E-Template-PPT-Pag01-02-FB.jpg"/>
          <p:cNvPicPr>
            <a:picLocks noChangeAspect="1"/>
          </p:cNvPicPr>
          <p:nvPr/>
        </p:nvPicPr>
        <p:blipFill>
          <a:blip r:embed="rId3" cstate="print"/>
          <a:srcRect l="6540" t="4845" r="7031" b="16666"/>
          <a:stretch>
            <a:fillRect/>
          </a:stretch>
        </p:blipFill>
        <p:spPr bwMode="auto">
          <a:xfrm>
            <a:off x="0" y="0"/>
            <a:ext cx="9900230" cy="6858000"/>
          </a:xfrm>
          <a:prstGeom prst="rect">
            <a:avLst/>
          </a:prstGeom>
          <a:noFill/>
          <a:ln w="9525">
            <a:noFill/>
            <a:miter lim="800000"/>
            <a:headEnd/>
            <a:tailEnd/>
          </a:ln>
        </p:spPr>
      </p:pic>
      <p:sp>
        <p:nvSpPr>
          <p:cNvPr id="3075" name="Title 1"/>
          <p:cNvSpPr txBox="1">
            <a:spLocks/>
          </p:cNvSpPr>
          <p:nvPr/>
        </p:nvSpPr>
        <p:spPr bwMode="auto">
          <a:xfrm>
            <a:off x="6045152" y="6324624"/>
            <a:ext cx="3907296" cy="533400"/>
          </a:xfrm>
          <a:prstGeom prst="rect">
            <a:avLst/>
          </a:prstGeom>
          <a:noFill/>
          <a:ln w="9525">
            <a:noFill/>
            <a:miter lim="800000"/>
            <a:headEnd/>
            <a:tailEnd/>
          </a:ln>
        </p:spPr>
        <p:txBody>
          <a:bodyPr anchor="ctr"/>
          <a:lstStyle/>
          <a:p>
            <a:pPr algn="l"/>
            <a:r>
              <a:rPr lang="en-US" sz="1600" dirty="0" smtClean="0">
                <a:solidFill>
                  <a:srgbClr val="0B3066"/>
                </a:solidFill>
                <a:latin typeface="Candara" pitchFamily="34" charset="0"/>
              </a:rPr>
              <a:t>Brasilia, 31 de </a:t>
            </a:r>
            <a:r>
              <a:rPr lang="en-US" sz="1600" dirty="0" err="1" smtClean="0">
                <a:solidFill>
                  <a:srgbClr val="0B3066"/>
                </a:solidFill>
                <a:latin typeface="Candara" pitchFamily="34" charset="0"/>
              </a:rPr>
              <a:t>outubro</a:t>
            </a:r>
            <a:r>
              <a:rPr lang="en-US" sz="1600" dirty="0" smtClean="0">
                <a:solidFill>
                  <a:srgbClr val="0B3066"/>
                </a:solidFill>
                <a:latin typeface="Candara" pitchFamily="34" charset="0"/>
              </a:rPr>
              <a:t> de 2013</a:t>
            </a:r>
            <a:endParaRPr lang="en-US" sz="1600" dirty="0">
              <a:solidFill>
                <a:srgbClr val="0B3066"/>
              </a:solidFill>
              <a:latin typeface="Candara" pitchFamily="34" charset="0"/>
            </a:endParaRPr>
          </a:p>
        </p:txBody>
      </p:sp>
      <p:sp>
        <p:nvSpPr>
          <p:cNvPr id="5" name="Title 1"/>
          <p:cNvSpPr txBox="1">
            <a:spLocks/>
          </p:cNvSpPr>
          <p:nvPr/>
        </p:nvSpPr>
        <p:spPr bwMode="auto">
          <a:xfrm>
            <a:off x="77356" y="142852"/>
            <a:ext cx="3946950" cy="1643074"/>
          </a:xfrm>
          <a:prstGeom prst="rect">
            <a:avLst/>
          </a:prstGeom>
          <a:noFill/>
          <a:ln w="9525">
            <a:noFill/>
            <a:miter lim="800000"/>
            <a:headEnd/>
            <a:tailEnd/>
          </a:ln>
        </p:spPr>
        <p:txBody>
          <a:bodyPr anchor="ctr"/>
          <a:lstStyle/>
          <a:p>
            <a:pPr algn="ctr"/>
            <a:r>
              <a:rPr lang="en-US" sz="2400" dirty="0" err="1" smtClean="0">
                <a:solidFill>
                  <a:srgbClr val="0B3066"/>
                </a:solidFill>
                <a:latin typeface="Candara" pitchFamily="34" charset="0"/>
              </a:rPr>
              <a:t>Audiência</a:t>
            </a:r>
            <a:endParaRPr lang="en-US" sz="2400" dirty="0" smtClean="0">
              <a:solidFill>
                <a:srgbClr val="0B3066"/>
              </a:solidFill>
              <a:latin typeface="Candara" pitchFamily="34" charset="0"/>
            </a:endParaRPr>
          </a:p>
          <a:p>
            <a:pPr algn="ctr"/>
            <a:r>
              <a:rPr lang="en-US" sz="2400" dirty="0" smtClean="0">
                <a:solidFill>
                  <a:srgbClr val="0B3066"/>
                </a:solidFill>
                <a:latin typeface="Candara" pitchFamily="34" charset="0"/>
              </a:rPr>
              <a:t>CMA – </a:t>
            </a:r>
            <a:r>
              <a:rPr lang="en-US" sz="2400" dirty="0" err="1" smtClean="0">
                <a:solidFill>
                  <a:srgbClr val="0B3066"/>
                </a:solidFill>
                <a:latin typeface="Candara" pitchFamily="34" charset="0"/>
              </a:rPr>
              <a:t>Senado</a:t>
            </a:r>
            <a:r>
              <a:rPr lang="en-US" sz="2400" dirty="0" smtClean="0">
                <a:solidFill>
                  <a:srgbClr val="0B3066"/>
                </a:solidFill>
                <a:latin typeface="Candara" pitchFamily="34" charset="0"/>
              </a:rPr>
              <a:t> Federal</a:t>
            </a:r>
            <a:endParaRPr lang="en-US" sz="2400" dirty="0">
              <a:solidFill>
                <a:srgbClr val="0B3066"/>
              </a:solidFill>
              <a:latin typeface="Candara" pitchFamily="34" charset="0"/>
            </a:endParaRPr>
          </a:p>
        </p:txBody>
      </p:sp>
    </p:spTree>
    <p:extLst>
      <p:ext uri="{BB962C8B-B14F-4D97-AF65-F5344CB8AC3E}">
        <p14:creationId xmlns="" xmlns:p14="http://schemas.microsoft.com/office/powerpoint/2010/main" val="292099722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Retângulo 4"/>
          <p:cNvSpPr>
            <a:spLocks noChangeArrowheads="1"/>
          </p:cNvSpPr>
          <p:nvPr/>
        </p:nvSpPr>
        <p:spPr bwMode="auto">
          <a:xfrm>
            <a:off x="38318" y="1209491"/>
            <a:ext cx="7295389" cy="923330"/>
          </a:xfrm>
          <a:prstGeom prst="rect">
            <a:avLst/>
          </a:prstGeom>
          <a:noFill/>
          <a:ln w="9525">
            <a:noFill/>
            <a:miter lim="800000"/>
            <a:headEnd/>
            <a:tailEnd/>
          </a:ln>
        </p:spPr>
        <p:txBody>
          <a:bodyPr wrap="square">
            <a:spAutoFit/>
          </a:bodyPr>
          <a:lstStyle/>
          <a:p>
            <a:pPr algn="l"/>
            <a:r>
              <a:rPr lang="pt-BR" sz="1800" b="0" dirty="0" smtClean="0">
                <a:solidFill>
                  <a:srgbClr val="0B3066"/>
                </a:solidFill>
                <a:latin typeface="+mn-lt"/>
              </a:rPr>
              <a:t>O Mapa </a:t>
            </a:r>
            <a:r>
              <a:rPr lang="pt-BR" sz="1800" b="0" dirty="0">
                <a:solidFill>
                  <a:srgbClr val="0B3066"/>
                </a:solidFill>
                <a:latin typeface="+mn-lt"/>
              </a:rPr>
              <a:t>de Cobertura apresenta para o cliente,  a cobertura detalhada 2G, </a:t>
            </a:r>
            <a:r>
              <a:rPr lang="pt-BR" sz="1800" b="0" dirty="0" smtClean="0">
                <a:solidFill>
                  <a:srgbClr val="0B3066"/>
                </a:solidFill>
                <a:latin typeface="+mn-lt"/>
              </a:rPr>
              <a:t>3G, </a:t>
            </a:r>
            <a:r>
              <a:rPr lang="pt-BR" sz="1800" b="0" dirty="0">
                <a:solidFill>
                  <a:srgbClr val="0B3066"/>
                </a:solidFill>
                <a:latin typeface="+mn-lt"/>
              </a:rPr>
              <a:t>4G, as antenas </a:t>
            </a:r>
            <a:r>
              <a:rPr lang="pt-BR" sz="1800" b="0" dirty="0" smtClean="0">
                <a:solidFill>
                  <a:srgbClr val="0B3066"/>
                </a:solidFill>
                <a:latin typeface="+mn-lt"/>
              </a:rPr>
              <a:t>planejadas. Ainda, há informações </a:t>
            </a:r>
            <a:r>
              <a:rPr lang="pt-BR" sz="1800" b="0" dirty="0">
                <a:solidFill>
                  <a:srgbClr val="0B3066"/>
                </a:solidFill>
                <a:latin typeface="+mn-lt"/>
              </a:rPr>
              <a:t>de incidentes que impactam o </a:t>
            </a:r>
            <a:r>
              <a:rPr lang="pt-BR" sz="1800" b="0" dirty="0" smtClean="0">
                <a:solidFill>
                  <a:srgbClr val="0B3066"/>
                </a:solidFill>
                <a:latin typeface="+mn-lt"/>
              </a:rPr>
              <a:t>serviço, tutoriais, espaço para contribuições.</a:t>
            </a:r>
            <a:endParaRPr lang="pt-BR" sz="1800" b="0" dirty="0">
              <a:solidFill>
                <a:srgbClr val="0B3066"/>
              </a:solidFill>
              <a:latin typeface="+mn-lt"/>
            </a:endParaRPr>
          </a:p>
        </p:txBody>
      </p:sp>
      <p:sp>
        <p:nvSpPr>
          <p:cNvPr id="15" name="Rounded Rectangle 14"/>
          <p:cNvSpPr/>
          <p:nvPr/>
        </p:nvSpPr>
        <p:spPr bwMode="auto">
          <a:xfrm>
            <a:off x="6903271" y="2204830"/>
            <a:ext cx="2929287" cy="3600500"/>
          </a:xfrm>
          <a:prstGeom prst="roundRect">
            <a:avLst/>
          </a:prstGeom>
          <a:solidFill>
            <a:schemeClr val="accent1">
              <a:lumMod val="60000"/>
              <a:lumOff val="4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6" name="Retângulo 12"/>
          <p:cNvSpPr>
            <a:spLocks noChangeArrowheads="1"/>
          </p:cNvSpPr>
          <p:nvPr/>
        </p:nvSpPr>
        <p:spPr bwMode="auto">
          <a:xfrm>
            <a:off x="7002970" y="2348851"/>
            <a:ext cx="2708691" cy="1169551"/>
          </a:xfrm>
          <a:prstGeom prst="rect">
            <a:avLst/>
          </a:prstGeom>
          <a:noFill/>
          <a:ln w="9525">
            <a:noFill/>
            <a:miter lim="800000"/>
            <a:headEnd/>
            <a:tailEnd/>
          </a:ln>
        </p:spPr>
        <p:txBody>
          <a:bodyPr wrap="square">
            <a:spAutoFit/>
          </a:bodyPr>
          <a:lstStyle/>
          <a:p>
            <a:pPr algn="ctr"/>
            <a:r>
              <a:rPr lang="pt-BR" sz="1400" b="0" dirty="0">
                <a:solidFill>
                  <a:schemeClr val="bg1"/>
                </a:solidFill>
                <a:latin typeface="+mn-lt"/>
              </a:rPr>
              <a:t>Na sessão </a:t>
            </a:r>
            <a:r>
              <a:rPr lang="pt-BR" sz="1400" dirty="0">
                <a:solidFill>
                  <a:schemeClr val="bg1"/>
                </a:solidFill>
                <a:latin typeface="+mn-lt"/>
              </a:rPr>
              <a:t>“Alertas” </a:t>
            </a:r>
            <a:r>
              <a:rPr lang="pt-BR" sz="1400" b="0" dirty="0">
                <a:solidFill>
                  <a:schemeClr val="bg1"/>
                </a:solidFill>
                <a:latin typeface="+mn-lt"/>
              </a:rPr>
              <a:t>o cliente poderá acessar ações de melhoria nos serviços, assim como eventuais falhas, no momento que ocorrem.</a:t>
            </a:r>
          </a:p>
        </p:txBody>
      </p:sp>
      <p:sp>
        <p:nvSpPr>
          <p:cNvPr id="11" name="Title 1"/>
          <p:cNvSpPr txBox="1">
            <a:spLocks/>
          </p:cNvSpPr>
          <p:nvPr/>
        </p:nvSpPr>
        <p:spPr>
          <a:xfrm>
            <a:off x="-35" y="-24"/>
            <a:ext cx="8915400" cy="1000132"/>
          </a:xfrm>
          <a:prstGeom prst="rect">
            <a:avLst/>
          </a:prstGeom>
        </p:spPr>
        <p:txBody>
          <a:bodyPr/>
          <a:lstStyle/>
          <a:p>
            <a:pPr algn="l">
              <a:lnSpc>
                <a:spcPct val="80000"/>
              </a:lnSpc>
            </a:pPr>
            <a:r>
              <a:rPr lang="en-US" sz="3600" dirty="0" smtClean="0">
                <a:solidFill>
                  <a:srgbClr val="004990"/>
                </a:solidFill>
                <a:latin typeface="Candara" pitchFamily="34" charset="0"/>
              </a:rPr>
              <a:t>Transparência: Po</a:t>
            </a:r>
            <a:r>
              <a:rPr lang="pt-BR" sz="3600" dirty="0" smtClean="0">
                <a:solidFill>
                  <a:srgbClr val="004990"/>
                </a:solidFill>
                <a:latin typeface="Candara" pitchFamily="34" charset="0"/>
              </a:rPr>
              <a:t>rtas Abertas: </a:t>
            </a:r>
          </a:p>
          <a:p>
            <a:pPr algn="l">
              <a:lnSpc>
                <a:spcPct val="80000"/>
              </a:lnSpc>
            </a:pPr>
            <a:endParaRPr lang="pt-BR" sz="1000" dirty="0" smtClean="0">
              <a:solidFill>
                <a:srgbClr val="FFC000"/>
              </a:solidFill>
              <a:latin typeface="+mn-lt"/>
            </a:endParaRPr>
          </a:p>
          <a:p>
            <a:pPr algn="l">
              <a:lnSpc>
                <a:spcPct val="80000"/>
              </a:lnSpc>
            </a:pPr>
            <a:r>
              <a:rPr lang="pt-BR" dirty="0" smtClean="0">
                <a:solidFill>
                  <a:srgbClr val="FFC000"/>
                </a:solidFill>
                <a:latin typeface="+mn-lt"/>
              </a:rPr>
              <a:t>Evidenciar, com total transparência, o trabalho e resultados   </a:t>
            </a:r>
          </a:p>
          <a:p>
            <a:pPr algn="l">
              <a:lnSpc>
                <a:spcPct val="80000"/>
              </a:lnSpc>
            </a:pPr>
            <a:r>
              <a:rPr lang="pt-BR" dirty="0" smtClean="0">
                <a:solidFill>
                  <a:srgbClr val="FFC000"/>
                </a:solidFill>
                <a:latin typeface="+mn-lt"/>
              </a:rPr>
              <a:t>alcançados</a:t>
            </a:r>
            <a:endParaRPr lang="en-US" dirty="0">
              <a:solidFill>
                <a:srgbClr val="FFC000"/>
              </a:solidFill>
              <a:latin typeface="+mn-lt"/>
            </a:endParaRPr>
          </a:p>
        </p:txBody>
      </p:sp>
      <p:pic>
        <p:nvPicPr>
          <p:cNvPr id="1028" name="Picture 4"/>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116328" y="2564880"/>
            <a:ext cx="6708932" cy="273957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029" name="Picture 5"/>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7215639" y="3712574"/>
            <a:ext cx="2340000" cy="15886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 xmlns:p14="http://schemas.microsoft.com/office/powerpoint/2010/main" val="41379199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1" descr="02-3059E-Template-PPT-Pag02-02-FB.jpg"/>
          <p:cNvPicPr>
            <a:picLocks noChangeAspect="1"/>
          </p:cNvPicPr>
          <p:nvPr/>
        </p:nvPicPr>
        <p:blipFill>
          <a:blip r:embed="rId3" cstate="print"/>
          <a:srcRect/>
          <a:stretch>
            <a:fillRect/>
          </a:stretch>
        </p:blipFill>
        <p:spPr bwMode="auto">
          <a:xfrm>
            <a:off x="0" y="0"/>
            <a:ext cx="9906000" cy="6858000"/>
          </a:xfrm>
          <a:prstGeom prst="rect">
            <a:avLst/>
          </a:prstGeom>
          <a:noFill/>
          <a:ln w="9525">
            <a:noFill/>
            <a:miter lim="800000"/>
            <a:headEnd/>
            <a:tailEnd/>
          </a:ln>
        </p:spPr>
      </p:pic>
      <p:sp>
        <p:nvSpPr>
          <p:cNvPr id="6147" name="Title 1"/>
          <p:cNvSpPr txBox="1">
            <a:spLocks/>
          </p:cNvSpPr>
          <p:nvPr/>
        </p:nvSpPr>
        <p:spPr bwMode="auto">
          <a:xfrm>
            <a:off x="541735" y="5645150"/>
            <a:ext cx="8684948" cy="927100"/>
          </a:xfrm>
          <a:prstGeom prst="rect">
            <a:avLst/>
          </a:prstGeom>
          <a:noFill/>
          <a:ln w="9525">
            <a:noFill/>
            <a:miter lim="800000"/>
            <a:headEnd/>
            <a:tailEnd/>
          </a:ln>
        </p:spPr>
        <p:txBody>
          <a:bodyPr lIns="0" rIns="0"/>
          <a:lstStyle/>
          <a:p>
            <a:pPr algn="l" eaLnBrk="1" hangingPunct="1"/>
            <a:r>
              <a:rPr lang="pt-BR" sz="2400" b="0" dirty="0" smtClean="0">
                <a:solidFill>
                  <a:srgbClr val="41B9EB"/>
                </a:solidFill>
                <a:latin typeface="Trebuchet MS" pitchFamily="34" charset="0"/>
              </a:rPr>
              <a:t>Rede</a:t>
            </a:r>
            <a:endParaRPr lang="pt-BR" sz="2400" b="0" dirty="0">
              <a:solidFill>
                <a:srgbClr val="41B9EB"/>
              </a:solidFill>
              <a:latin typeface="Trebuchet MS" pitchFamily="34" charset="0"/>
            </a:endParaRPr>
          </a:p>
          <a:p>
            <a:pPr algn="l" eaLnBrk="1" hangingPunct="1"/>
            <a:r>
              <a:rPr lang="pt-BR" sz="3200" dirty="0" smtClean="0">
                <a:solidFill>
                  <a:schemeClr val="bg1"/>
                </a:solidFill>
                <a:latin typeface="Trebuchet MS" pitchFamily="34" charset="0"/>
              </a:rPr>
              <a:t>Ações</a:t>
            </a:r>
            <a:endParaRPr lang="pt-BR" sz="3200" dirty="0">
              <a:solidFill>
                <a:schemeClr val="bg1"/>
              </a:solidFill>
              <a:latin typeface="Trebuchet MS" pitchFamily="34" charset="0"/>
            </a:endParaRPr>
          </a:p>
        </p:txBody>
      </p:sp>
    </p:spTree>
    <p:extLst>
      <p:ext uri="{BB962C8B-B14F-4D97-AF65-F5344CB8AC3E}">
        <p14:creationId xmlns="" xmlns:p14="http://schemas.microsoft.com/office/powerpoint/2010/main" val="216596449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Box 4"/>
          <p:cNvSpPr txBox="1">
            <a:spLocks noChangeArrowheads="1"/>
          </p:cNvSpPr>
          <p:nvPr/>
        </p:nvSpPr>
        <p:spPr bwMode="auto">
          <a:xfrm>
            <a:off x="1480300" y="1333918"/>
            <a:ext cx="7687545" cy="1880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03659" tIns="0" rIns="103659" bIns="0"/>
          <a:lstStyle>
            <a:lvl1pPr marL="365125" indent="-365125" defTabSz="450850" eaLnBrk="0" hangingPunct="0">
              <a:defRPr sz="1600" b="1">
                <a:solidFill>
                  <a:schemeClr val="tx1"/>
                </a:solidFill>
                <a:latin typeface="Arial" pitchFamily="34" charset="0"/>
                <a:cs typeface="Arial" pitchFamily="34" charset="0"/>
              </a:defRPr>
            </a:lvl1pPr>
            <a:lvl2pPr marL="742950" indent="-285750" defTabSz="450850" eaLnBrk="0" hangingPunct="0">
              <a:defRPr sz="1600" b="1">
                <a:solidFill>
                  <a:schemeClr val="tx1"/>
                </a:solidFill>
                <a:latin typeface="Arial" pitchFamily="34" charset="0"/>
                <a:cs typeface="Arial" pitchFamily="34" charset="0"/>
              </a:defRPr>
            </a:lvl2pPr>
            <a:lvl3pPr marL="1143000" indent="-228600" defTabSz="450850" eaLnBrk="0" hangingPunct="0">
              <a:defRPr sz="1600" b="1">
                <a:solidFill>
                  <a:schemeClr val="tx1"/>
                </a:solidFill>
                <a:latin typeface="Arial" pitchFamily="34" charset="0"/>
                <a:cs typeface="Arial" pitchFamily="34" charset="0"/>
              </a:defRPr>
            </a:lvl3pPr>
            <a:lvl4pPr marL="1600200" indent="-228600" defTabSz="450850" eaLnBrk="0" hangingPunct="0">
              <a:defRPr sz="1600" b="1">
                <a:solidFill>
                  <a:schemeClr val="tx1"/>
                </a:solidFill>
                <a:latin typeface="Arial" pitchFamily="34" charset="0"/>
                <a:cs typeface="Arial" pitchFamily="34" charset="0"/>
              </a:defRPr>
            </a:lvl4pPr>
            <a:lvl5pPr marL="2057400" indent="-228600" defTabSz="450850" eaLnBrk="0" hangingPunct="0">
              <a:defRPr sz="1600" b="1">
                <a:solidFill>
                  <a:schemeClr val="tx1"/>
                </a:solidFill>
                <a:latin typeface="Arial" pitchFamily="34" charset="0"/>
                <a:cs typeface="Arial" pitchFamily="34" charset="0"/>
              </a:defRPr>
            </a:lvl5pPr>
            <a:lvl6pPr marL="2514600" indent="-228600" defTabSz="450850" eaLnBrk="0" fontAlgn="base" hangingPunct="0">
              <a:spcBef>
                <a:spcPct val="0"/>
              </a:spcBef>
              <a:spcAft>
                <a:spcPct val="0"/>
              </a:spcAft>
              <a:defRPr sz="1600" b="1">
                <a:solidFill>
                  <a:schemeClr val="tx1"/>
                </a:solidFill>
                <a:latin typeface="Arial" pitchFamily="34" charset="0"/>
                <a:cs typeface="Arial" pitchFamily="34" charset="0"/>
              </a:defRPr>
            </a:lvl6pPr>
            <a:lvl7pPr marL="2971800" indent="-228600" defTabSz="450850" eaLnBrk="0" fontAlgn="base" hangingPunct="0">
              <a:spcBef>
                <a:spcPct val="0"/>
              </a:spcBef>
              <a:spcAft>
                <a:spcPct val="0"/>
              </a:spcAft>
              <a:defRPr sz="1600" b="1">
                <a:solidFill>
                  <a:schemeClr val="tx1"/>
                </a:solidFill>
                <a:latin typeface="Arial" pitchFamily="34" charset="0"/>
                <a:cs typeface="Arial" pitchFamily="34" charset="0"/>
              </a:defRPr>
            </a:lvl7pPr>
            <a:lvl8pPr marL="3429000" indent="-228600" defTabSz="450850" eaLnBrk="0" fontAlgn="base" hangingPunct="0">
              <a:spcBef>
                <a:spcPct val="0"/>
              </a:spcBef>
              <a:spcAft>
                <a:spcPct val="0"/>
              </a:spcAft>
              <a:defRPr sz="1600" b="1">
                <a:solidFill>
                  <a:schemeClr val="tx1"/>
                </a:solidFill>
                <a:latin typeface="Arial" pitchFamily="34" charset="0"/>
                <a:cs typeface="Arial" pitchFamily="34" charset="0"/>
              </a:defRPr>
            </a:lvl8pPr>
            <a:lvl9pPr marL="3886200" indent="-228600" defTabSz="450850" eaLnBrk="0" fontAlgn="base" hangingPunct="0">
              <a:spcBef>
                <a:spcPct val="0"/>
              </a:spcBef>
              <a:spcAft>
                <a:spcPct val="0"/>
              </a:spcAft>
              <a:defRPr sz="1600" b="1">
                <a:solidFill>
                  <a:schemeClr val="tx1"/>
                </a:solidFill>
                <a:latin typeface="Arial" pitchFamily="34" charset="0"/>
                <a:cs typeface="Arial" pitchFamily="34" charset="0"/>
              </a:defRPr>
            </a:lvl9pPr>
          </a:lstStyle>
          <a:p>
            <a:pPr eaLnBrk="1" hangingPunct="1">
              <a:lnSpc>
                <a:spcPct val="150000"/>
              </a:lnSpc>
              <a:spcBef>
                <a:spcPct val="60000"/>
              </a:spcBef>
              <a:buClr>
                <a:schemeClr val="tx1"/>
              </a:buClr>
              <a:buFont typeface="Webdings" pitchFamily="18" charset="2"/>
              <a:buChar char="4"/>
            </a:pPr>
            <a:r>
              <a:rPr lang="en-US" sz="2300" b="0" dirty="0">
                <a:latin typeface="Calibri" pitchFamily="34" charset="0"/>
              </a:rPr>
              <a:t>BACKBONE LD EVOLUTION</a:t>
            </a:r>
          </a:p>
          <a:p>
            <a:pPr eaLnBrk="1" hangingPunct="1">
              <a:lnSpc>
                <a:spcPct val="150000"/>
              </a:lnSpc>
              <a:spcBef>
                <a:spcPct val="60000"/>
              </a:spcBef>
              <a:buClr>
                <a:schemeClr val="tx1"/>
              </a:buClr>
              <a:buFont typeface="Webdings" pitchFamily="18" charset="2"/>
              <a:buChar char="4"/>
            </a:pPr>
            <a:r>
              <a:rPr lang="en-US" sz="2300" b="0" dirty="0">
                <a:latin typeface="Calibri" pitchFamily="34" charset="0"/>
              </a:rPr>
              <a:t>CASE LT AMAZONAS</a:t>
            </a:r>
          </a:p>
          <a:p>
            <a:pPr eaLnBrk="1" hangingPunct="1">
              <a:lnSpc>
                <a:spcPct val="150000"/>
              </a:lnSpc>
              <a:spcBef>
                <a:spcPct val="60000"/>
              </a:spcBef>
              <a:buClr>
                <a:schemeClr val="tx1"/>
              </a:buClr>
              <a:buFont typeface="Webdings" pitchFamily="18" charset="2"/>
              <a:buChar char="4"/>
            </a:pPr>
            <a:r>
              <a:rPr lang="en-US" sz="2300" b="0" dirty="0">
                <a:latin typeface="Calibri" pitchFamily="34" charset="0"/>
              </a:rPr>
              <a:t>FTTS</a:t>
            </a:r>
            <a:endParaRPr lang="pt-BR" sz="2300" b="0" dirty="0">
              <a:latin typeface="Calibri" pitchFamily="34" charset="0"/>
            </a:endParaRPr>
          </a:p>
          <a:p>
            <a:pPr eaLnBrk="1" hangingPunct="1">
              <a:lnSpc>
                <a:spcPct val="150000"/>
              </a:lnSpc>
              <a:spcBef>
                <a:spcPct val="60000"/>
              </a:spcBef>
              <a:buClr>
                <a:schemeClr val="tx1"/>
              </a:buClr>
              <a:buFont typeface="Webdings" pitchFamily="18" charset="2"/>
              <a:buChar char="4"/>
            </a:pPr>
            <a:r>
              <a:rPr lang="en-US" sz="2300" b="0" dirty="0">
                <a:latin typeface="Calibri" pitchFamily="34" charset="0"/>
              </a:rPr>
              <a:t>MBB</a:t>
            </a:r>
          </a:p>
          <a:p>
            <a:pPr eaLnBrk="1" hangingPunct="1">
              <a:lnSpc>
                <a:spcPct val="150000"/>
              </a:lnSpc>
              <a:spcBef>
                <a:spcPct val="60000"/>
              </a:spcBef>
              <a:buClr>
                <a:schemeClr val="tx1"/>
              </a:buClr>
              <a:buFont typeface="Webdings" pitchFamily="18" charset="2"/>
              <a:buChar char="4"/>
            </a:pPr>
            <a:r>
              <a:rPr lang="en-US" sz="2300" b="0" dirty="0" smtClean="0">
                <a:latin typeface="Calibri" pitchFamily="34" charset="0"/>
              </a:rPr>
              <a:t>LICENSING CHALLENGES</a:t>
            </a:r>
            <a:endParaRPr lang="en-US" sz="2300" b="0" dirty="0">
              <a:latin typeface="Calibri" pitchFamily="34" charset="0"/>
            </a:endParaRPr>
          </a:p>
        </p:txBody>
      </p:sp>
      <p:sp>
        <p:nvSpPr>
          <p:cNvPr id="8" name="Title 38"/>
          <p:cNvSpPr txBox="1">
            <a:spLocks/>
          </p:cNvSpPr>
          <p:nvPr/>
        </p:nvSpPr>
        <p:spPr>
          <a:xfrm>
            <a:off x="330224" y="227015"/>
            <a:ext cx="7980364" cy="457200"/>
          </a:xfrm>
          <a:prstGeom prst="rect">
            <a:avLst/>
          </a:prstGeom>
          <a:noFill/>
          <a:ln>
            <a:noFill/>
          </a:ln>
        </p:spPr>
        <p:txBody>
          <a:bodyPr vert="horz" wrap="square" lIns="0" tIns="0" rIns="0" bIns="0" numCol="1" anchor="ctr" anchorCtr="0" compatLnSpc="1">
            <a:prstTxWarp prst="textNoShape">
              <a:avLst/>
            </a:prstTxWarp>
          </a:bodyPr>
          <a:lstStyle/>
          <a:p>
            <a:pPr defTabSz="877654" eaLnBrk="0" hangingPunct="0">
              <a:lnSpc>
                <a:spcPct val="80000"/>
              </a:lnSpc>
              <a:defRPr/>
            </a:pPr>
            <a:r>
              <a:rPr lang="en-US" sz="2500" kern="0" dirty="0" smtClean="0">
                <a:solidFill>
                  <a:schemeClr val="bg1"/>
                </a:solidFill>
                <a:latin typeface="Calibri" pitchFamily="34" charset="0"/>
                <a:ea typeface="Arial" charset="0"/>
                <a:cs typeface="+mj-cs"/>
              </a:rPr>
              <a:t>AGENDA</a:t>
            </a:r>
            <a:endParaRPr lang="en-US" sz="2500" kern="0" dirty="0">
              <a:solidFill>
                <a:schemeClr val="bg1"/>
              </a:solidFill>
              <a:latin typeface="Calibri" pitchFamily="34" charset="0"/>
              <a:ea typeface="Arial" charset="0"/>
              <a:cs typeface="+mj-cs"/>
            </a:endParaRPr>
          </a:p>
        </p:txBody>
      </p:sp>
    </p:spTree>
    <p:extLst>
      <p:ext uri="{BB962C8B-B14F-4D97-AF65-F5344CB8AC3E}">
        <p14:creationId xmlns="" xmlns:p14="http://schemas.microsoft.com/office/powerpoint/2010/main" val="358903665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2"/>
          <p:cNvSpPr>
            <a:spLocks noChangeArrowheads="1"/>
          </p:cNvSpPr>
          <p:nvPr/>
        </p:nvSpPr>
        <p:spPr bwMode="auto">
          <a:xfrm>
            <a:off x="1208584" y="1379761"/>
            <a:ext cx="6480000" cy="503999"/>
          </a:xfrm>
          <a:prstGeom prst="snip2DiagRect">
            <a:avLst/>
          </a:prstGeom>
          <a:solidFill>
            <a:srgbClr val="3E628A"/>
          </a:solidFill>
          <a:ln>
            <a:noFill/>
          </a:ln>
          <a:extLst>
            <a:ext uri="{91240B29-F687-4f45-9708-019B960494DF}">
              <a14:hiddenLine xmlns=""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lIns="87766" tIns="43883" rIns="87766" bIns="43883" rtlCol="0" anchor="ctr"/>
          <a:lstStyle/>
          <a:p>
            <a:pPr algn="ctr" eaLnBrk="0" hangingPunct="0"/>
            <a:endParaRPr lang="en-US" smtClean="0">
              <a:solidFill>
                <a:schemeClr val="lt1"/>
              </a:solidFill>
            </a:endParaRPr>
          </a:p>
        </p:txBody>
      </p:sp>
      <p:sp>
        <p:nvSpPr>
          <p:cNvPr id="7" name="Text Box 4"/>
          <p:cNvSpPr txBox="1">
            <a:spLocks noChangeArrowheads="1"/>
          </p:cNvSpPr>
          <p:nvPr/>
        </p:nvSpPr>
        <p:spPr bwMode="auto">
          <a:xfrm>
            <a:off x="1480300" y="1333918"/>
            <a:ext cx="7687545" cy="1880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03659" tIns="0" rIns="103659" bIns="0"/>
          <a:lstStyle>
            <a:lvl1pPr marL="365125" indent="-365125" defTabSz="450850" eaLnBrk="0" hangingPunct="0">
              <a:defRPr sz="1600" b="1">
                <a:solidFill>
                  <a:schemeClr val="tx1"/>
                </a:solidFill>
                <a:latin typeface="Arial" pitchFamily="34" charset="0"/>
                <a:cs typeface="Arial" pitchFamily="34" charset="0"/>
              </a:defRPr>
            </a:lvl1pPr>
            <a:lvl2pPr marL="742950" indent="-285750" defTabSz="450850" eaLnBrk="0" hangingPunct="0">
              <a:defRPr sz="1600" b="1">
                <a:solidFill>
                  <a:schemeClr val="tx1"/>
                </a:solidFill>
                <a:latin typeface="Arial" pitchFamily="34" charset="0"/>
                <a:cs typeface="Arial" pitchFamily="34" charset="0"/>
              </a:defRPr>
            </a:lvl2pPr>
            <a:lvl3pPr marL="1143000" indent="-228600" defTabSz="450850" eaLnBrk="0" hangingPunct="0">
              <a:defRPr sz="1600" b="1">
                <a:solidFill>
                  <a:schemeClr val="tx1"/>
                </a:solidFill>
                <a:latin typeface="Arial" pitchFamily="34" charset="0"/>
                <a:cs typeface="Arial" pitchFamily="34" charset="0"/>
              </a:defRPr>
            </a:lvl3pPr>
            <a:lvl4pPr marL="1600200" indent="-228600" defTabSz="450850" eaLnBrk="0" hangingPunct="0">
              <a:defRPr sz="1600" b="1">
                <a:solidFill>
                  <a:schemeClr val="tx1"/>
                </a:solidFill>
                <a:latin typeface="Arial" pitchFamily="34" charset="0"/>
                <a:cs typeface="Arial" pitchFamily="34" charset="0"/>
              </a:defRPr>
            </a:lvl4pPr>
            <a:lvl5pPr marL="2057400" indent="-228600" defTabSz="450850" eaLnBrk="0" hangingPunct="0">
              <a:defRPr sz="1600" b="1">
                <a:solidFill>
                  <a:schemeClr val="tx1"/>
                </a:solidFill>
                <a:latin typeface="Arial" pitchFamily="34" charset="0"/>
                <a:cs typeface="Arial" pitchFamily="34" charset="0"/>
              </a:defRPr>
            </a:lvl5pPr>
            <a:lvl6pPr marL="2514600" indent="-228600" defTabSz="450850" eaLnBrk="0" fontAlgn="base" hangingPunct="0">
              <a:spcBef>
                <a:spcPct val="0"/>
              </a:spcBef>
              <a:spcAft>
                <a:spcPct val="0"/>
              </a:spcAft>
              <a:defRPr sz="1600" b="1">
                <a:solidFill>
                  <a:schemeClr val="tx1"/>
                </a:solidFill>
                <a:latin typeface="Arial" pitchFamily="34" charset="0"/>
                <a:cs typeface="Arial" pitchFamily="34" charset="0"/>
              </a:defRPr>
            </a:lvl6pPr>
            <a:lvl7pPr marL="2971800" indent="-228600" defTabSz="450850" eaLnBrk="0" fontAlgn="base" hangingPunct="0">
              <a:spcBef>
                <a:spcPct val="0"/>
              </a:spcBef>
              <a:spcAft>
                <a:spcPct val="0"/>
              </a:spcAft>
              <a:defRPr sz="1600" b="1">
                <a:solidFill>
                  <a:schemeClr val="tx1"/>
                </a:solidFill>
                <a:latin typeface="Arial" pitchFamily="34" charset="0"/>
                <a:cs typeface="Arial" pitchFamily="34" charset="0"/>
              </a:defRPr>
            </a:lvl7pPr>
            <a:lvl8pPr marL="3429000" indent="-228600" defTabSz="450850" eaLnBrk="0" fontAlgn="base" hangingPunct="0">
              <a:spcBef>
                <a:spcPct val="0"/>
              </a:spcBef>
              <a:spcAft>
                <a:spcPct val="0"/>
              </a:spcAft>
              <a:defRPr sz="1600" b="1">
                <a:solidFill>
                  <a:schemeClr val="tx1"/>
                </a:solidFill>
                <a:latin typeface="Arial" pitchFamily="34" charset="0"/>
                <a:cs typeface="Arial" pitchFamily="34" charset="0"/>
              </a:defRPr>
            </a:lvl8pPr>
            <a:lvl9pPr marL="3886200" indent="-228600" defTabSz="450850" eaLnBrk="0" fontAlgn="base" hangingPunct="0">
              <a:spcBef>
                <a:spcPct val="0"/>
              </a:spcBef>
              <a:spcAft>
                <a:spcPct val="0"/>
              </a:spcAft>
              <a:defRPr sz="1600" b="1">
                <a:solidFill>
                  <a:schemeClr val="tx1"/>
                </a:solidFill>
                <a:latin typeface="Arial" pitchFamily="34" charset="0"/>
                <a:cs typeface="Arial" pitchFamily="34" charset="0"/>
              </a:defRPr>
            </a:lvl9pPr>
          </a:lstStyle>
          <a:p>
            <a:pPr eaLnBrk="1" hangingPunct="1">
              <a:lnSpc>
                <a:spcPct val="150000"/>
              </a:lnSpc>
              <a:spcBef>
                <a:spcPct val="60000"/>
              </a:spcBef>
              <a:buClr>
                <a:schemeClr val="bg1">
                  <a:lumMod val="65000"/>
                </a:schemeClr>
              </a:buClr>
              <a:buFont typeface="Webdings" pitchFamily="18" charset="2"/>
              <a:buChar char="4"/>
            </a:pPr>
            <a:r>
              <a:rPr lang="en-US" sz="2300" b="0" dirty="0">
                <a:solidFill>
                  <a:schemeClr val="bg1"/>
                </a:solidFill>
                <a:latin typeface="Calibri" pitchFamily="34" charset="0"/>
              </a:rPr>
              <a:t>BACKBONE LD EVOLUTION</a:t>
            </a:r>
          </a:p>
          <a:p>
            <a:pPr eaLnBrk="1" hangingPunct="1">
              <a:lnSpc>
                <a:spcPct val="150000"/>
              </a:lnSpc>
              <a:spcBef>
                <a:spcPct val="60000"/>
              </a:spcBef>
              <a:buClr>
                <a:schemeClr val="bg1">
                  <a:lumMod val="65000"/>
                </a:schemeClr>
              </a:buClr>
              <a:buFont typeface="Webdings" pitchFamily="18" charset="2"/>
              <a:buChar char="4"/>
            </a:pPr>
            <a:r>
              <a:rPr lang="en-US" sz="2300" b="0" dirty="0">
                <a:solidFill>
                  <a:schemeClr val="bg1">
                    <a:lumMod val="75000"/>
                  </a:schemeClr>
                </a:solidFill>
                <a:latin typeface="Calibri" pitchFamily="34" charset="0"/>
              </a:rPr>
              <a:t>CASE LT AMAZONAS</a:t>
            </a:r>
          </a:p>
          <a:p>
            <a:pPr eaLnBrk="1" hangingPunct="1">
              <a:lnSpc>
                <a:spcPct val="150000"/>
              </a:lnSpc>
              <a:spcBef>
                <a:spcPct val="60000"/>
              </a:spcBef>
              <a:buClr>
                <a:schemeClr val="bg1">
                  <a:lumMod val="65000"/>
                </a:schemeClr>
              </a:buClr>
              <a:buFont typeface="Webdings" pitchFamily="18" charset="2"/>
              <a:buChar char="4"/>
            </a:pPr>
            <a:r>
              <a:rPr lang="en-US" sz="2300" b="0" dirty="0">
                <a:solidFill>
                  <a:schemeClr val="bg1">
                    <a:lumMod val="75000"/>
                  </a:schemeClr>
                </a:solidFill>
                <a:latin typeface="Calibri" pitchFamily="34" charset="0"/>
              </a:rPr>
              <a:t>FTTS</a:t>
            </a:r>
            <a:endParaRPr lang="pt-BR" sz="2300" b="0" dirty="0">
              <a:solidFill>
                <a:schemeClr val="bg1">
                  <a:lumMod val="75000"/>
                </a:schemeClr>
              </a:solidFill>
              <a:latin typeface="Calibri" pitchFamily="34" charset="0"/>
            </a:endParaRPr>
          </a:p>
          <a:p>
            <a:pPr eaLnBrk="1" hangingPunct="1">
              <a:lnSpc>
                <a:spcPct val="150000"/>
              </a:lnSpc>
              <a:spcBef>
                <a:spcPct val="60000"/>
              </a:spcBef>
              <a:buClr>
                <a:schemeClr val="bg1">
                  <a:lumMod val="65000"/>
                </a:schemeClr>
              </a:buClr>
              <a:buFont typeface="Webdings" pitchFamily="18" charset="2"/>
              <a:buChar char="4"/>
            </a:pPr>
            <a:r>
              <a:rPr lang="en-US" sz="2300" b="0" dirty="0">
                <a:solidFill>
                  <a:schemeClr val="bg1">
                    <a:lumMod val="75000"/>
                  </a:schemeClr>
                </a:solidFill>
                <a:latin typeface="Calibri" pitchFamily="34" charset="0"/>
              </a:rPr>
              <a:t>MBB</a:t>
            </a:r>
          </a:p>
          <a:p>
            <a:pPr eaLnBrk="1" hangingPunct="1">
              <a:lnSpc>
                <a:spcPct val="150000"/>
              </a:lnSpc>
              <a:spcBef>
                <a:spcPct val="60000"/>
              </a:spcBef>
              <a:buClr>
                <a:schemeClr val="bg1">
                  <a:lumMod val="65000"/>
                </a:schemeClr>
              </a:buClr>
              <a:buFont typeface="Webdings" pitchFamily="18" charset="2"/>
              <a:buChar char="4"/>
            </a:pPr>
            <a:r>
              <a:rPr lang="en-US" sz="2300" b="0" dirty="0" smtClean="0">
                <a:solidFill>
                  <a:schemeClr val="bg1">
                    <a:lumMod val="75000"/>
                  </a:schemeClr>
                </a:solidFill>
                <a:latin typeface="Calibri" pitchFamily="34" charset="0"/>
              </a:rPr>
              <a:t>LICENSING CHALLENGES</a:t>
            </a:r>
            <a:endParaRPr lang="en-US" sz="2300" b="0" dirty="0">
              <a:solidFill>
                <a:schemeClr val="bg1">
                  <a:lumMod val="75000"/>
                </a:schemeClr>
              </a:solidFill>
              <a:latin typeface="Calibri" pitchFamily="34" charset="0"/>
            </a:endParaRPr>
          </a:p>
        </p:txBody>
      </p:sp>
      <p:sp>
        <p:nvSpPr>
          <p:cNvPr id="8" name="Title 38"/>
          <p:cNvSpPr txBox="1">
            <a:spLocks/>
          </p:cNvSpPr>
          <p:nvPr/>
        </p:nvSpPr>
        <p:spPr>
          <a:xfrm>
            <a:off x="330224" y="227015"/>
            <a:ext cx="7980364" cy="457200"/>
          </a:xfrm>
          <a:prstGeom prst="rect">
            <a:avLst/>
          </a:prstGeom>
          <a:noFill/>
          <a:ln>
            <a:noFill/>
          </a:ln>
        </p:spPr>
        <p:txBody>
          <a:bodyPr vert="horz" wrap="square" lIns="0" tIns="0" rIns="0" bIns="0" numCol="1" anchor="ctr" anchorCtr="0" compatLnSpc="1">
            <a:prstTxWarp prst="textNoShape">
              <a:avLst/>
            </a:prstTxWarp>
          </a:bodyPr>
          <a:lstStyle/>
          <a:p>
            <a:pPr defTabSz="877654" eaLnBrk="0" hangingPunct="0">
              <a:lnSpc>
                <a:spcPct val="80000"/>
              </a:lnSpc>
              <a:defRPr/>
            </a:pPr>
            <a:r>
              <a:rPr lang="en-US" sz="2500" kern="0" dirty="0" smtClean="0">
                <a:solidFill>
                  <a:schemeClr val="bg1"/>
                </a:solidFill>
                <a:latin typeface="Calibri" pitchFamily="34" charset="0"/>
                <a:ea typeface="Arial" charset="0"/>
                <a:cs typeface="+mj-cs"/>
              </a:rPr>
              <a:t>AGENDA</a:t>
            </a:r>
            <a:endParaRPr lang="en-US" sz="2500" kern="0" dirty="0">
              <a:solidFill>
                <a:schemeClr val="bg1"/>
              </a:solidFill>
              <a:latin typeface="Calibri" pitchFamily="34" charset="0"/>
              <a:ea typeface="Arial" charset="0"/>
              <a:cs typeface="+mj-cs"/>
            </a:endParaRPr>
          </a:p>
        </p:txBody>
      </p:sp>
    </p:spTree>
    <p:extLst>
      <p:ext uri="{BB962C8B-B14F-4D97-AF65-F5344CB8AC3E}">
        <p14:creationId xmlns="" xmlns:p14="http://schemas.microsoft.com/office/powerpoint/2010/main" val="291581862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8" name="Rectangle 12"/>
          <p:cNvSpPr>
            <a:spLocks noChangeArrowheads="1"/>
          </p:cNvSpPr>
          <p:nvPr/>
        </p:nvSpPr>
        <p:spPr bwMode="auto">
          <a:xfrm>
            <a:off x="145906" y="970336"/>
            <a:ext cx="9559595" cy="5555007"/>
          </a:xfrm>
          <a:prstGeom prst="rect">
            <a:avLst/>
          </a:prstGeom>
          <a:solidFill>
            <a:srgbClr val="FFFFFF"/>
          </a:solidFill>
          <a:ln w="9525">
            <a:solidFill>
              <a:srgbClr val="97B3D1"/>
            </a:solidFill>
            <a:miter lim="800000"/>
            <a:headEnd/>
            <a:tailEnd/>
          </a:ln>
        </p:spPr>
        <p:txBody>
          <a:bodyPr tIns="82800" bIns="82800"/>
          <a:lstStyle/>
          <a:p>
            <a:pPr marL="185738" indent="-185738">
              <a:buFontTx/>
              <a:buChar char="•"/>
            </a:pPr>
            <a:endParaRPr lang="en-US" sz="1050" b="0" i="1" dirty="0" smtClean="0">
              <a:latin typeface="Calibri" pitchFamily="34" charset="0"/>
            </a:endParaRPr>
          </a:p>
        </p:txBody>
      </p:sp>
      <p:sp>
        <p:nvSpPr>
          <p:cNvPr id="269" name="AutoShape 6"/>
          <p:cNvSpPr>
            <a:spLocks noChangeArrowheads="1"/>
          </p:cNvSpPr>
          <p:nvPr/>
        </p:nvSpPr>
        <p:spPr bwMode="auto">
          <a:xfrm>
            <a:off x="145907" y="970335"/>
            <a:ext cx="9559594" cy="216001"/>
          </a:xfrm>
          <a:prstGeom prst="homePlate">
            <a:avLst>
              <a:gd name="adj" fmla="val 0"/>
            </a:avLst>
          </a:prstGeom>
          <a:solidFill>
            <a:schemeClr val="tx1"/>
          </a:solidFill>
          <a:ln w="9525" algn="ctr">
            <a:noFill/>
            <a:miter lim="800000"/>
            <a:headEnd/>
            <a:tailEnd/>
          </a:ln>
        </p:spPr>
        <p:txBody>
          <a:bodyPr lIns="72000" tIns="72000" rIns="72000" bIns="72000" anchor="ctr"/>
          <a:lstStyle/>
          <a:p>
            <a:pPr eaLnBrk="0" fontAlgn="auto" hangingPunct="0">
              <a:spcBef>
                <a:spcPts val="0"/>
              </a:spcBef>
              <a:spcAft>
                <a:spcPts val="0"/>
              </a:spcAft>
              <a:defRPr/>
            </a:pPr>
            <a:r>
              <a:rPr lang="it-IT" sz="1050" kern="0" dirty="0" err="1" smtClean="0">
                <a:solidFill>
                  <a:srgbClr val="FFFFFF"/>
                </a:solidFill>
                <a:latin typeface="Calibri" pitchFamily="34" charset="0"/>
              </a:rPr>
              <a:t>Evolution</a:t>
            </a:r>
            <a:r>
              <a:rPr lang="it-IT" sz="1050" kern="0" dirty="0" smtClean="0">
                <a:solidFill>
                  <a:srgbClr val="FFFFFF"/>
                </a:solidFill>
                <a:latin typeface="Calibri" pitchFamily="34" charset="0"/>
              </a:rPr>
              <a:t> Plan</a:t>
            </a:r>
            <a:endParaRPr lang="it-IT" sz="1050" kern="0" dirty="0">
              <a:solidFill>
                <a:srgbClr val="FFFFFF"/>
              </a:solidFill>
              <a:latin typeface="Calibri" pitchFamily="34" charset="0"/>
              <a:cs typeface="Arial" charset="0"/>
            </a:endParaRPr>
          </a:p>
        </p:txBody>
      </p:sp>
      <p:cxnSp>
        <p:nvCxnSpPr>
          <p:cNvPr id="522" name="Straight Connector 521"/>
          <p:cNvCxnSpPr/>
          <p:nvPr/>
        </p:nvCxnSpPr>
        <p:spPr>
          <a:xfrm>
            <a:off x="8152807" y="5444840"/>
            <a:ext cx="0" cy="180000"/>
          </a:xfrm>
          <a:prstGeom prst="line">
            <a:avLst/>
          </a:prstGeom>
        </p:spPr>
        <p:style>
          <a:lnRef idx="1">
            <a:schemeClr val="accent1"/>
          </a:lnRef>
          <a:fillRef idx="0">
            <a:schemeClr val="accent1"/>
          </a:fillRef>
          <a:effectRef idx="0">
            <a:schemeClr val="accent1"/>
          </a:effectRef>
          <a:fontRef idx="minor">
            <a:schemeClr val="tx1"/>
          </a:fontRef>
        </p:style>
      </p:cxnSp>
      <p:sp>
        <p:nvSpPr>
          <p:cNvPr id="322" name="Rectangle 321"/>
          <p:cNvSpPr>
            <a:spLocks noChangeArrowheads="1"/>
          </p:cNvSpPr>
          <p:nvPr>
            <p:custDataLst>
              <p:tags r:id="rId2"/>
            </p:custDataLst>
          </p:nvPr>
        </p:nvSpPr>
        <p:spPr bwMode="auto">
          <a:xfrm>
            <a:off x="308014" y="227013"/>
            <a:ext cx="8281579"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lstStyle/>
          <a:p>
            <a:pPr>
              <a:lnSpc>
                <a:spcPct val="80000"/>
              </a:lnSpc>
            </a:pPr>
            <a:r>
              <a:rPr lang="en-US" sz="2600" dirty="0" smtClean="0">
                <a:solidFill>
                  <a:srgbClr val="FFFFFF"/>
                </a:solidFill>
                <a:latin typeface="+mn-lt"/>
              </a:rPr>
              <a:t>TRANSMISSION BACKBONE: COVERAGE</a:t>
            </a:r>
            <a:endParaRPr lang="en-US" sz="2600" dirty="0">
              <a:solidFill>
                <a:srgbClr val="FFFFFF"/>
              </a:solidFill>
              <a:latin typeface="+mn-lt"/>
            </a:endParaRPr>
          </a:p>
        </p:txBody>
      </p:sp>
      <p:sp>
        <p:nvSpPr>
          <p:cNvPr id="323" name="Text Box 123"/>
          <p:cNvSpPr txBox="1">
            <a:spLocks noChangeArrowheads="1"/>
          </p:cNvSpPr>
          <p:nvPr/>
        </p:nvSpPr>
        <p:spPr bwMode="auto">
          <a:xfrm>
            <a:off x="272480" y="6237312"/>
            <a:ext cx="395941" cy="276999"/>
          </a:xfrm>
          <a:prstGeom prst="rect">
            <a:avLst/>
          </a:prstGeom>
          <a:noFill/>
          <a:ln w="9525">
            <a:noFill/>
            <a:round/>
            <a:headEnd/>
            <a:tailEnd/>
          </a:ln>
        </p:spPr>
        <p:txBody>
          <a:bodyPr wrap="none" lIns="0" tIns="0" rIns="0" bIns="0">
            <a:spAutoFit/>
          </a:bodyPr>
          <a:lstStyle/>
          <a:p>
            <a:pPr algn="ctr" defTabSz="457200">
              <a:lnSpc>
                <a:spcPct val="150000"/>
              </a:lnSpc>
              <a:buClr>
                <a:srgbClr val="000000"/>
              </a:buClr>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600" i="0" dirty="0">
                <a:solidFill>
                  <a:srgbClr val="000000"/>
                </a:solidFill>
                <a:latin typeface="Calibri" pitchFamily="34" charset="0"/>
                <a:cs typeface="Calibri" pitchFamily="34" charset="0"/>
              </a:rPr>
              <a:t>41 </a:t>
            </a:r>
            <a:r>
              <a:rPr lang="en-GB" sz="600" i="0" dirty="0" smtClean="0">
                <a:solidFill>
                  <a:srgbClr val="000000"/>
                </a:solidFill>
                <a:latin typeface="Calibri" pitchFamily="34" charset="0"/>
                <a:cs typeface="Calibri" pitchFamily="34" charset="0"/>
              </a:rPr>
              <a:t>POP BBIP</a:t>
            </a:r>
            <a:br>
              <a:rPr lang="en-GB" sz="600" i="0" dirty="0" smtClean="0">
                <a:solidFill>
                  <a:srgbClr val="000000"/>
                </a:solidFill>
                <a:latin typeface="Calibri" pitchFamily="34" charset="0"/>
                <a:cs typeface="Calibri" pitchFamily="34" charset="0"/>
              </a:rPr>
            </a:br>
            <a:r>
              <a:rPr lang="en-GB" sz="600" i="0" dirty="0" smtClean="0">
                <a:solidFill>
                  <a:srgbClr val="000000"/>
                </a:solidFill>
                <a:latin typeface="Calibri" pitchFamily="34" charset="0"/>
                <a:cs typeface="Calibri" pitchFamily="34" charset="0"/>
              </a:rPr>
              <a:t>Off-Net</a:t>
            </a:r>
            <a:endParaRPr lang="en-GB" sz="600" i="0" dirty="0">
              <a:solidFill>
                <a:srgbClr val="000000"/>
              </a:solidFill>
              <a:latin typeface="Calibri" pitchFamily="34" charset="0"/>
              <a:cs typeface="Calibri" pitchFamily="34" charset="0"/>
            </a:endParaRPr>
          </a:p>
        </p:txBody>
      </p:sp>
      <p:sp>
        <p:nvSpPr>
          <p:cNvPr id="326" name="Text Box 123"/>
          <p:cNvSpPr txBox="1">
            <a:spLocks noChangeArrowheads="1"/>
          </p:cNvSpPr>
          <p:nvPr/>
        </p:nvSpPr>
        <p:spPr bwMode="auto">
          <a:xfrm>
            <a:off x="722479" y="6237312"/>
            <a:ext cx="732573" cy="276999"/>
          </a:xfrm>
          <a:prstGeom prst="rect">
            <a:avLst/>
          </a:prstGeom>
          <a:noFill/>
          <a:ln w="9525">
            <a:noFill/>
            <a:round/>
            <a:headEnd/>
            <a:tailEnd/>
          </a:ln>
        </p:spPr>
        <p:txBody>
          <a:bodyPr wrap="none" lIns="0" tIns="0" rIns="0" bIns="0">
            <a:spAutoFit/>
          </a:bodyPr>
          <a:lstStyle/>
          <a:p>
            <a:pPr algn="ctr" defTabSz="457200">
              <a:lnSpc>
                <a:spcPct val="150000"/>
              </a:lnSpc>
              <a:buClr>
                <a:srgbClr val="000000"/>
              </a:buClr>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600" i="0" dirty="0" smtClean="0">
                <a:solidFill>
                  <a:srgbClr val="000000"/>
                </a:solidFill>
                <a:latin typeface="Calibri" pitchFamily="34" charset="0"/>
                <a:cs typeface="Calibri" pitchFamily="34" charset="0"/>
              </a:rPr>
              <a:t>15 POP BBIP</a:t>
            </a:r>
          </a:p>
          <a:p>
            <a:pPr algn="ctr" defTabSz="457200">
              <a:lnSpc>
                <a:spcPct val="150000"/>
              </a:lnSpc>
              <a:buClr>
                <a:srgbClr val="000000"/>
              </a:buClr>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600" i="0" dirty="0" smtClean="0">
                <a:solidFill>
                  <a:srgbClr val="000000"/>
                </a:solidFill>
                <a:latin typeface="Calibri" pitchFamily="34" charset="0"/>
                <a:cs typeface="Calibri" pitchFamily="34" charset="0"/>
              </a:rPr>
              <a:t> </a:t>
            </a:r>
            <a:r>
              <a:rPr lang="en-GB" sz="600" i="0" dirty="0">
                <a:solidFill>
                  <a:srgbClr val="000000"/>
                </a:solidFill>
                <a:latin typeface="Calibri" pitchFamily="34" charset="0"/>
                <a:cs typeface="Calibri" pitchFamily="34" charset="0"/>
              </a:rPr>
              <a:t>On-Net </a:t>
            </a:r>
            <a:r>
              <a:rPr lang="en-GB" sz="600" i="0" dirty="0" smtClean="0">
                <a:solidFill>
                  <a:srgbClr val="000000"/>
                </a:solidFill>
                <a:latin typeface="Calibri" pitchFamily="34" charset="0"/>
                <a:cs typeface="Calibri" pitchFamily="34" charset="0"/>
              </a:rPr>
              <a:t>not connected</a:t>
            </a:r>
            <a:endParaRPr lang="en-GB" sz="600" i="0" dirty="0">
              <a:solidFill>
                <a:srgbClr val="000000"/>
              </a:solidFill>
              <a:latin typeface="Calibri" pitchFamily="34" charset="0"/>
              <a:cs typeface="Calibri" pitchFamily="34" charset="0"/>
            </a:endParaRPr>
          </a:p>
        </p:txBody>
      </p:sp>
      <p:sp>
        <p:nvSpPr>
          <p:cNvPr id="473" name="Text Box 123"/>
          <p:cNvSpPr txBox="1">
            <a:spLocks noChangeArrowheads="1"/>
          </p:cNvSpPr>
          <p:nvPr/>
        </p:nvSpPr>
        <p:spPr bwMode="auto">
          <a:xfrm>
            <a:off x="1525970" y="6237280"/>
            <a:ext cx="586699" cy="276999"/>
          </a:xfrm>
          <a:prstGeom prst="rect">
            <a:avLst/>
          </a:prstGeom>
          <a:noFill/>
          <a:ln w="9525">
            <a:noFill/>
            <a:round/>
            <a:headEnd/>
            <a:tailEnd/>
          </a:ln>
        </p:spPr>
        <p:txBody>
          <a:bodyPr wrap="none" lIns="0" tIns="0" rIns="0" bIns="0">
            <a:spAutoFit/>
          </a:bodyPr>
          <a:lstStyle/>
          <a:p>
            <a:pPr algn="ctr" defTabSz="457200">
              <a:lnSpc>
                <a:spcPct val="150000"/>
              </a:lnSpc>
              <a:buClr>
                <a:srgbClr val="000000"/>
              </a:buClr>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600" i="0" dirty="0" smtClean="0">
                <a:solidFill>
                  <a:srgbClr val="000000"/>
                </a:solidFill>
                <a:latin typeface="Calibri" pitchFamily="34" charset="0"/>
                <a:cs typeface="Calibri" pitchFamily="34" charset="0"/>
              </a:rPr>
              <a:t>20 POP BBIP </a:t>
            </a:r>
          </a:p>
          <a:p>
            <a:pPr algn="ctr" defTabSz="457200">
              <a:lnSpc>
                <a:spcPct val="150000"/>
              </a:lnSpc>
              <a:buClr>
                <a:srgbClr val="000000"/>
              </a:buClr>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600" i="0" dirty="0" smtClean="0">
                <a:solidFill>
                  <a:srgbClr val="000000"/>
                </a:solidFill>
                <a:latin typeface="Calibri" pitchFamily="34" charset="0"/>
                <a:cs typeface="Calibri" pitchFamily="34" charset="0"/>
              </a:rPr>
              <a:t>On-Net connected</a:t>
            </a:r>
            <a:endParaRPr lang="en-GB" sz="600" i="0" dirty="0">
              <a:solidFill>
                <a:srgbClr val="000000"/>
              </a:solidFill>
              <a:latin typeface="Calibri" pitchFamily="34" charset="0"/>
              <a:cs typeface="Calibri" pitchFamily="34" charset="0"/>
            </a:endParaRPr>
          </a:p>
        </p:txBody>
      </p:sp>
      <p:sp>
        <p:nvSpPr>
          <p:cNvPr id="518" name="Oval 517"/>
          <p:cNvSpPr/>
          <p:nvPr/>
        </p:nvSpPr>
        <p:spPr bwMode="auto">
          <a:xfrm>
            <a:off x="326450" y="5970062"/>
            <a:ext cx="252000" cy="252000"/>
          </a:xfrm>
          <a:prstGeom prst="ellipse">
            <a:avLst/>
          </a:prstGeom>
          <a:solidFill>
            <a:srgbClr val="FF0000"/>
          </a:solidFill>
          <a:ln>
            <a:noFill/>
            <a:headEnd type="none" w="med" len="med"/>
            <a:tailEnd type="none" w="med" len="med"/>
          </a:ln>
          <a:effectLst/>
          <a:scene3d>
            <a:camera prst="orthographicFront">
              <a:rot lat="0" lon="0" rev="0"/>
            </a:camera>
            <a:lightRig rig="contrasting" dir="t">
              <a:rot lat="0" lon="0" rev="1500000"/>
            </a:lightRig>
          </a:scene3d>
          <a:sp3d prstMaterial="metal">
            <a:bevelT w="88900" h="88900"/>
          </a:sp3d>
        </p:spPr>
        <p:style>
          <a:lnRef idx="0">
            <a:schemeClr val="accent6"/>
          </a:lnRef>
          <a:fillRef idx="3">
            <a:schemeClr val="accent6"/>
          </a:fillRef>
          <a:effectRef idx="3">
            <a:schemeClr val="accent6"/>
          </a:effectRef>
          <a:fontRef idx="minor">
            <a:schemeClr val="lt1"/>
          </a:fontRef>
        </p:style>
        <p:txBody>
          <a:bodyPr lIns="0" tIns="0" rIns="0" bIns="0" anchor="ctr" anchorCtr="1"/>
          <a:lstStyle/>
          <a:p>
            <a:pPr algn="r">
              <a:defRPr/>
            </a:pPr>
            <a:r>
              <a:rPr lang="pt-BR" sz="700" dirty="0" smtClean="0">
                <a:solidFill>
                  <a:schemeClr val="bg1"/>
                </a:solidFill>
                <a:latin typeface="Calibri" pitchFamily="34" charset="0"/>
                <a:cs typeface="Calibri" pitchFamily="34" charset="0"/>
              </a:rPr>
              <a:t>54%</a:t>
            </a:r>
            <a:endParaRPr lang="pt-BR" sz="700" dirty="0">
              <a:solidFill>
                <a:schemeClr val="bg1"/>
              </a:solidFill>
              <a:latin typeface="Calibri" pitchFamily="34" charset="0"/>
              <a:cs typeface="Calibri" pitchFamily="34" charset="0"/>
            </a:endParaRPr>
          </a:p>
        </p:txBody>
      </p:sp>
      <p:sp>
        <p:nvSpPr>
          <p:cNvPr id="519" name="TextBox 518"/>
          <p:cNvSpPr txBox="1"/>
          <p:nvPr/>
        </p:nvSpPr>
        <p:spPr>
          <a:xfrm>
            <a:off x="7897705" y="5321990"/>
            <a:ext cx="511679" cy="215444"/>
          </a:xfrm>
          <a:prstGeom prst="rect">
            <a:avLst/>
          </a:prstGeom>
          <a:solidFill>
            <a:schemeClr val="bg1"/>
          </a:solidFill>
        </p:spPr>
        <p:style>
          <a:lnRef idx="2">
            <a:schemeClr val="accent6"/>
          </a:lnRef>
          <a:fillRef idx="1">
            <a:schemeClr val="lt1"/>
          </a:fillRef>
          <a:effectRef idx="0">
            <a:schemeClr val="accent6"/>
          </a:effectRef>
          <a:fontRef idx="minor">
            <a:schemeClr val="dk1"/>
          </a:fontRef>
        </p:style>
        <p:txBody>
          <a:bodyPr wrap="none" rtlCol="0">
            <a:spAutoFit/>
          </a:bodyPr>
          <a:lstStyle/>
          <a:p>
            <a:r>
              <a:rPr lang="pt-BR" sz="800" dirty="0" smtClean="0">
                <a:latin typeface="Calibri" pitchFamily="34" charset="0"/>
                <a:cs typeface="Calibri" pitchFamily="34" charset="0"/>
              </a:rPr>
              <a:t>39K KM</a:t>
            </a:r>
            <a:endParaRPr lang="pt-BR" sz="800" dirty="0">
              <a:latin typeface="Calibri" pitchFamily="34" charset="0"/>
              <a:cs typeface="Calibri" pitchFamily="34" charset="0"/>
            </a:endParaRPr>
          </a:p>
        </p:txBody>
      </p:sp>
      <p:sp>
        <p:nvSpPr>
          <p:cNvPr id="523" name="Text Box 123"/>
          <p:cNvSpPr txBox="1">
            <a:spLocks noChangeArrowheads="1"/>
          </p:cNvSpPr>
          <p:nvPr/>
        </p:nvSpPr>
        <p:spPr bwMode="auto">
          <a:xfrm>
            <a:off x="7564449" y="6248345"/>
            <a:ext cx="357469" cy="276999"/>
          </a:xfrm>
          <a:prstGeom prst="rect">
            <a:avLst/>
          </a:prstGeom>
          <a:noFill/>
          <a:ln w="9525">
            <a:noFill/>
            <a:round/>
            <a:headEnd/>
            <a:tailEnd/>
          </a:ln>
        </p:spPr>
        <p:txBody>
          <a:bodyPr wrap="none" lIns="0" tIns="0" rIns="0" bIns="0">
            <a:spAutoFit/>
          </a:bodyPr>
          <a:lstStyle/>
          <a:p>
            <a:pPr algn="ctr" defTabSz="457200">
              <a:lnSpc>
                <a:spcPct val="150000"/>
              </a:lnSpc>
              <a:buClr>
                <a:srgbClr val="000000"/>
              </a:buClr>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600" dirty="0" smtClean="0">
                <a:solidFill>
                  <a:srgbClr val="000000"/>
                </a:solidFill>
                <a:latin typeface="Calibri" pitchFamily="34" charset="0"/>
                <a:cs typeface="Calibri" pitchFamily="34" charset="0"/>
              </a:rPr>
              <a:t>3</a:t>
            </a:r>
            <a:r>
              <a:rPr lang="en-GB" sz="600" i="0" dirty="0" smtClean="0">
                <a:solidFill>
                  <a:srgbClr val="000000"/>
                </a:solidFill>
                <a:latin typeface="Calibri" pitchFamily="34" charset="0"/>
                <a:cs typeface="Calibri" pitchFamily="34" charset="0"/>
              </a:rPr>
              <a:t> POP BBIP</a:t>
            </a:r>
            <a:br>
              <a:rPr lang="en-GB" sz="600" i="0" dirty="0" smtClean="0">
                <a:solidFill>
                  <a:srgbClr val="000000"/>
                </a:solidFill>
                <a:latin typeface="Calibri" pitchFamily="34" charset="0"/>
                <a:cs typeface="Calibri" pitchFamily="34" charset="0"/>
              </a:rPr>
            </a:br>
            <a:r>
              <a:rPr lang="en-GB" sz="600" i="0" dirty="0" smtClean="0">
                <a:solidFill>
                  <a:srgbClr val="000000"/>
                </a:solidFill>
                <a:latin typeface="Calibri" pitchFamily="34" charset="0"/>
                <a:cs typeface="Calibri" pitchFamily="34" charset="0"/>
              </a:rPr>
              <a:t>Off-Net</a:t>
            </a:r>
            <a:endParaRPr lang="en-GB" sz="600" i="0" dirty="0">
              <a:solidFill>
                <a:srgbClr val="000000"/>
              </a:solidFill>
              <a:latin typeface="Calibri" pitchFamily="34" charset="0"/>
              <a:cs typeface="Calibri" pitchFamily="34" charset="0"/>
            </a:endParaRPr>
          </a:p>
        </p:txBody>
      </p:sp>
      <p:sp>
        <p:nvSpPr>
          <p:cNvPr id="524" name="Text Box 123"/>
          <p:cNvSpPr txBox="1">
            <a:spLocks noChangeArrowheads="1"/>
          </p:cNvSpPr>
          <p:nvPr/>
        </p:nvSpPr>
        <p:spPr bwMode="auto">
          <a:xfrm>
            <a:off x="7995212" y="6248345"/>
            <a:ext cx="732573" cy="276999"/>
          </a:xfrm>
          <a:prstGeom prst="rect">
            <a:avLst/>
          </a:prstGeom>
          <a:noFill/>
          <a:ln w="9525">
            <a:noFill/>
            <a:round/>
            <a:headEnd/>
            <a:tailEnd/>
          </a:ln>
        </p:spPr>
        <p:txBody>
          <a:bodyPr wrap="none" lIns="0" tIns="0" rIns="0" bIns="0">
            <a:spAutoFit/>
          </a:bodyPr>
          <a:lstStyle/>
          <a:p>
            <a:pPr algn="ctr" defTabSz="457200">
              <a:lnSpc>
                <a:spcPct val="150000"/>
              </a:lnSpc>
              <a:buClr>
                <a:srgbClr val="000000"/>
              </a:buClr>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600" i="0" dirty="0" smtClean="0">
                <a:solidFill>
                  <a:srgbClr val="000000"/>
                </a:solidFill>
                <a:latin typeface="Calibri" pitchFamily="34" charset="0"/>
                <a:cs typeface="Calibri" pitchFamily="34" charset="0"/>
              </a:rPr>
              <a:t>0 POP BBIP</a:t>
            </a:r>
          </a:p>
          <a:p>
            <a:pPr algn="ctr" defTabSz="457200">
              <a:lnSpc>
                <a:spcPct val="150000"/>
              </a:lnSpc>
              <a:buClr>
                <a:srgbClr val="000000"/>
              </a:buClr>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600" i="0" dirty="0" smtClean="0">
                <a:solidFill>
                  <a:srgbClr val="000000"/>
                </a:solidFill>
                <a:latin typeface="Calibri" pitchFamily="34" charset="0"/>
                <a:cs typeface="Calibri" pitchFamily="34" charset="0"/>
              </a:rPr>
              <a:t> </a:t>
            </a:r>
            <a:r>
              <a:rPr lang="en-GB" sz="600" i="0" dirty="0">
                <a:solidFill>
                  <a:srgbClr val="000000"/>
                </a:solidFill>
                <a:latin typeface="Calibri" pitchFamily="34" charset="0"/>
                <a:cs typeface="Calibri" pitchFamily="34" charset="0"/>
              </a:rPr>
              <a:t>On-Net </a:t>
            </a:r>
            <a:r>
              <a:rPr lang="en-GB" sz="600" i="0" dirty="0" smtClean="0">
                <a:solidFill>
                  <a:srgbClr val="000000"/>
                </a:solidFill>
                <a:latin typeface="Calibri" pitchFamily="34" charset="0"/>
                <a:cs typeface="Calibri" pitchFamily="34" charset="0"/>
              </a:rPr>
              <a:t>not connected</a:t>
            </a:r>
            <a:endParaRPr lang="en-GB" sz="600" i="0" dirty="0">
              <a:solidFill>
                <a:srgbClr val="000000"/>
              </a:solidFill>
              <a:latin typeface="Calibri" pitchFamily="34" charset="0"/>
              <a:cs typeface="Calibri" pitchFamily="34" charset="0"/>
            </a:endParaRPr>
          </a:p>
        </p:txBody>
      </p:sp>
      <p:sp>
        <p:nvSpPr>
          <p:cNvPr id="525" name="Text Box 123"/>
          <p:cNvSpPr txBox="1">
            <a:spLocks noChangeArrowheads="1"/>
          </p:cNvSpPr>
          <p:nvPr/>
        </p:nvSpPr>
        <p:spPr bwMode="auto">
          <a:xfrm>
            <a:off x="8798703" y="6248313"/>
            <a:ext cx="586699" cy="276999"/>
          </a:xfrm>
          <a:prstGeom prst="rect">
            <a:avLst/>
          </a:prstGeom>
          <a:noFill/>
          <a:ln w="9525">
            <a:noFill/>
            <a:round/>
            <a:headEnd/>
            <a:tailEnd/>
          </a:ln>
        </p:spPr>
        <p:txBody>
          <a:bodyPr wrap="none" lIns="0" tIns="0" rIns="0" bIns="0">
            <a:spAutoFit/>
          </a:bodyPr>
          <a:lstStyle/>
          <a:p>
            <a:pPr algn="ctr" defTabSz="457200">
              <a:lnSpc>
                <a:spcPct val="150000"/>
              </a:lnSpc>
              <a:buClr>
                <a:srgbClr val="000000"/>
              </a:buClr>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600" dirty="0" smtClean="0">
                <a:solidFill>
                  <a:srgbClr val="000000"/>
                </a:solidFill>
                <a:latin typeface="Calibri" pitchFamily="34" charset="0"/>
                <a:cs typeface="Calibri" pitchFamily="34" charset="0"/>
              </a:rPr>
              <a:t>73 </a:t>
            </a:r>
            <a:r>
              <a:rPr lang="en-GB" sz="600" i="0" dirty="0" smtClean="0">
                <a:solidFill>
                  <a:srgbClr val="000000"/>
                </a:solidFill>
                <a:latin typeface="Calibri" pitchFamily="34" charset="0"/>
                <a:cs typeface="Calibri" pitchFamily="34" charset="0"/>
              </a:rPr>
              <a:t>POP BBIP </a:t>
            </a:r>
          </a:p>
          <a:p>
            <a:pPr algn="ctr" defTabSz="457200">
              <a:lnSpc>
                <a:spcPct val="150000"/>
              </a:lnSpc>
              <a:buClr>
                <a:srgbClr val="000000"/>
              </a:buClr>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600" i="0" dirty="0" smtClean="0">
                <a:solidFill>
                  <a:srgbClr val="000000"/>
                </a:solidFill>
                <a:latin typeface="Calibri" pitchFamily="34" charset="0"/>
                <a:cs typeface="Calibri" pitchFamily="34" charset="0"/>
              </a:rPr>
              <a:t>On-Net connected</a:t>
            </a:r>
            <a:endParaRPr lang="en-GB" sz="600" i="0" dirty="0">
              <a:solidFill>
                <a:srgbClr val="000000"/>
              </a:solidFill>
              <a:latin typeface="Calibri" pitchFamily="34" charset="0"/>
              <a:cs typeface="Calibri" pitchFamily="34" charset="0"/>
            </a:endParaRPr>
          </a:p>
        </p:txBody>
      </p:sp>
      <p:sp>
        <p:nvSpPr>
          <p:cNvPr id="526" name="Oval 525"/>
          <p:cNvSpPr/>
          <p:nvPr/>
        </p:nvSpPr>
        <p:spPr bwMode="auto">
          <a:xfrm>
            <a:off x="7599183" y="5981095"/>
            <a:ext cx="252000" cy="252000"/>
          </a:xfrm>
          <a:prstGeom prst="ellipse">
            <a:avLst/>
          </a:prstGeom>
          <a:solidFill>
            <a:srgbClr val="FF0000"/>
          </a:solidFill>
          <a:ln>
            <a:noFill/>
            <a:headEnd type="none" w="med" len="med"/>
            <a:tailEnd type="none" w="med" len="med"/>
          </a:ln>
          <a:effectLst/>
          <a:scene3d>
            <a:camera prst="orthographicFront">
              <a:rot lat="0" lon="0" rev="0"/>
            </a:camera>
            <a:lightRig rig="contrasting" dir="t">
              <a:rot lat="0" lon="0" rev="1500000"/>
            </a:lightRig>
          </a:scene3d>
          <a:sp3d prstMaterial="metal">
            <a:bevelT w="88900" h="88900"/>
          </a:sp3d>
        </p:spPr>
        <p:style>
          <a:lnRef idx="0">
            <a:schemeClr val="accent6"/>
          </a:lnRef>
          <a:fillRef idx="3">
            <a:schemeClr val="accent6"/>
          </a:fillRef>
          <a:effectRef idx="3">
            <a:schemeClr val="accent6"/>
          </a:effectRef>
          <a:fontRef idx="minor">
            <a:schemeClr val="lt1"/>
          </a:fontRef>
        </p:style>
        <p:txBody>
          <a:bodyPr lIns="0" tIns="0" rIns="0" bIns="0" anchor="ctr" anchorCtr="1"/>
          <a:lstStyle/>
          <a:p>
            <a:pPr algn="r">
              <a:defRPr/>
            </a:pPr>
            <a:r>
              <a:rPr lang="pt-BR" sz="700" dirty="0" smtClean="0">
                <a:solidFill>
                  <a:schemeClr val="bg1"/>
                </a:solidFill>
                <a:latin typeface="Calibri" pitchFamily="34" charset="0"/>
                <a:cs typeface="Calibri" pitchFamily="34" charset="0"/>
              </a:rPr>
              <a:t>4%</a:t>
            </a:r>
            <a:endParaRPr lang="pt-BR" sz="700" dirty="0">
              <a:solidFill>
                <a:schemeClr val="bg1"/>
              </a:solidFill>
              <a:latin typeface="Calibri" pitchFamily="34" charset="0"/>
              <a:cs typeface="Calibri" pitchFamily="34" charset="0"/>
            </a:endParaRPr>
          </a:p>
        </p:txBody>
      </p:sp>
      <p:sp>
        <p:nvSpPr>
          <p:cNvPr id="533" name="Oval 532"/>
          <p:cNvSpPr/>
          <p:nvPr/>
        </p:nvSpPr>
        <p:spPr bwMode="auto">
          <a:xfrm>
            <a:off x="1671851" y="5970062"/>
            <a:ext cx="252000" cy="252000"/>
          </a:xfrm>
          <a:prstGeom prst="ellipse">
            <a:avLst/>
          </a:prstGeom>
          <a:solidFill>
            <a:srgbClr val="33CC33"/>
          </a:solidFill>
          <a:ln>
            <a:noFill/>
            <a:headEnd type="none" w="med" len="med"/>
            <a:tailEnd type="none" w="med" len="med"/>
          </a:ln>
          <a:effectLst/>
          <a:scene3d>
            <a:camera prst="orthographicFront">
              <a:rot lat="0" lon="0" rev="0"/>
            </a:camera>
            <a:lightRig rig="contrasting" dir="t">
              <a:rot lat="0" lon="0" rev="1500000"/>
            </a:lightRig>
          </a:scene3d>
          <a:sp3d prstMaterial="metal">
            <a:bevelT w="88900" h="88900"/>
          </a:sp3d>
        </p:spPr>
        <p:style>
          <a:lnRef idx="0">
            <a:schemeClr val="accent6"/>
          </a:lnRef>
          <a:fillRef idx="3">
            <a:schemeClr val="accent6"/>
          </a:fillRef>
          <a:effectRef idx="3">
            <a:schemeClr val="accent6"/>
          </a:effectRef>
          <a:fontRef idx="minor">
            <a:schemeClr val="lt1"/>
          </a:fontRef>
        </p:style>
        <p:txBody>
          <a:bodyPr lIns="0" tIns="0" rIns="0" bIns="0" anchor="ctr" anchorCtr="1"/>
          <a:lstStyle/>
          <a:p>
            <a:pPr algn="r">
              <a:defRPr/>
            </a:pPr>
            <a:r>
              <a:rPr lang="pt-BR" sz="700" dirty="0" smtClean="0">
                <a:solidFill>
                  <a:schemeClr val="bg1"/>
                </a:solidFill>
                <a:latin typeface="Calibri" pitchFamily="34" charset="0"/>
                <a:cs typeface="Calibri" pitchFamily="34" charset="0"/>
              </a:rPr>
              <a:t>26%</a:t>
            </a:r>
            <a:endParaRPr lang="pt-BR" sz="700" dirty="0">
              <a:solidFill>
                <a:schemeClr val="bg1"/>
              </a:solidFill>
              <a:latin typeface="Calibri" pitchFamily="34" charset="0"/>
              <a:cs typeface="Calibri" pitchFamily="34" charset="0"/>
            </a:endParaRPr>
          </a:p>
        </p:txBody>
      </p:sp>
      <p:sp>
        <p:nvSpPr>
          <p:cNvPr id="534" name="Oval 533"/>
          <p:cNvSpPr/>
          <p:nvPr/>
        </p:nvSpPr>
        <p:spPr bwMode="auto">
          <a:xfrm>
            <a:off x="981047" y="5970062"/>
            <a:ext cx="252000" cy="252000"/>
          </a:xfrm>
          <a:prstGeom prst="ellipse">
            <a:avLst/>
          </a:prstGeom>
          <a:solidFill>
            <a:srgbClr val="3399FF"/>
          </a:solidFill>
          <a:ln>
            <a:noFill/>
            <a:headEnd type="none" w="med" len="med"/>
            <a:tailEnd type="none" w="med" len="med"/>
          </a:ln>
          <a:effectLst/>
          <a:scene3d>
            <a:camera prst="orthographicFront">
              <a:rot lat="0" lon="0" rev="0"/>
            </a:camera>
            <a:lightRig rig="contrasting" dir="t">
              <a:rot lat="0" lon="0" rev="1500000"/>
            </a:lightRig>
          </a:scene3d>
          <a:sp3d prstMaterial="metal">
            <a:bevelT w="88900" h="88900"/>
          </a:sp3d>
        </p:spPr>
        <p:style>
          <a:lnRef idx="0">
            <a:schemeClr val="accent6"/>
          </a:lnRef>
          <a:fillRef idx="3">
            <a:schemeClr val="accent6"/>
          </a:fillRef>
          <a:effectRef idx="3">
            <a:schemeClr val="accent6"/>
          </a:effectRef>
          <a:fontRef idx="minor">
            <a:schemeClr val="lt1"/>
          </a:fontRef>
        </p:style>
        <p:txBody>
          <a:bodyPr lIns="0" tIns="0" rIns="0" bIns="0" anchor="ctr" anchorCtr="1"/>
          <a:lstStyle/>
          <a:p>
            <a:pPr algn="r">
              <a:defRPr/>
            </a:pPr>
            <a:r>
              <a:rPr lang="pt-BR" sz="700" dirty="0" smtClean="0">
                <a:solidFill>
                  <a:schemeClr val="bg1"/>
                </a:solidFill>
                <a:latin typeface="Calibri" pitchFamily="34" charset="0"/>
                <a:cs typeface="Calibri" pitchFamily="34" charset="0"/>
              </a:rPr>
              <a:t>20%</a:t>
            </a:r>
            <a:endParaRPr lang="pt-BR" sz="700" dirty="0">
              <a:solidFill>
                <a:schemeClr val="bg1"/>
              </a:solidFill>
              <a:latin typeface="Calibri" pitchFamily="34" charset="0"/>
              <a:cs typeface="Calibri" pitchFamily="34" charset="0"/>
            </a:endParaRPr>
          </a:p>
        </p:txBody>
      </p:sp>
      <p:sp>
        <p:nvSpPr>
          <p:cNvPr id="535" name="Oval 534"/>
          <p:cNvSpPr/>
          <p:nvPr/>
        </p:nvSpPr>
        <p:spPr bwMode="auto">
          <a:xfrm>
            <a:off x="8936811" y="5970062"/>
            <a:ext cx="252000" cy="252000"/>
          </a:xfrm>
          <a:prstGeom prst="ellipse">
            <a:avLst/>
          </a:prstGeom>
          <a:solidFill>
            <a:srgbClr val="33CC33"/>
          </a:solidFill>
          <a:ln>
            <a:noFill/>
            <a:headEnd type="none" w="med" len="med"/>
            <a:tailEnd type="none" w="med" len="med"/>
          </a:ln>
          <a:effectLst/>
          <a:scene3d>
            <a:camera prst="orthographicFront">
              <a:rot lat="0" lon="0" rev="0"/>
            </a:camera>
            <a:lightRig rig="contrasting" dir="t">
              <a:rot lat="0" lon="0" rev="1500000"/>
            </a:lightRig>
          </a:scene3d>
          <a:sp3d prstMaterial="metal">
            <a:bevelT w="88900" h="88900"/>
          </a:sp3d>
        </p:spPr>
        <p:style>
          <a:lnRef idx="0">
            <a:schemeClr val="accent6"/>
          </a:lnRef>
          <a:fillRef idx="3">
            <a:schemeClr val="accent6"/>
          </a:fillRef>
          <a:effectRef idx="3">
            <a:schemeClr val="accent6"/>
          </a:effectRef>
          <a:fontRef idx="minor">
            <a:schemeClr val="lt1"/>
          </a:fontRef>
        </p:style>
        <p:txBody>
          <a:bodyPr lIns="0" tIns="0" rIns="0" bIns="0" anchor="ctr" anchorCtr="1"/>
          <a:lstStyle/>
          <a:p>
            <a:pPr algn="r">
              <a:defRPr/>
            </a:pPr>
            <a:r>
              <a:rPr lang="pt-BR" sz="700" dirty="0" smtClean="0">
                <a:solidFill>
                  <a:schemeClr val="bg1"/>
                </a:solidFill>
                <a:latin typeface="Calibri" pitchFamily="34" charset="0"/>
                <a:cs typeface="Calibri" pitchFamily="34" charset="0"/>
              </a:rPr>
              <a:t>96%</a:t>
            </a:r>
            <a:endParaRPr lang="pt-BR" sz="700" dirty="0">
              <a:solidFill>
                <a:schemeClr val="bg1"/>
              </a:solidFill>
              <a:latin typeface="Calibri" pitchFamily="34" charset="0"/>
              <a:cs typeface="Calibri" pitchFamily="34" charset="0"/>
            </a:endParaRPr>
          </a:p>
        </p:txBody>
      </p:sp>
      <p:sp>
        <p:nvSpPr>
          <p:cNvPr id="536" name="Oval 535"/>
          <p:cNvSpPr/>
          <p:nvPr/>
        </p:nvSpPr>
        <p:spPr bwMode="auto">
          <a:xfrm>
            <a:off x="8236017" y="5979587"/>
            <a:ext cx="252000" cy="252000"/>
          </a:xfrm>
          <a:prstGeom prst="ellipse">
            <a:avLst/>
          </a:prstGeom>
          <a:solidFill>
            <a:srgbClr val="3399FF"/>
          </a:solidFill>
          <a:ln>
            <a:noFill/>
            <a:headEnd type="none" w="med" len="med"/>
            <a:tailEnd type="none" w="med" len="med"/>
          </a:ln>
          <a:effectLst/>
          <a:scene3d>
            <a:camera prst="orthographicFront">
              <a:rot lat="0" lon="0" rev="0"/>
            </a:camera>
            <a:lightRig rig="contrasting" dir="t">
              <a:rot lat="0" lon="0" rev="1500000"/>
            </a:lightRig>
          </a:scene3d>
          <a:sp3d prstMaterial="metal">
            <a:bevelT w="88900" h="88900"/>
          </a:sp3d>
        </p:spPr>
        <p:style>
          <a:lnRef idx="0">
            <a:schemeClr val="accent6"/>
          </a:lnRef>
          <a:fillRef idx="3">
            <a:schemeClr val="accent6"/>
          </a:fillRef>
          <a:effectRef idx="3">
            <a:schemeClr val="accent6"/>
          </a:effectRef>
          <a:fontRef idx="minor">
            <a:schemeClr val="lt1"/>
          </a:fontRef>
        </p:style>
        <p:txBody>
          <a:bodyPr lIns="0" tIns="0" rIns="0" bIns="0" anchor="ctr" anchorCtr="1"/>
          <a:lstStyle/>
          <a:p>
            <a:pPr algn="r">
              <a:defRPr/>
            </a:pPr>
            <a:r>
              <a:rPr lang="pt-BR" sz="700" dirty="0" smtClean="0">
                <a:solidFill>
                  <a:schemeClr val="bg1"/>
                </a:solidFill>
                <a:latin typeface="Calibri" pitchFamily="34" charset="0"/>
                <a:cs typeface="Calibri" pitchFamily="34" charset="0"/>
              </a:rPr>
              <a:t>0%</a:t>
            </a:r>
            <a:endParaRPr lang="pt-BR" sz="700" dirty="0">
              <a:solidFill>
                <a:schemeClr val="bg1"/>
              </a:solidFill>
              <a:latin typeface="Calibri" pitchFamily="34" charset="0"/>
              <a:cs typeface="Calibri" pitchFamily="34" charset="0"/>
            </a:endParaRPr>
          </a:p>
        </p:txBody>
      </p:sp>
      <p:sp>
        <p:nvSpPr>
          <p:cNvPr id="267" name="Rounded Rectangle 379"/>
          <p:cNvSpPr>
            <a:spLocks noChangeArrowheads="1"/>
          </p:cNvSpPr>
          <p:nvPr/>
        </p:nvSpPr>
        <p:spPr bwMode="auto">
          <a:xfrm>
            <a:off x="481260" y="1611214"/>
            <a:ext cx="3781425" cy="1536393"/>
          </a:xfrm>
          <a:prstGeom prst="roundRect">
            <a:avLst>
              <a:gd name="adj" fmla="val 3081"/>
            </a:avLst>
          </a:prstGeom>
          <a:solidFill>
            <a:schemeClr val="bg1">
              <a:lumMod val="95000"/>
            </a:schemeClr>
          </a:solidFill>
          <a:ln w="9525" algn="ctr">
            <a:noFill/>
            <a:round/>
            <a:headEnd/>
            <a:tailEnd/>
          </a:ln>
        </p:spPr>
        <p:txBody>
          <a:bodyPr wrap="none" lIns="0" tIns="0" rIns="0" bIns="0" anchor="ctr"/>
          <a:lstStyle/>
          <a:p>
            <a:pPr defTabSz="873125" eaLnBrk="0" hangingPunct="0">
              <a:defRPr/>
            </a:pPr>
            <a:endParaRPr lang="pt-BR" sz="900" b="0" dirty="0">
              <a:latin typeface="Calibri" pitchFamily="34" charset="0"/>
            </a:endParaRPr>
          </a:p>
        </p:txBody>
      </p:sp>
      <p:cxnSp>
        <p:nvCxnSpPr>
          <p:cNvPr id="270" name="Straight Connector 269"/>
          <p:cNvCxnSpPr/>
          <p:nvPr/>
        </p:nvCxnSpPr>
        <p:spPr>
          <a:xfrm>
            <a:off x="708273" y="1909664"/>
            <a:ext cx="323850" cy="1587"/>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520" name="Straight Connector 519"/>
          <p:cNvCxnSpPr/>
          <p:nvPr/>
        </p:nvCxnSpPr>
        <p:spPr>
          <a:xfrm>
            <a:off x="708273" y="2155727"/>
            <a:ext cx="323850" cy="1587"/>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521" name="Straight Connector 520"/>
          <p:cNvCxnSpPr/>
          <p:nvPr/>
        </p:nvCxnSpPr>
        <p:spPr>
          <a:xfrm>
            <a:off x="708273" y="2427511"/>
            <a:ext cx="323850" cy="1587"/>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527" name="Straight Connector 526"/>
          <p:cNvCxnSpPr/>
          <p:nvPr/>
        </p:nvCxnSpPr>
        <p:spPr>
          <a:xfrm>
            <a:off x="708273" y="2697064"/>
            <a:ext cx="323850" cy="1587"/>
          </a:xfrm>
          <a:prstGeom prst="line">
            <a:avLst/>
          </a:prstGeom>
          <a:ln w="28575">
            <a:solidFill>
              <a:srgbClr val="7030A0"/>
            </a:solidFill>
          </a:ln>
        </p:spPr>
        <p:style>
          <a:lnRef idx="1">
            <a:schemeClr val="accent1"/>
          </a:lnRef>
          <a:fillRef idx="0">
            <a:schemeClr val="accent1"/>
          </a:fillRef>
          <a:effectRef idx="0">
            <a:schemeClr val="accent1"/>
          </a:effectRef>
          <a:fontRef idx="minor">
            <a:schemeClr val="tx1"/>
          </a:fontRef>
        </p:style>
      </p:cxnSp>
      <p:sp>
        <p:nvSpPr>
          <p:cNvPr id="528" name="TextBox 527"/>
          <p:cNvSpPr txBox="1"/>
          <p:nvPr/>
        </p:nvSpPr>
        <p:spPr>
          <a:xfrm>
            <a:off x="1040060" y="1797419"/>
            <a:ext cx="1392238" cy="230187"/>
          </a:xfrm>
          <a:prstGeom prst="rect">
            <a:avLst/>
          </a:prstGeom>
          <a:noFill/>
        </p:spPr>
        <p:txBody>
          <a:bodyPr wrap="none">
            <a:spAutoFit/>
          </a:bodyPr>
          <a:lstStyle/>
          <a:p>
            <a:pPr>
              <a:defRPr/>
            </a:pPr>
            <a:r>
              <a:rPr lang="pt-BR" sz="900" b="0" i="0" dirty="0">
                <a:latin typeface="Calibri" pitchFamily="34" charset="0"/>
              </a:rPr>
              <a:t>LD NETWORK  2010/2011</a:t>
            </a:r>
          </a:p>
        </p:txBody>
      </p:sp>
      <p:sp>
        <p:nvSpPr>
          <p:cNvPr id="529" name="TextBox 373"/>
          <p:cNvSpPr txBox="1">
            <a:spLocks noChangeArrowheads="1"/>
          </p:cNvSpPr>
          <p:nvPr/>
        </p:nvSpPr>
        <p:spPr bwMode="auto">
          <a:xfrm>
            <a:off x="1040060" y="2040633"/>
            <a:ext cx="1214438" cy="231775"/>
          </a:xfrm>
          <a:prstGeom prst="rect">
            <a:avLst/>
          </a:prstGeom>
          <a:noFill/>
          <a:ln w="9525">
            <a:noFill/>
            <a:miter lim="800000"/>
            <a:headEnd/>
            <a:tailEnd/>
          </a:ln>
        </p:spPr>
        <p:txBody>
          <a:bodyPr wrap="none">
            <a:spAutoFit/>
          </a:bodyPr>
          <a:lstStyle/>
          <a:p>
            <a:pPr>
              <a:defRPr/>
            </a:pPr>
            <a:r>
              <a:rPr lang="pt-BR" sz="900" b="0" i="0" dirty="0">
                <a:latin typeface="Calibri" pitchFamily="34" charset="0"/>
              </a:rPr>
              <a:t>BUILDING LD IN 2012 </a:t>
            </a:r>
          </a:p>
        </p:txBody>
      </p:sp>
      <p:sp>
        <p:nvSpPr>
          <p:cNvPr id="530" name="TextBox 374"/>
          <p:cNvSpPr txBox="1">
            <a:spLocks noChangeArrowheads="1"/>
          </p:cNvSpPr>
          <p:nvPr/>
        </p:nvSpPr>
        <p:spPr bwMode="auto">
          <a:xfrm>
            <a:off x="1040060" y="2312888"/>
            <a:ext cx="1172116" cy="230832"/>
          </a:xfrm>
          <a:prstGeom prst="rect">
            <a:avLst/>
          </a:prstGeom>
          <a:noFill/>
          <a:ln w="9525">
            <a:noFill/>
            <a:miter lim="800000"/>
            <a:headEnd/>
            <a:tailEnd/>
          </a:ln>
        </p:spPr>
        <p:txBody>
          <a:bodyPr wrap="none">
            <a:spAutoFit/>
          </a:bodyPr>
          <a:lstStyle/>
          <a:p>
            <a:pPr>
              <a:defRPr/>
            </a:pPr>
            <a:r>
              <a:rPr lang="pt-BR" sz="900" b="0" i="0" dirty="0">
                <a:latin typeface="Calibri" pitchFamily="34" charset="0"/>
              </a:rPr>
              <a:t>BUILDING LD IN </a:t>
            </a:r>
            <a:r>
              <a:rPr lang="pt-BR" sz="900" b="0" i="0" dirty="0" smtClean="0">
                <a:latin typeface="Calibri" pitchFamily="34" charset="0"/>
              </a:rPr>
              <a:t>2013</a:t>
            </a:r>
            <a:endParaRPr lang="pt-BR" sz="900" b="0" i="0" dirty="0">
              <a:latin typeface="Calibri" pitchFamily="34" charset="0"/>
            </a:endParaRPr>
          </a:p>
        </p:txBody>
      </p:sp>
      <p:sp>
        <p:nvSpPr>
          <p:cNvPr id="531" name="TextBox 375"/>
          <p:cNvSpPr txBox="1">
            <a:spLocks noChangeArrowheads="1"/>
          </p:cNvSpPr>
          <p:nvPr/>
        </p:nvSpPr>
        <p:spPr bwMode="auto">
          <a:xfrm>
            <a:off x="1040060" y="2581970"/>
            <a:ext cx="1189038" cy="231775"/>
          </a:xfrm>
          <a:prstGeom prst="rect">
            <a:avLst/>
          </a:prstGeom>
          <a:noFill/>
          <a:ln w="9525">
            <a:noFill/>
            <a:miter lim="800000"/>
            <a:headEnd/>
            <a:tailEnd/>
          </a:ln>
        </p:spPr>
        <p:txBody>
          <a:bodyPr wrap="none">
            <a:spAutoFit/>
          </a:bodyPr>
          <a:lstStyle/>
          <a:p>
            <a:pPr>
              <a:defRPr/>
            </a:pPr>
            <a:r>
              <a:rPr lang="pt-BR" sz="900" b="0" i="0" dirty="0">
                <a:latin typeface="Calibri" pitchFamily="34" charset="0"/>
              </a:rPr>
              <a:t>BUILDING LD IN 2014</a:t>
            </a:r>
          </a:p>
        </p:txBody>
      </p:sp>
      <p:sp>
        <p:nvSpPr>
          <p:cNvPr id="532" name="TextBox 531"/>
          <p:cNvSpPr txBox="1"/>
          <p:nvPr/>
        </p:nvSpPr>
        <p:spPr>
          <a:xfrm>
            <a:off x="3304842" y="1797096"/>
            <a:ext cx="712054" cy="230832"/>
          </a:xfrm>
          <a:prstGeom prst="rect">
            <a:avLst/>
          </a:prstGeom>
          <a:noFill/>
        </p:spPr>
        <p:txBody>
          <a:bodyPr wrap="none">
            <a:spAutoFit/>
          </a:bodyPr>
          <a:lstStyle/>
          <a:p>
            <a:pPr>
              <a:defRPr/>
            </a:pPr>
            <a:r>
              <a:rPr lang="pt-BR" sz="900" b="0" i="0" dirty="0">
                <a:latin typeface="Calibri" pitchFamily="34" charset="0"/>
              </a:rPr>
              <a:t>KM  17.440</a:t>
            </a:r>
          </a:p>
        </p:txBody>
      </p:sp>
      <p:sp>
        <p:nvSpPr>
          <p:cNvPr id="537" name="TextBox 536"/>
          <p:cNvSpPr txBox="1"/>
          <p:nvPr/>
        </p:nvSpPr>
        <p:spPr>
          <a:xfrm>
            <a:off x="2468810" y="2041104"/>
            <a:ext cx="628698" cy="230832"/>
          </a:xfrm>
          <a:prstGeom prst="rect">
            <a:avLst/>
          </a:prstGeom>
          <a:noFill/>
        </p:spPr>
        <p:txBody>
          <a:bodyPr wrap="none">
            <a:spAutoFit/>
          </a:bodyPr>
          <a:lstStyle>
            <a:defPPr>
              <a:defRPr lang="en-US"/>
            </a:defPPr>
            <a:lvl1pPr>
              <a:defRPr sz="1000" b="1" i="0">
                <a:solidFill>
                  <a:schemeClr val="accent6"/>
                </a:solidFill>
                <a:latin typeface="Calibri" pitchFamily="34" charset="0"/>
              </a:defRPr>
            </a:lvl1pPr>
          </a:lstStyle>
          <a:p>
            <a:r>
              <a:rPr lang="pt-BR" sz="900" b="0" dirty="0">
                <a:solidFill>
                  <a:schemeClr val="tx1"/>
                </a:solidFill>
              </a:rPr>
              <a:t>KM </a:t>
            </a:r>
            <a:r>
              <a:rPr lang="pt-BR" sz="900" b="0" dirty="0" smtClean="0">
                <a:solidFill>
                  <a:schemeClr val="tx1"/>
                </a:solidFill>
              </a:rPr>
              <a:t>1.738</a:t>
            </a:r>
            <a:endParaRPr lang="pt-BR" sz="900" b="0" dirty="0">
              <a:solidFill>
                <a:schemeClr val="tx1"/>
              </a:solidFill>
            </a:endParaRPr>
          </a:p>
        </p:txBody>
      </p:sp>
      <p:sp>
        <p:nvSpPr>
          <p:cNvPr id="538" name="TextBox 537"/>
          <p:cNvSpPr txBox="1"/>
          <p:nvPr/>
        </p:nvSpPr>
        <p:spPr>
          <a:xfrm>
            <a:off x="2468810" y="2312888"/>
            <a:ext cx="628698" cy="230832"/>
          </a:xfrm>
          <a:prstGeom prst="rect">
            <a:avLst/>
          </a:prstGeom>
          <a:noFill/>
        </p:spPr>
        <p:txBody>
          <a:bodyPr wrap="none">
            <a:spAutoFit/>
          </a:bodyPr>
          <a:lstStyle/>
          <a:p>
            <a:pPr>
              <a:defRPr/>
            </a:pPr>
            <a:r>
              <a:rPr lang="pt-BR" sz="900" b="0" i="0" dirty="0">
                <a:latin typeface="Calibri" pitchFamily="34" charset="0"/>
              </a:rPr>
              <a:t>KM </a:t>
            </a:r>
            <a:r>
              <a:rPr lang="pt-BR" sz="900" b="0" dirty="0" smtClean="0">
                <a:latin typeface="Calibri" pitchFamily="34" charset="0"/>
              </a:rPr>
              <a:t>1.233</a:t>
            </a:r>
            <a:endParaRPr lang="pt-BR" sz="900" b="0" i="0" dirty="0">
              <a:latin typeface="Calibri" pitchFamily="34" charset="0"/>
            </a:endParaRPr>
          </a:p>
        </p:txBody>
      </p:sp>
      <p:sp>
        <p:nvSpPr>
          <p:cNvPr id="539" name="TextBox 538"/>
          <p:cNvSpPr txBox="1"/>
          <p:nvPr/>
        </p:nvSpPr>
        <p:spPr>
          <a:xfrm>
            <a:off x="2468810" y="2582441"/>
            <a:ext cx="628698" cy="230832"/>
          </a:xfrm>
          <a:prstGeom prst="rect">
            <a:avLst/>
          </a:prstGeom>
          <a:noFill/>
        </p:spPr>
        <p:txBody>
          <a:bodyPr wrap="none">
            <a:spAutoFit/>
          </a:bodyPr>
          <a:lstStyle/>
          <a:p>
            <a:pPr>
              <a:defRPr/>
            </a:pPr>
            <a:r>
              <a:rPr lang="pt-BR" sz="900" b="0" i="0" dirty="0">
                <a:latin typeface="Calibri" pitchFamily="34" charset="0"/>
              </a:rPr>
              <a:t>KM </a:t>
            </a:r>
            <a:r>
              <a:rPr lang="pt-BR" sz="900" b="0" dirty="0" smtClean="0">
                <a:latin typeface="Calibri" pitchFamily="34" charset="0"/>
              </a:rPr>
              <a:t>2.568</a:t>
            </a:r>
            <a:endParaRPr lang="pt-BR" sz="900" b="0" i="0" dirty="0">
              <a:latin typeface="Calibri" pitchFamily="34" charset="0"/>
            </a:endParaRPr>
          </a:p>
        </p:txBody>
      </p:sp>
      <p:sp>
        <p:nvSpPr>
          <p:cNvPr id="540" name="TextBox 539"/>
          <p:cNvSpPr txBox="1"/>
          <p:nvPr/>
        </p:nvSpPr>
        <p:spPr>
          <a:xfrm>
            <a:off x="3316676" y="2041104"/>
            <a:ext cx="686406" cy="230832"/>
          </a:xfrm>
          <a:prstGeom prst="rect">
            <a:avLst/>
          </a:prstGeom>
          <a:noFill/>
        </p:spPr>
        <p:txBody>
          <a:bodyPr wrap="none">
            <a:spAutoFit/>
          </a:bodyPr>
          <a:lstStyle>
            <a:defPPr>
              <a:defRPr lang="en-US"/>
            </a:defPPr>
            <a:lvl1pPr>
              <a:defRPr sz="1000" b="1" i="0">
                <a:solidFill>
                  <a:schemeClr val="accent6"/>
                </a:solidFill>
                <a:latin typeface="Calibri" pitchFamily="34" charset="0"/>
              </a:defRPr>
            </a:lvl1pPr>
          </a:lstStyle>
          <a:p>
            <a:r>
              <a:rPr lang="pt-BR" sz="900" b="0" dirty="0">
                <a:solidFill>
                  <a:schemeClr val="tx1"/>
                </a:solidFill>
              </a:rPr>
              <a:t>KM </a:t>
            </a:r>
            <a:r>
              <a:rPr lang="pt-BR" sz="900" b="0" dirty="0" smtClean="0">
                <a:solidFill>
                  <a:schemeClr val="tx1"/>
                </a:solidFill>
              </a:rPr>
              <a:t>19.178</a:t>
            </a:r>
            <a:endParaRPr lang="pt-BR" sz="900" b="0" dirty="0">
              <a:solidFill>
                <a:schemeClr val="tx1"/>
              </a:solidFill>
            </a:endParaRPr>
          </a:p>
        </p:txBody>
      </p:sp>
      <p:sp>
        <p:nvSpPr>
          <p:cNvPr id="541" name="TextBox 540"/>
          <p:cNvSpPr txBox="1"/>
          <p:nvPr/>
        </p:nvSpPr>
        <p:spPr>
          <a:xfrm>
            <a:off x="3316676" y="2312888"/>
            <a:ext cx="686406" cy="230832"/>
          </a:xfrm>
          <a:prstGeom prst="rect">
            <a:avLst/>
          </a:prstGeom>
          <a:noFill/>
        </p:spPr>
        <p:txBody>
          <a:bodyPr wrap="none">
            <a:spAutoFit/>
          </a:bodyPr>
          <a:lstStyle/>
          <a:p>
            <a:pPr>
              <a:defRPr/>
            </a:pPr>
            <a:r>
              <a:rPr lang="pt-BR" sz="900" b="0" i="0" dirty="0">
                <a:latin typeface="Calibri" pitchFamily="34" charset="0"/>
              </a:rPr>
              <a:t>KM </a:t>
            </a:r>
            <a:r>
              <a:rPr lang="pt-BR" sz="900" b="0" dirty="0" smtClean="0">
                <a:latin typeface="Calibri" pitchFamily="34" charset="0"/>
              </a:rPr>
              <a:t>20.411</a:t>
            </a:r>
            <a:endParaRPr lang="pt-BR" sz="900" b="0" i="0" dirty="0">
              <a:latin typeface="Calibri" pitchFamily="34" charset="0"/>
            </a:endParaRPr>
          </a:p>
        </p:txBody>
      </p:sp>
      <p:sp>
        <p:nvSpPr>
          <p:cNvPr id="542" name="TextBox 541"/>
          <p:cNvSpPr txBox="1"/>
          <p:nvPr/>
        </p:nvSpPr>
        <p:spPr>
          <a:xfrm>
            <a:off x="3316676" y="2582441"/>
            <a:ext cx="686406" cy="230832"/>
          </a:xfrm>
          <a:prstGeom prst="rect">
            <a:avLst/>
          </a:prstGeom>
          <a:noFill/>
        </p:spPr>
        <p:txBody>
          <a:bodyPr wrap="none">
            <a:spAutoFit/>
          </a:bodyPr>
          <a:lstStyle/>
          <a:p>
            <a:pPr>
              <a:defRPr/>
            </a:pPr>
            <a:r>
              <a:rPr lang="pt-BR" sz="900" b="0" i="0" dirty="0">
                <a:latin typeface="Calibri" pitchFamily="34" charset="0"/>
              </a:rPr>
              <a:t>KM </a:t>
            </a:r>
            <a:r>
              <a:rPr lang="pt-BR" sz="900" b="0" dirty="0" smtClean="0">
                <a:latin typeface="Calibri" pitchFamily="34" charset="0"/>
              </a:rPr>
              <a:t>22.979</a:t>
            </a:r>
            <a:endParaRPr lang="pt-BR" sz="900" b="0" i="0" dirty="0">
              <a:latin typeface="Calibri" pitchFamily="34" charset="0"/>
            </a:endParaRPr>
          </a:p>
        </p:txBody>
      </p:sp>
      <p:sp>
        <p:nvSpPr>
          <p:cNvPr id="543" name="Text Box 5"/>
          <p:cNvSpPr txBox="1">
            <a:spLocks noChangeArrowheads="1"/>
          </p:cNvSpPr>
          <p:nvPr/>
        </p:nvSpPr>
        <p:spPr bwMode="auto">
          <a:xfrm>
            <a:off x="425698" y="1412776"/>
            <a:ext cx="3914775" cy="246063"/>
          </a:xfrm>
          <a:prstGeom prst="rect">
            <a:avLst/>
          </a:prstGeom>
          <a:solidFill>
            <a:srgbClr val="3E628A"/>
          </a:solidFill>
        </p:spPr>
        <p:style>
          <a:lnRef idx="1">
            <a:schemeClr val="accent3"/>
          </a:lnRef>
          <a:fillRef idx="3">
            <a:schemeClr val="accent3"/>
          </a:fillRef>
          <a:effectRef idx="2">
            <a:schemeClr val="accent3"/>
          </a:effectRef>
          <a:fontRef idx="minor">
            <a:schemeClr val="lt1"/>
          </a:fontRef>
        </p:style>
        <p:txBody>
          <a:bodyPr>
            <a:spAutoFit/>
          </a:bodyPr>
          <a:lstStyle/>
          <a:p>
            <a:pPr marL="342900" indent="-342900" defTabSz="873125" eaLnBrk="0" hangingPunct="0">
              <a:buClr>
                <a:schemeClr val="accent1"/>
              </a:buClr>
              <a:defRPr/>
            </a:pPr>
            <a:r>
              <a:rPr lang="en-US" sz="1000" b="0" dirty="0">
                <a:solidFill>
                  <a:schemeClr val="bg1"/>
                </a:solidFill>
                <a:latin typeface="Calibri" pitchFamily="34" charset="0"/>
              </a:rPr>
              <a:t>Network Expansion Plan [ without SWAP </a:t>
            </a:r>
            <a:r>
              <a:rPr lang="en-US" sz="1000" b="0" dirty="0" smtClean="0">
                <a:solidFill>
                  <a:schemeClr val="bg1"/>
                </a:solidFill>
                <a:latin typeface="Calibri" pitchFamily="34" charset="0"/>
              </a:rPr>
              <a:t>]*</a:t>
            </a:r>
            <a:endParaRPr lang="en-US" sz="1000" b="0" dirty="0">
              <a:solidFill>
                <a:schemeClr val="bg1"/>
              </a:solidFill>
              <a:latin typeface="Calibri" pitchFamily="34" charset="0"/>
            </a:endParaRPr>
          </a:p>
        </p:txBody>
      </p:sp>
      <p:cxnSp>
        <p:nvCxnSpPr>
          <p:cNvPr id="562" name="Straight Connector 561"/>
          <p:cNvCxnSpPr/>
          <p:nvPr/>
        </p:nvCxnSpPr>
        <p:spPr>
          <a:xfrm>
            <a:off x="712174" y="2937598"/>
            <a:ext cx="323850" cy="1587"/>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563" name="TextBox 375"/>
          <p:cNvSpPr txBox="1">
            <a:spLocks noChangeArrowheads="1"/>
          </p:cNvSpPr>
          <p:nvPr/>
        </p:nvSpPr>
        <p:spPr bwMode="auto">
          <a:xfrm>
            <a:off x="1044407" y="2822975"/>
            <a:ext cx="1188147" cy="230832"/>
          </a:xfrm>
          <a:prstGeom prst="rect">
            <a:avLst/>
          </a:prstGeom>
          <a:noFill/>
          <a:ln w="9525">
            <a:noFill/>
            <a:miter lim="800000"/>
            <a:headEnd/>
            <a:tailEnd/>
          </a:ln>
        </p:spPr>
        <p:txBody>
          <a:bodyPr wrap="none">
            <a:spAutoFit/>
          </a:bodyPr>
          <a:lstStyle/>
          <a:p>
            <a:pPr>
              <a:defRPr/>
            </a:pPr>
            <a:r>
              <a:rPr lang="pt-BR" sz="900" b="0" i="0" dirty="0">
                <a:latin typeface="Calibri" pitchFamily="34" charset="0"/>
              </a:rPr>
              <a:t>BUILDING LD IN </a:t>
            </a:r>
            <a:r>
              <a:rPr lang="pt-BR" sz="900" b="0" i="0" dirty="0" smtClean="0">
                <a:latin typeface="Calibri" pitchFamily="34" charset="0"/>
              </a:rPr>
              <a:t>2015</a:t>
            </a:r>
            <a:endParaRPr lang="pt-BR" sz="900" b="0" i="0" dirty="0">
              <a:latin typeface="Calibri" pitchFamily="34" charset="0"/>
            </a:endParaRPr>
          </a:p>
        </p:txBody>
      </p:sp>
      <p:sp>
        <p:nvSpPr>
          <p:cNvPr id="564" name="TextBox 563"/>
          <p:cNvSpPr txBox="1"/>
          <p:nvPr/>
        </p:nvSpPr>
        <p:spPr>
          <a:xfrm>
            <a:off x="2468810" y="2822975"/>
            <a:ext cx="628698" cy="230832"/>
          </a:xfrm>
          <a:prstGeom prst="rect">
            <a:avLst/>
          </a:prstGeom>
          <a:noFill/>
        </p:spPr>
        <p:txBody>
          <a:bodyPr wrap="none">
            <a:spAutoFit/>
          </a:bodyPr>
          <a:lstStyle/>
          <a:p>
            <a:pPr>
              <a:defRPr/>
            </a:pPr>
            <a:r>
              <a:rPr lang="pt-BR" sz="900" b="0" i="0" dirty="0">
                <a:latin typeface="Calibri" pitchFamily="34" charset="0"/>
              </a:rPr>
              <a:t>KM </a:t>
            </a:r>
            <a:r>
              <a:rPr lang="pt-BR" sz="900" b="0" dirty="0" smtClean="0">
                <a:latin typeface="Calibri" pitchFamily="34" charset="0"/>
              </a:rPr>
              <a:t>2.225</a:t>
            </a:r>
            <a:endParaRPr lang="pt-BR" sz="900" b="0" i="0" dirty="0">
              <a:latin typeface="Calibri" pitchFamily="34" charset="0"/>
            </a:endParaRPr>
          </a:p>
        </p:txBody>
      </p:sp>
      <p:sp>
        <p:nvSpPr>
          <p:cNvPr id="565" name="TextBox 564"/>
          <p:cNvSpPr txBox="1"/>
          <p:nvPr/>
        </p:nvSpPr>
        <p:spPr>
          <a:xfrm>
            <a:off x="3316676" y="2822975"/>
            <a:ext cx="686406" cy="230832"/>
          </a:xfrm>
          <a:prstGeom prst="rect">
            <a:avLst/>
          </a:prstGeom>
          <a:noFill/>
        </p:spPr>
        <p:txBody>
          <a:bodyPr wrap="none">
            <a:spAutoFit/>
          </a:bodyPr>
          <a:lstStyle/>
          <a:p>
            <a:pPr>
              <a:defRPr/>
            </a:pPr>
            <a:r>
              <a:rPr lang="pt-BR" sz="900" b="0" i="0" dirty="0">
                <a:latin typeface="Calibri" pitchFamily="34" charset="0"/>
              </a:rPr>
              <a:t>KM </a:t>
            </a:r>
            <a:r>
              <a:rPr lang="pt-BR" sz="900" b="0" dirty="0" smtClean="0">
                <a:latin typeface="Calibri" pitchFamily="34" charset="0"/>
              </a:rPr>
              <a:t>25.204</a:t>
            </a:r>
            <a:endParaRPr lang="pt-BR" sz="900" b="0" i="0" dirty="0">
              <a:latin typeface="Calibri" pitchFamily="34" charset="0"/>
            </a:endParaRPr>
          </a:p>
        </p:txBody>
      </p:sp>
      <p:grpSp>
        <p:nvGrpSpPr>
          <p:cNvPr id="572" name="Group 719"/>
          <p:cNvGrpSpPr/>
          <p:nvPr/>
        </p:nvGrpSpPr>
        <p:grpSpPr>
          <a:xfrm>
            <a:off x="4870601" y="1196752"/>
            <a:ext cx="4903196" cy="4314825"/>
            <a:chOff x="4870601" y="1700808"/>
            <a:chExt cx="4903196" cy="4314825"/>
          </a:xfrm>
        </p:grpSpPr>
        <p:grpSp>
          <p:nvGrpSpPr>
            <p:cNvPr id="573" name="Group 720"/>
            <p:cNvGrpSpPr/>
            <p:nvPr/>
          </p:nvGrpSpPr>
          <p:grpSpPr>
            <a:xfrm>
              <a:off x="4870601" y="1700808"/>
              <a:ext cx="4903196" cy="4314825"/>
              <a:chOff x="4654072" y="1922487"/>
              <a:chExt cx="5243513" cy="4314825"/>
            </a:xfrm>
          </p:grpSpPr>
          <p:grpSp>
            <p:nvGrpSpPr>
              <p:cNvPr id="575" name="Group 23"/>
              <p:cNvGrpSpPr>
                <a:grpSpLocks/>
              </p:cNvGrpSpPr>
              <p:nvPr/>
            </p:nvGrpSpPr>
            <p:grpSpPr bwMode="auto">
              <a:xfrm>
                <a:off x="4654072" y="1922487"/>
                <a:ext cx="5243513" cy="4314825"/>
                <a:chOff x="3153402" y="1387199"/>
                <a:chExt cx="6810378" cy="5443529"/>
              </a:xfrm>
            </p:grpSpPr>
            <p:grpSp>
              <p:nvGrpSpPr>
                <p:cNvPr id="593" name="Group 512"/>
                <p:cNvGrpSpPr>
                  <a:grpSpLocks/>
                </p:cNvGrpSpPr>
                <p:nvPr/>
              </p:nvGrpSpPr>
              <p:grpSpPr bwMode="auto">
                <a:xfrm>
                  <a:off x="3153394" y="1387199"/>
                  <a:ext cx="6810382" cy="5443529"/>
                  <a:chOff x="2786073" y="1057284"/>
                  <a:chExt cx="6810382" cy="5443529"/>
                </a:xfrm>
              </p:grpSpPr>
              <p:grpSp>
                <p:nvGrpSpPr>
                  <p:cNvPr id="595" name="Group 314"/>
                  <p:cNvGrpSpPr>
                    <a:grpSpLocks/>
                  </p:cNvGrpSpPr>
                  <p:nvPr/>
                </p:nvGrpSpPr>
                <p:grpSpPr bwMode="auto">
                  <a:xfrm>
                    <a:off x="2786073" y="1057284"/>
                    <a:ext cx="6810382" cy="5443529"/>
                    <a:chOff x="2643158" y="985839"/>
                    <a:chExt cx="6810382" cy="5443529"/>
                  </a:xfrm>
                </p:grpSpPr>
                <p:grpSp>
                  <p:nvGrpSpPr>
                    <p:cNvPr id="598" name="Group 199"/>
                    <p:cNvGrpSpPr>
                      <a:grpSpLocks/>
                    </p:cNvGrpSpPr>
                    <p:nvPr/>
                  </p:nvGrpSpPr>
                  <p:grpSpPr bwMode="auto">
                    <a:xfrm>
                      <a:off x="2643158" y="985839"/>
                      <a:ext cx="6810382" cy="5443529"/>
                      <a:chOff x="2643158" y="985839"/>
                      <a:chExt cx="6810382" cy="5443529"/>
                    </a:xfrm>
                  </p:grpSpPr>
                  <p:grpSp>
                    <p:nvGrpSpPr>
                      <p:cNvPr id="615" name="Group 554"/>
                      <p:cNvGrpSpPr>
                        <a:grpSpLocks/>
                      </p:cNvGrpSpPr>
                      <p:nvPr/>
                    </p:nvGrpSpPr>
                    <p:grpSpPr bwMode="auto">
                      <a:xfrm>
                        <a:off x="2643158" y="985839"/>
                        <a:ext cx="6810382" cy="5443529"/>
                        <a:chOff x="2642456" y="985248"/>
                        <a:chExt cx="6811118" cy="5444141"/>
                      </a:xfrm>
                    </p:grpSpPr>
                    <p:grpSp>
                      <p:nvGrpSpPr>
                        <p:cNvPr id="621" name="Group 388"/>
                        <p:cNvGrpSpPr>
                          <a:grpSpLocks/>
                        </p:cNvGrpSpPr>
                        <p:nvPr/>
                      </p:nvGrpSpPr>
                      <p:grpSpPr bwMode="auto">
                        <a:xfrm>
                          <a:off x="2642456" y="985248"/>
                          <a:ext cx="6811118" cy="5444141"/>
                          <a:chOff x="2746322" y="1019142"/>
                          <a:chExt cx="6262083" cy="5237864"/>
                        </a:xfrm>
                      </p:grpSpPr>
                      <p:grpSp>
                        <p:nvGrpSpPr>
                          <p:cNvPr id="624" name="Group 365"/>
                          <p:cNvGrpSpPr>
                            <a:grpSpLocks/>
                          </p:cNvGrpSpPr>
                          <p:nvPr/>
                        </p:nvGrpSpPr>
                        <p:grpSpPr bwMode="auto">
                          <a:xfrm>
                            <a:off x="2746322" y="1019142"/>
                            <a:ext cx="6262083" cy="5237864"/>
                            <a:chOff x="4900596" y="803599"/>
                            <a:chExt cx="3943732" cy="3173096"/>
                          </a:xfrm>
                        </p:grpSpPr>
                        <p:sp>
                          <p:nvSpPr>
                            <p:cNvPr id="633" name="Freeform 25"/>
                            <p:cNvSpPr>
                              <a:spLocks noChangeArrowheads="1"/>
                            </p:cNvSpPr>
                            <p:nvPr/>
                          </p:nvSpPr>
                          <p:spPr bwMode="auto">
                            <a:xfrm>
                              <a:off x="6525106" y="927193"/>
                              <a:ext cx="385398" cy="420566"/>
                            </a:xfrm>
                            <a:custGeom>
                              <a:avLst/>
                              <a:gdLst>
                                <a:gd name="T0" fmla="*/ 2147483647 w 179"/>
                                <a:gd name="T1" fmla="*/ 2147483647 h 191"/>
                                <a:gd name="T2" fmla="*/ 2147483647 w 179"/>
                                <a:gd name="T3" fmla="*/ 2147483647 h 191"/>
                                <a:gd name="T4" fmla="*/ 2147483647 w 179"/>
                                <a:gd name="T5" fmla="*/ 2147483647 h 191"/>
                                <a:gd name="T6" fmla="*/ 2147483647 w 179"/>
                                <a:gd name="T7" fmla="*/ 2147483647 h 191"/>
                                <a:gd name="T8" fmla="*/ 2147483647 w 179"/>
                                <a:gd name="T9" fmla="*/ 2147483647 h 191"/>
                                <a:gd name="T10" fmla="*/ 2147483647 w 179"/>
                                <a:gd name="T11" fmla="*/ 2147483647 h 191"/>
                                <a:gd name="T12" fmla="*/ 2147483647 w 179"/>
                                <a:gd name="T13" fmla="*/ 2147483647 h 191"/>
                                <a:gd name="T14" fmla="*/ 0 w 179"/>
                                <a:gd name="T15" fmla="*/ 2147483647 h 191"/>
                                <a:gd name="T16" fmla="*/ 0 w 179"/>
                                <a:gd name="T17" fmla="*/ 2147483647 h 191"/>
                                <a:gd name="T18" fmla="*/ 2147483647 w 179"/>
                                <a:gd name="T19" fmla="*/ 2147483647 h 191"/>
                                <a:gd name="T20" fmla="*/ 2147483647 w 179"/>
                                <a:gd name="T21" fmla="*/ 2147483647 h 191"/>
                                <a:gd name="T22" fmla="*/ 2147483647 w 179"/>
                                <a:gd name="T23" fmla="*/ 2147483647 h 191"/>
                                <a:gd name="T24" fmla="*/ 2147483647 w 179"/>
                                <a:gd name="T25" fmla="*/ 2147483647 h 191"/>
                                <a:gd name="T26" fmla="*/ 2147483647 w 179"/>
                                <a:gd name="T27" fmla="*/ 0 h 191"/>
                                <a:gd name="T28" fmla="*/ 2147483647 w 179"/>
                                <a:gd name="T29" fmla="*/ 0 h 191"/>
                                <a:gd name="T30" fmla="*/ 2147483647 w 179"/>
                                <a:gd name="T31" fmla="*/ 2147483647 h 191"/>
                                <a:gd name="T32" fmla="*/ 2147483647 w 179"/>
                                <a:gd name="T33" fmla="*/ 2147483647 h 191"/>
                                <a:gd name="T34" fmla="*/ 2147483647 w 179"/>
                                <a:gd name="T35" fmla="*/ 2147483647 h 191"/>
                                <a:gd name="T36" fmla="*/ 2147483647 w 179"/>
                                <a:gd name="T37" fmla="*/ 2147483647 h 191"/>
                                <a:gd name="T38" fmla="*/ 2147483647 w 179"/>
                                <a:gd name="T39" fmla="*/ 2147483647 h 191"/>
                                <a:gd name="T40" fmla="*/ 2147483647 w 179"/>
                                <a:gd name="T41" fmla="*/ 2147483647 h 191"/>
                                <a:gd name="T42" fmla="*/ 2147483647 w 179"/>
                                <a:gd name="T43" fmla="*/ 2147483647 h 191"/>
                                <a:gd name="T44" fmla="*/ 2147483647 w 179"/>
                                <a:gd name="T45" fmla="*/ 2147483647 h 191"/>
                                <a:gd name="T46" fmla="*/ 2147483647 w 179"/>
                                <a:gd name="T47" fmla="*/ 2147483647 h 19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79"/>
                                <a:gd name="T73" fmla="*/ 0 h 191"/>
                                <a:gd name="T74" fmla="*/ 179 w 179"/>
                                <a:gd name="T75" fmla="*/ 191 h 19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79" h="191">
                                  <a:moveTo>
                                    <a:pt x="135" y="191"/>
                                  </a:moveTo>
                                  <a:lnTo>
                                    <a:pt x="112" y="191"/>
                                  </a:lnTo>
                                  <a:lnTo>
                                    <a:pt x="88" y="167"/>
                                  </a:lnTo>
                                  <a:lnTo>
                                    <a:pt x="76" y="135"/>
                                  </a:lnTo>
                                  <a:lnTo>
                                    <a:pt x="56" y="99"/>
                                  </a:lnTo>
                                  <a:lnTo>
                                    <a:pt x="32" y="91"/>
                                  </a:lnTo>
                                  <a:lnTo>
                                    <a:pt x="20" y="91"/>
                                  </a:lnTo>
                                  <a:lnTo>
                                    <a:pt x="0" y="79"/>
                                  </a:lnTo>
                                  <a:lnTo>
                                    <a:pt x="0" y="55"/>
                                  </a:lnTo>
                                  <a:lnTo>
                                    <a:pt x="32" y="67"/>
                                  </a:lnTo>
                                  <a:lnTo>
                                    <a:pt x="68" y="67"/>
                                  </a:lnTo>
                                  <a:lnTo>
                                    <a:pt x="100" y="43"/>
                                  </a:lnTo>
                                  <a:lnTo>
                                    <a:pt x="124" y="12"/>
                                  </a:lnTo>
                                  <a:lnTo>
                                    <a:pt x="135" y="0"/>
                                  </a:lnTo>
                                  <a:lnTo>
                                    <a:pt x="143" y="0"/>
                                  </a:lnTo>
                                  <a:lnTo>
                                    <a:pt x="143" y="32"/>
                                  </a:lnTo>
                                  <a:lnTo>
                                    <a:pt x="155" y="67"/>
                                  </a:lnTo>
                                  <a:lnTo>
                                    <a:pt x="167" y="91"/>
                                  </a:lnTo>
                                  <a:lnTo>
                                    <a:pt x="179" y="99"/>
                                  </a:lnTo>
                                  <a:lnTo>
                                    <a:pt x="179" y="111"/>
                                  </a:lnTo>
                                  <a:lnTo>
                                    <a:pt x="167" y="123"/>
                                  </a:lnTo>
                                  <a:lnTo>
                                    <a:pt x="143" y="147"/>
                                  </a:lnTo>
                                  <a:lnTo>
                                    <a:pt x="135" y="179"/>
                                  </a:lnTo>
                                  <a:lnTo>
                                    <a:pt x="135" y="191"/>
                                  </a:lnTo>
                                  <a:close/>
                                </a:path>
                              </a:pathLst>
                            </a:custGeom>
                            <a:solidFill>
                              <a:srgbClr val="FFFFFF"/>
                            </a:solidFill>
                            <a:ln w="9360">
                              <a:solidFill>
                                <a:srgbClr val="969696"/>
                              </a:solidFill>
                              <a:round/>
                              <a:headEnd/>
                              <a:tailEnd/>
                            </a:ln>
                          </p:spPr>
                          <p:txBody>
                            <a:bodyPr wrap="none" anchor="ctr"/>
                            <a:lstStyle/>
                            <a:p>
                              <a:endParaRPr lang="pt-BR"/>
                            </a:p>
                          </p:txBody>
                        </p:sp>
                        <p:sp>
                          <p:nvSpPr>
                            <p:cNvPr id="634" name="Freeform 26"/>
                            <p:cNvSpPr>
                              <a:spLocks noChangeArrowheads="1"/>
                            </p:cNvSpPr>
                            <p:nvPr/>
                          </p:nvSpPr>
                          <p:spPr bwMode="auto">
                            <a:xfrm>
                              <a:off x="5681124" y="803599"/>
                              <a:ext cx="464908" cy="574166"/>
                            </a:xfrm>
                            <a:custGeom>
                              <a:avLst/>
                              <a:gdLst>
                                <a:gd name="T0" fmla="*/ 2147483647 w 203"/>
                                <a:gd name="T1" fmla="*/ 2147483647 h 247"/>
                                <a:gd name="T2" fmla="*/ 2147483647 w 203"/>
                                <a:gd name="T3" fmla="*/ 2147483647 h 247"/>
                                <a:gd name="T4" fmla="*/ 2147483647 w 203"/>
                                <a:gd name="T5" fmla="*/ 2147483647 h 247"/>
                                <a:gd name="T6" fmla="*/ 2147483647 w 203"/>
                                <a:gd name="T7" fmla="*/ 2147483647 h 247"/>
                                <a:gd name="T8" fmla="*/ 2147483647 w 203"/>
                                <a:gd name="T9" fmla="*/ 2147483647 h 247"/>
                                <a:gd name="T10" fmla="*/ 2147483647 w 203"/>
                                <a:gd name="T11" fmla="*/ 2147483647 h 247"/>
                                <a:gd name="T12" fmla="*/ 2147483647 w 203"/>
                                <a:gd name="T13" fmla="*/ 2147483647 h 247"/>
                                <a:gd name="T14" fmla="*/ 2147483647 w 203"/>
                                <a:gd name="T15" fmla="*/ 2147483647 h 247"/>
                                <a:gd name="T16" fmla="*/ 2147483647 w 203"/>
                                <a:gd name="T17" fmla="*/ 2147483647 h 247"/>
                                <a:gd name="T18" fmla="*/ 2147483647 w 203"/>
                                <a:gd name="T19" fmla="*/ 2147483647 h 247"/>
                                <a:gd name="T20" fmla="*/ 2147483647 w 203"/>
                                <a:gd name="T21" fmla="*/ 2147483647 h 247"/>
                                <a:gd name="T22" fmla="*/ 2147483647 w 203"/>
                                <a:gd name="T23" fmla="*/ 2147483647 h 247"/>
                                <a:gd name="T24" fmla="*/ 2147483647 w 203"/>
                                <a:gd name="T25" fmla="*/ 2147483647 h 247"/>
                                <a:gd name="T26" fmla="*/ 2147483647 w 203"/>
                                <a:gd name="T27" fmla="*/ 2147483647 h 247"/>
                                <a:gd name="T28" fmla="*/ 2147483647 w 203"/>
                                <a:gd name="T29" fmla="*/ 2147483647 h 247"/>
                                <a:gd name="T30" fmla="*/ 2147483647 w 203"/>
                                <a:gd name="T31" fmla="*/ 2147483647 h 247"/>
                                <a:gd name="T32" fmla="*/ 2147483647 w 203"/>
                                <a:gd name="T33" fmla="*/ 2147483647 h 247"/>
                                <a:gd name="T34" fmla="*/ 2147483647 w 203"/>
                                <a:gd name="T35" fmla="*/ 2147483647 h 247"/>
                                <a:gd name="T36" fmla="*/ 2147483647 w 203"/>
                                <a:gd name="T37" fmla="*/ 2147483647 h 247"/>
                                <a:gd name="T38" fmla="*/ 0 w 203"/>
                                <a:gd name="T39" fmla="*/ 2147483647 h 247"/>
                                <a:gd name="T40" fmla="*/ 2147483647 w 203"/>
                                <a:gd name="T41" fmla="*/ 2147483647 h 247"/>
                                <a:gd name="T42" fmla="*/ 2147483647 w 203"/>
                                <a:gd name="T43" fmla="*/ 2147483647 h 247"/>
                                <a:gd name="T44" fmla="*/ 2147483647 w 203"/>
                                <a:gd name="T45" fmla="*/ 2147483647 h 247"/>
                                <a:gd name="T46" fmla="*/ 2147483647 w 203"/>
                                <a:gd name="T47" fmla="*/ 2147483647 h 247"/>
                                <a:gd name="T48" fmla="*/ 2147483647 w 203"/>
                                <a:gd name="T49" fmla="*/ 2147483647 h 247"/>
                                <a:gd name="T50" fmla="*/ 2147483647 w 203"/>
                                <a:gd name="T51" fmla="*/ 2147483647 h 247"/>
                                <a:gd name="T52" fmla="*/ 2147483647 w 203"/>
                                <a:gd name="T53" fmla="*/ 0 h 247"/>
                                <a:gd name="T54" fmla="*/ 2147483647 w 203"/>
                                <a:gd name="T55" fmla="*/ 2147483647 h 247"/>
                                <a:gd name="T56" fmla="*/ 2147483647 w 203"/>
                                <a:gd name="T57" fmla="*/ 2147483647 h 247"/>
                                <a:gd name="T58" fmla="*/ 2147483647 w 203"/>
                                <a:gd name="T59" fmla="*/ 2147483647 h 247"/>
                                <a:gd name="T60" fmla="*/ 2147483647 w 203"/>
                                <a:gd name="T61" fmla="*/ 2147483647 h 247"/>
                                <a:gd name="T62" fmla="*/ 2147483647 w 203"/>
                                <a:gd name="T63" fmla="*/ 2147483647 h 247"/>
                                <a:gd name="T64" fmla="*/ 2147483647 w 203"/>
                                <a:gd name="T65" fmla="*/ 2147483647 h 247"/>
                                <a:gd name="T66" fmla="*/ 2147483647 w 203"/>
                                <a:gd name="T67" fmla="*/ 2147483647 h 247"/>
                                <a:gd name="T68" fmla="*/ 2147483647 w 203"/>
                                <a:gd name="T69" fmla="*/ 2147483647 h 247"/>
                                <a:gd name="T70" fmla="*/ 2147483647 w 203"/>
                                <a:gd name="T71" fmla="*/ 2147483647 h 24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03"/>
                                <a:gd name="T109" fmla="*/ 0 h 247"/>
                                <a:gd name="T110" fmla="*/ 203 w 203"/>
                                <a:gd name="T111" fmla="*/ 247 h 24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03" h="247">
                                  <a:moveTo>
                                    <a:pt x="203" y="203"/>
                                  </a:moveTo>
                                  <a:lnTo>
                                    <a:pt x="167" y="203"/>
                                  </a:lnTo>
                                  <a:lnTo>
                                    <a:pt x="155" y="211"/>
                                  </a:lnTo>
                                  <a:lnTo>
                                    <a:pt x="155" y="223"/>
                                  </a:lnTo>
                                  <a:lnTo>
                                    <a:pt x="143" y="235"/>
                                  </a:lnTo>
                                  <a:lnTo>
                                    <a:pt x="135" y="235"/>
                                  </a:lnTo>
                                  <a:lnTo>
                                    <a:pt x="124" y="223"/>
                                  </a:lnTo>
                                  <a:lnTo>
                                    <a:pt x="112" y="223"/>
                                  </a:lnTo>
                                  <a:lnTo>
                                    <a:pt x="100" y="247"/>
                                  </a:lnTo>
                                  <a:lnTo>
                                    <a:pt x="76" y="235"/>
                                  </a:lnTo>
                                  <a:lnTo>
                                    <a:pt x="68" y="223"/>
                                  </a:lnTo>
                                  <a:lnTo>
                                    <a:pt x="76" y="211"/>
                                  </a:lnTo>
                                  <a:lnTo>
                                    <a:pt x="76" y="179"/>
                                  </a:lnTo>
                                  <a:lnTo>
                                    <a:pt x="68" y="155"/>
                                  </a:lnTo>
                                  <a:lnTo>
                                    <a:pt x="68" y="135"/>
                                  </a:lnTo>
                                  <a:lnTo>
                                    <a:pt x="56" y="123"/>
                                  </a:lnTo>
                                  <a:lnTo>
                                    <a:pt x="32" y="111"/>
                                  </a:lnTo>
                                  <a:lnTo>
                                    <a:pt x="20" y="87"/>
                                  </a:lnTo>
                                  <a:lnTo>
                                    <a:pt x="20" y="68"/>
                                  </a:lnTo>
                                  <a:lnTo>
                                    <a:pt x="0" y="56"/>
                                  </a:lnTo>
                                  <a:lnTo>
                                    <a:pt x="8" y="44"/>
                                  </a:lnTo>
                                  <a:lnTo>
                                    <a:pt x="56" y="56"/>
                                  </a:lnTo>
                                  <a:lnTo>
                                    <a:pt x="68" y="56"/>
                                  </a:lnTo>
                                  <a:lnTo>
                                    <a:pt x="76" y="68"/>
                                  </a:lnTo>
                                  <a:lnTo>
                                    <a:pt x="88" y="44"/>
                                  </a:lnTo>
                                  <a:lnTo>
                                    <a:pt x="135" y="20"/>
                                  </a:lnTo>
                                  <a:lnTo>
                                    <a:pt x="135" y="0"/>
                                  </a:lnTo>
                                  <a:lnTo>
                                    <a:pt x="155" y="8"/>
                                  </a:lnTo>
                                  <a:lnTo>
                                    <a:pt x="155" y="32"/>
                                  </a:lnTo>
                                  <a:lnTo>
                                    <a:pt x="167" y="32"/>
                                  </a:lnTo>
                                  <a:lnTo>
                                    <a:pt x="179" y="56"/>
                                  </a:lnTo>
                                  <a:lnTo>
                                    <a:pt x="167" y="87"/>
                                  </a:lnTo>
                                  <a:lnTo>
                                    <a:pt x="179" y="135"/>
                                  </a:lnTo>
                                  <a:lnTo>
                                    <a:pt x="191" y="143"/>
                                  </a:lnTo>
                                  <a:lnTo>
                                    <a:pt x="203" y="179"/>
                                  </a:lnTo>
                                  <a:lnTo>
                                    <a:pt x="203" y="203"/>
                                  </a:lnTo>
                                  <a:close/>
                                </a:path>
                              </a:pathLst>
                            </a:custGeom>
                            <a:solidFill>
                              <a:srgbClr val="FFFFFF"/>
                            </a:solidFill>
                            <a:ln w="9360">
                              <a:solidFill>
                                <a:srgbClr val="969696"/>
                              </a:solidFill>
                              <a:round/>
                              <a:headEnd/>
                              <a:tailEnd/>
                            </a:ln>
                          </p:spPr>
                          <p:txBody>
                            <a:bodyPr wrap="none" anchor="ctr"/>
                            <a:lstStyle/>
                            <a:p>
                              <a:endParaRPr lang="pt-BR"/>
                            </a:p>
                          </p:txBody>
                        </p:sp>
                        <p:grpSp>
                          <p:nvGrpSpPr>
                            <p:cNvPr id="635" name="Group 362"/>
                            <p:cNvGrpSpPr>
                              <a:grpSpLocks/>
                            </p:cNvGrpSpPr>
                            <p:nvPr/>
                          </p:nvGrpSpPr>
                          <p:grpSpPr bwMode="auto">
                            <a:xfrm>
                              <a:off x="4900596" y="1051337"/>
                              <a:ext cx="3943732" cy="2925358"/>
                              <a:chOff x="5795288" y="1167617"/>
                              <a:chExt cx="3063115" cy="2607880"/>
                            </a:xfrm>
                          </p:grpSpPr>
                          <p:sp>
                            <p:nvSpPr>
                              <p:cNvPr id="636" name="Freeform 12"/>
                              <p:cNvSpPr>
                                <a:spLocks noChangeArrowheads="1"/>
                              </p:cNvSpPr>
                              <p:nvPr/>
                            </p:nvSpPr>
                            <p:spPr bwMode="auto">
                              <a:xfrm>
                                <a:off x="8028472" y="1832762"/>
                                <a:ext cx="460869" cy="154577"/>
                              </a:xfrm>
                              <a:custGeom>
                                <a:avLst/>
                                <a:gdLst>
                                  <a:gd name="T0" fmla="*/ 2147483647 w 239"/>
                                  <a:gd name="T1" fmla="*/ 0 h 79"/>
                                  <a:gd name="T2" fmla="*/ 2147483647 w 239"/>
                                  <a:gd name="T3" fmla="*/ 0 h 79"/>
                                  <a:gd name="T4" fmla="*/ 2147483647 w 239"/>
                                  <a:gd name="T5" fmla="*/ 2147483647 h 79"/>
                                  <a:gd name="T6" fmla="*/ 2147483647 w 239"/>
                                  <a:gd name="T7" fmla="*/ 2147483647 h 79"/>
                                  <a:gd name="T8" fmla="*/ 2147483647 w 239"/>
                                  <a:gd name="T9" fmla="*/ 2147483647 h 79"/>
                                  <a:gd name="T10" fmla="*/ 2147483647 w 239"/>
                                  <a:gd name="T11" fmla="*/ 2147483647 h 79"/>
                                  <a:gd name="T12" fmla="*/ 2147483647 w 239"/>
                                  <a:gd name="T13" fmla="*/ 2147483647 h 79"/>
                                  <a:gd name="T14" fmla="*/ 2147483647 w 239"/>
                                  <a:gd name="T15" fmla="*/ 2147483647 h 79"/>
                                  <a:gd name="T16" fmla="*/ 2147483647 w 239"/>
                                  <a:gd name="T17" fmla="*/ 2147483647 h 79"/>
                                  <a:gd name="T18" fmla="*/ 2147483647 w 239"/>
                                  <a:gd name="T19" fmla="*/ 2147483647 h 79"/>
                                  <a:gd name="T20" fmla="*/ 2147483647 w 239"/>
                                  <a:gd name="T21" fmla="*/ 2147483647 h 79"/>
                                  <a:gd name="T22" fmla="*/ 2147483647 w 239"/>
                                  <a:gd name="T23" fmla="*/ 2147483647 h 79"/>
                                  <a:gd name="T24" fmla="*/ 2147483647 w 239"/>
                                  <a:gd name="T25" fmla="*/ 2147483647 h 79"/>
                                  <a:gd name="T26" fmla="*/ 2147483647 w 239"/>
                                  <a:gd name="T27" fmla="*/ 2147483647 h 79"/>
                                  <a:gd name="T28" fmla="*/ 2147483647 w 239"/>
                                  <a:gd name="T29" fmla="*/ 2147483647 h 79"/>
                                  <a:gd name="T30" fmla="*/ 2147483647 w 239"/>
                                  <a:gd name="T31" fmla="*/ 2147483647 h 79"/>
                                  <a:gd name="T32" fmla="*/ 2147483647 w 239"/>
                                  <a:gd name="T33" fmla="*/ 2147483647 h 79"/>
                                  <a:gd name="T34" fmla="*/ 0 w 239"/>
                                  <a:gd name="T35" fmla="*/ 2147483647 h 79"/>
                                  <a:gd name="T36" fmla="*/ 2147483647 w 239"/>
                                  <a:gd name="T37" fmla="*/ 2147483647 h 79"/>
                                  <a:gd name="T38" fmla="*/ 2147483647 w 239"/>
                                  <a:gd name="T39" fmla="*/ 2147483647 h 79"/>
                                  <a:gd name="T40" fmla="*/ 2147483647 w 239"/>
                                  <a:gd name="T41" fmla="*/ 2147483647 h 79"/>
                                  <a:gd name="T42" fmla="*/ 2147483647 w 239"/>
                                  <a:gd name="T43" fmla="*/ 2147483647 h 79"/>
                                  <a:gd name="T44" fmla="*/ 2147483647 w 239"/>
                                  <a:gd name="T45" fmla="*/ 2147483647 h 79"/>
                                  <a:gd name="T46" fmla="*/ 2147483647 w 239"/>
                                  <a:gd name="T47" fmla="*/ 2147483647 h 79"/>
                                  <a:gd name="T48" fmla="*/ 2147483647 w 239"/>
                                  <a:gd name="T49" fmla="*/ 2147483647 h 79"/>
                                  <a:gd name="T50" fmla="*/ 2147483647 w 239"/>
                                  <a:gd name="T51" fmla="*/ 2147483647 h 79"/>
                                  <a:gd name="T52" fmla="*/ 2147483647 w 239"/>
                                  <a:gd name="T53" fmla="*/ 2147483647 h 79"/>
                                  <a:gd name="T54" fmla="*/ 2147483647 w 239"/>
                                  <a:gd name="T55" fmla="*/ 2147483647 h 79"/>
                                  <a:gd name="T56" fmla="*/ 2147483647 w 239"/>
                                  <a:gd name="T57" fmla="*/ 2147483647 h 79"/>
                                  <a:gd name="T58" fmla="*/ 2147483647 w 239"/>
                                  <a:gd name="T59" fmla="*/ 2147483647 h 79"/>
                                  <a:gd name="T60" fmla="*/ 2147483647 w 239"/>
                                  <a:gd name="T61" fmla="*/ 2147483647 h 79"/>
                                  <a:gd name="T62" fmla="*/ 2147483647 w 239"/>
                                  <a:gd name="T63" fmla="*/ 2147483647 h 79"/>
                                  <a:gd name="T64" fmla="*/ 2147483647 w 239"/>
                                  <a:gd name="T65" fmla="*/ 0 h 7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39"/>
                                  <a:gd name="T100" fmla="*/ 0 h 79"/>
                                  <a:gd name="T101" fmla="*/ 239 w 239"/>
                                  <a:gd name="T102" fmla="*/ 79 h 7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39" h="79">
                                    <a:moveTo>
                                      <a:pt x="239" y="0"/>
                                    </a:moveTo>
                                    <a:lnTo>
                                      <a:pt x="227" y="0"/>
                                    </a:lnTo>
                                    <a:lnTo>
                                      <a:pt x="203" y="23"/>
                                    </a:lnTo>
                                    <a:lnTo>
                                      <a:pt x="179" y="23"/>
                                    </a:lnTo>
                                    <a:lnTo>
                                      <a:pt x="171" y="23"/>
                                    </a:lnTo>
                                    <a:lnTo>
                                      <a:pt x="159" y="35"/>
                                    </a:lnTo>
                                    <a:lnTo>
                                      <a:pt x="136" y="35"/>
                                    </a:lnTo>
                                    <a:lnTo>
                                      <a:pt x="148" y="11"/>
                                    </a:lnTo>
                                    <a:lnTo>
                                      <a:pt x="136" y="11"/>
                                    </a:lnTo>
                                    <a:lnTo>
                                      <a:pt x="112" y="23"/>
                                    </a:lnTo>
                                    <a:lnTo>
                                      <a:pt x="104" y="35"/>
                                    </a:lnTo>
                                    <a:lnTo>
                                      <a:pt x="68" y="23"/>
                                    </a:lnTo>
                                    <a:lnTo>
                                      <a:pt x="56" y="23"/>
                                    </a:lnTo>
                                    <a:lnTo>
                                      <a:pt x="44" y="11"/>
                                    </a:lnTo>
                                    <a:lnTo>
                                      <a:pt x="24" y="11"/>
                                    </a:lnTo>
                                    <a:lnTo>
                                      <a:pt x="12" y="23"/>
                                    </a:lnTo>
                                    <a:lnTo>
                                      <a:pt x="12" y="43"/>
                                    </a:lnTo>
                                    <a:lnTo>
                                      <a:pt x="0" y="55"/>
                                    </a:lnTo>
                                    <a:lnTo>
                                      <a:pt x="12" y="67"/>
                                    </a:lnTo>
                                    <a:lnTo>
                                      <a:pt x="12" y="79"/>
                                    </a:lnTo>
                                    <a:lnTo>
                                      <a:pt x="36" y="79"/>
                                    </a:lnTo>
                                    <a:lnTo>
                                      <a:pt x="56" y="55"/>
                                    </a:lnTo>
                                    <a:lnTo>
                                      <a:pt x="104" y="67"/>
                                    </a:lnTo>
                                    <a:lnTo>
                                      <a:pt x="104" y="79"/>
                                    </a:lnTo>
                                    <a:lnTo>
                                      <a:pt x="112" y="79"/>
                                    </a:lnTo>
                                    <a:lnTo>
                                      <a:pt x="124" y="67"/>
                                    </a:lnTo>
                                    <a:lnTo>
                                      <a:pt x="148" y="67"/>
                                    </a:lnTo>
                                    <a:lnTo>
                                      <a:pt x="171" y="79"/>
                                    </a:lnTo>
                                    <a:lnTo>
                                      <a:pt x="179" y="79"/>
                                    </a:lnTo>
                                    <a:lnTo>
                                      <a:pt x="191" y="67"/>
                                    </a:lnTo>
                                    <a:lnTo>
                                      <a:pt x="227" y="67"/>
                                    </a:lnTo>
                                    <a:lnTo>
                                      <a:pt x="239" y="35"/>
                                    </a:lnTo>
                                    <a:lnTo>
                                      <a:pt x="239" y="0"/>
                                    </a:lnTo>
                                    <a:close/>
                                  </a:path>
                                </a:pathLst>
                              </a:custGeom>
                              <a:solidFill>
                                <a:srgbClr val="FFFFFF"/>
                              </a:solidFill>
                              <a:ln w="9360">
                                <a:solidFill>
                                  <a:srgbClr val="969696"/>
                                </a:solidFill>
                                <a:round/>
                                <a:headEnd/>
                                <a:tailEnd/>
                              </a:ln>
                            </p:spPr>
                            <p:txBody>
                              <a:bodyPr wrap="none" anchor="ctr"/>
                              <a:lstStyle/>
                              <a:p>
                                <a:endParaRPr lang="pt-BR"/>
                              </a:p>
                            </p:txBody>
                          </p:sp>
                          <p:sp>
                            <p:nvSpPr>
                              <p:cNvPr id="637" name="Freeform 15"/>
                              <p:cNvSpPr>
                                <a:spLocks noChangeArrowheads="1"/>
                              </p:cNvSpPr>
                              <p:nvPr/>
                            </p:nvSpPr>
                            <p:spPr bwMode="auto">
                              <a:xfrm>
                                <a:off x="8007010" y="1543516"/>
                                <a:ext cx="306116" cy="333743"/>
                              </a:xfrm>
                              <a:custGeom>
                                <a:avLst/>
                                <a:gdLst>
                                  <a:gd name="T0" fmla="*/ 2147483647 w 160"/>
                                  <a:gd name="T1" fmla="*/ 2147483647 h 171"/>
                                  <a:gd name="T2" fmla="*/ 2147483647 w 160"/>
                                  <a:gd name="T3" fmla="*/ 2147483647 h 171"/>
                                  <a:gd name="T4" fmla="*/ 2147483647 w 160"/>
                                  <a:gd name="T5" fmla="*/ 2147483647 h 171"/>
                                  <a:gd name="T6" fmla="*/ 2147483647 w 160"/>
                                  <a:gd name="T7" fmla="*/ 2147483647 h 171"/>
                                  <a:gd name="T8" fmla="*/ 2147483647 w 160"/>
                                  <a:gd name="T9" fmla="*/ 0 h 171"/>
                                  <a:gd name="T10" fmla="*/ 0 w 160"/>
                                  <a:gd name="T11" fmla="*/ 0 h 171"/>
                                  <a:gd name="T12" fmla="*/ 0 w 160"/>
                                  <a:gd name="T13" fmla="*/ 2147483647 h 171"/>
                                  <a:gd name="T14" fmla="*/ 0 w 160"/>
                                  <a:gd name="T15" fmla="*/ 2147483647 h 171"/>
                                  <a:gd name="T16" fmla="*/ 2147483647 w 160"/>
                                  <a:gd name="T17" fmla="*/ 2147483647 h 171"/>
                                  <a:gd name="T18" fmla="*/ 2147483647 w 160"/>
                                  <a:gd name="T19" fmla="*/ 2147483647 h 171"/>
                                  <a:gd name="T20" fmla="*/ 2147483647 w 160"/>
                                  <a:gd name="T21" fmla="*/ 2147483647 h 171"/>
                                  <a:gd name="T22" fmla="*/ 2147483647 w 160"/>
                                  <a:gd name="T23" fmla="*/ 2147483647 h 171"/>
                                  <a:gd name="T24" fmla="*/ 2147483647 w 160"/>
                                  <a:gd name="T25" fmla="*/ 2147483647 h 171"/>
                                  <a:gd name="T26" fmla="*/ 2147483647 w 160"/>
                                  <a:gd name="T27" fmla="*/ 2147483647 h 171"/>
                                  <a:gd name="T28" fmla="*/ 2147483647 w 160"/>
                                  <a:gd name="T29" fmla="*/ 2147483647 h 171"/>
                                  <a:gd name="T30" fmla="*/ 2147483647 w 160"/>
                                  <a:gd name="T31" fmla="*/ 2147483647 h 171"/>
                                  <a:gd name="T32" fmla="*/ 2147483647 w 160"/>
                                  <a:gd name="T33" fmla="*/ 2147483647 h 171"/>
                                  <a:gd name="T34" fmla="*/ 2147483647 w 160"/>
                                  <a:gd name="T35" fmla="*/ 2147483647 h 171"/>
                                  <a:gd name="T36" fmla="*/ 2147483647 w 160"/>
                                  <a:gd name="T37" fmla="*/ 2147483647 h 171"/>
                                  <a:gd name="T38" fmla="*/ 2147483647 w 160"/>
                                  <a:gd name="T39" fmla="*/ 2147483647 h 171"/>
                                  <a:gd name="T40" fmla="*/ 2147483647 w 160"/>
                                  <a:gd name="T41" fmla="*/ 2147483647 h 17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60"/>
                                  <a:gd name="T64" fmla="*/ 0 h 171"/>
                                  <a:gd name="T65" fmla="*/ 160 w 160"/>
                                  <a:gd name="T66" fmla="*/ 171 h 17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60" h="171">
                                    <a:moveTo>
                                      <a:pt x="160" y="56"/>
                                    </a:moveTo>
                                    <a:lnTo>
                                      <a:pt x="124" y="36"/>
                                    </a:lnTo>
                                    <a:lnTo>
                                      <a:pt x="116" y="36"/>
                                    </a:lnTo>
                                    <a:lnTo>
                                      <a:pt x="92" y="12"/>
                                    </a:lnTo>
                                    <a:lnTo>
                                      <a:pt x="56" y="0"/>
                                    </a:lnTo>
                                    <a:lnTo>
                                      <a:pt x="0" y="0"/>
                                    </a:lnTo>
                                    <a:lnTo>
                                      <a:pt x="0" y="24"/>
                                    </a:lnTo>
                                    <a:lnTo>
                                      <a:pt x="0" y="48"/>
                                    </a:lnTo>
                                    <a:lnTo>
                                      <a:pt x="12" y="92"/>
                                    </a:lnTo>
                                    <a:lnTo>
                                      <a:pt x="12" y="116"/>
                                    </a:lnTo>
                                    <a:lnTo>
                                      <a:pt x="36" y="148"/>
                                    </a:lnTo>
                                    <a:lnTo>
                                      <a:pt x="36" y="159"/>
                                    </a:lnTo>
                                    <a:lnTo>
                                      <a:pt x="56" y="159"/>
                                    </a:lnTo>
                                    <a:lnTo>
                                      <a:pt x="68" y="171"/>
                                    </a:lnTo>
                                    <a:lnTo>
                                      <a:pt x="80" y="171"/>
                                    </a:lnTo>
                                    <a:lnTo>
                                      <a:pt x="92" y="159"/>
                                    </a:lnTo>
                                    <a:lnTo>
                                      <a:pt x="104" y="124"/>
                                    </a:lnTo>
                                    <a:lnTo>
                                      <a:pt x="124" y="92"/>
                                    </a:lnTo>
                                    <a:lnTo>
                                      <a:pt x="136" y="68"/>
                                    </a:lnTo>
                                    <a:lnTo>
                                      <a:pt x="148" y="56"/>
                                    </a:lnTo>
                                    <a:lnTo>
                                      <a:pt x="160" y="56"/>
                                    </a:lnTo>
                                    <a:close/>
                                  </a:path>
                                </a:pathLst>
                              </a:custGeom>
                              <a:solidFill>
                                <a:srgbClr val="FFFFFF"/>
                              </a:solidFill>
                              <a:ln w="9360">
                                <a:solidFill>
                                  <a:srgbClr val="969696"/>
                                </a:solidFill>
                                <a:round/>
                                <a:headEnd/>
                                <a:tailEnd/>
                              </a:ln>
                            </p:spPr>
                            <p:txBody>
                              <a:bodyPr wrap="none" anchor="ctr"/>
                              <a:lstStyle/>
                              <a:p>
                                <a:endParaRPr lang="pt-BR"/>
                              </a:p>
                            </p:txBody>
                          </p:sp>
                          <p:sp>
                            <p:nvSpPr>
                              <p:cNvPr id="638" name="Freeform 5"/>
                              <p:cNvSpPr>
                                <a:spLocks noChangeArrowheads="1"/>
                              </p:cNvSpPr>
                              <p:nvPr/>
                            </p:nvSpPr>
                            <p:spPr bwMode="auto">
                              <a:xfrm>
                                <a:off x="7230986" y="2762557"/>
                                <a:ext cx="558014" cy="370046"/>
                              </a:xfrm>
                              <a:custGeom>
                                <a:avLst/>
                                <a:gdLst>
                                  <a:gd name="T0" fmla="*/ 2147483647 w 294"/>
                                  <a:gd name="T1" fmla="*/ 2147483647 h 191"/>
                                  <a:gd name="T2" fmla="*/ 2147483647 w 294"/>
                                  <a:gd name="T3" fmla="*/ 2147483647 h 191"/>
                                  <a:gd name="T4" fmla="*/ 2147483647 w 294"/>
                                  <a:gd name="T5" fmla="*/ 2147483647 h 191"/>
                                  <a:gd name="T6" fmla="*/ 2147483647 w 294"/>
                                  <a:gd name="T7" fmla="*/ 2147483647 h 191"/>
                                  <a:gd name="T8" fmla="*/ 2147483647 w 294"/>
                                  <a:gd name="T9" fmla="*/ 2147483647 h 191"/>
                                  <a:gd name="T10" fmla="*/ 2147483647 w 294"/>
                                  <a:gd name="T11" fmla="*/ 2147483647 h 191"/>
                                  <a:gd name="T12" fmla="*/ 2147483647 w 294"/>
                                  <a:gd name="T13" fmla="*/ 2147483647 h 191"/>
                                  <a:gd name="T14" fmla="*/ 2147483647 w 294"/>
                                  <a:gd name="T15" fmla="*/ 2147483647 h 191"/>
                                  <a:gd name="T16" fmla="*/ 2147483647 w 294"/>
                                  <a:gd name="T17" fmla="*/ 2147483647 h 191"/>
                                  <a:gd name="T18" fmla="*/ 2147483647 w 294"/>
                                  <a:gd name="T19" fmla="*/ 2147483647 h 191"/>
                                  <a:gd name="T20" fmla="*/ 2147483647 w 294"/>
                                  <a:gd name="T21" fmla="*/ 2147483647 h 191"/>
                                  <a:gd name="T22" fmla="*/ 2147483647 w 294"/>
                                  <a:gd name="T23" fmla="*/ 0 h 191"/>
                                  <a:gd name="T24" fmla="*/ 2147483647 w 294"/>
                                  <a:gd name="T25" fmla="*/ 2147483647 h 191"/>
                                  <a:gd name="T26" fmla="*/ 2147483647 w 294"/>
                                  <a:gd name="T27" fmla="*/ 0 h 191"/>
                                  <a:gd name="T28" fmla="*/ 2147483647 w 294"/>
                                  <a:gd name="T29" fmla="*/ 0 h 191"/>
                                  <a:gd name="T30" fmla="*/ 2147483647 w 294"/>
                                  <a:gd name="T31" fmla="*/ 2147483647 h 191"/>
                                  <a:gd name="T32" fmla="*/ 2147483647 w 294"/>
                                  <a:gd name="T33" fmla="*/ 2147483647 h 191"/>
                                  <a:gd name="T34" fmla="*/ 2147483647 w 294"/>
                                  <a:gd name="T35" fmla="*/ 2147483647 h 191"/>
                                  <a:gd name="T36" fmla="*/ 0 w 294"/>
                                  <a:gd name="T37" fmla="*/ 2147483647 h 191"/>
                                  <a:gd name="T38" fmla="*/ 2147483647 w 294"/>
                                  <a:gd name="T39" fmla="*/ 2147483647 h 191"/>
                                  <a:gd name="T40" fmla="*/ 2147483647 w 294"/>
                                  <a:gd name="T41" fmla="*/ 2147483647 h 191"/>
                                  <a:gd name="T42" fmla="*/ 2147483647 w 294"/>
                                  <a:gd name="T43" fmla="*/ 2147483647 h 191"/>
                                  <a:gd name="T44" fmla="*/ 2147483647 w 294"/>
                                  <a:gd name="T45" fmla="*/ 2147483647 h 191"/>
                                  <a:gd name="T46" fmla="*/ 2147483647 w 294"/>
                                  <a:gd name="T47" fmla="*/ 2147483647 h 191"/>
                                  <a:gd name="T48" fmla="*/ 2147483647 w 294"/>
                                  <a:gd name="T49" fmla="*/ 2147483647 h 191"/>
                                  <a:gd name="T50" fmla="*/ 2147483647 w 294"/>
                                  <a:gd name="T51" fmla="*/ 2147483647 h 191"/>
                                  <a:gd name="T52" fmla="*/ 2147483647 w 294"/>
                                  <a:gd name="T53" fmla="*/ 2147483647 h 191"/>
                                  <a:gd name="T54" fmla="*/ 2147483647 w 294"/>
                                  <a:gd name="T55" fmla="*/ 2147483647 h 191"/>
                                  <a:gd name="T56" fmla="*/ 2147483647 w 294"/>
                                  <a:gd name="T57" fmla="*/ 2147483647 h 191"/>
                                  <a:gd name="T58" fmla="*/ 2147483647 w 294"/>
                                  <a:gd name="T59" fmla="*/ 2147483647 h 191"/>
                                  <a:gd name="T60" fmla="*/ 2147483647 w 294"/>
                                  <a:gd name="T61" fmla="*/ 2147483647 h 191"/>
                                  <a:gd name="T62" fmla="*/ 2147483647 w 294"/>
                                  <a:gd name="T63" fmla="*/ 2147483647 h 19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4"/>
                                  <a:gd name="T97" fmla="*/ 0 h 191"/>
                                  <a:gd name="T98" fmla="*/ 294 w 294"/>
                                  <a:gd name="T99" fmla="*/ 191 h 19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4" h="191">
                                    <a:moveTo>
                                      <a:pt x="282" y="123"/>
                                    </a:moveTo>
                                    <a:lnTo>
                                      <a:pt x="282" y="115"/>
                                    </a:lnTo>
                                    <a:lnTo>
                                      <a:pt x="294" y="103"/>
                                    </a:lnTo>
                                    <a:lnTo>
                                      <a:pt x="270" y="103"/>
                                    </a:lnTo>
                                    <a:lnTo>
                                      <a:pt x="250" y="103"/>
                                    </a:lnTo>
                                    <a:lnTo>
                                      <a:pt x="226" y="91"/>
                                    </a:lnTo>
                                    <a:lnTo>
                                      <a:pt x="215" y="68"/>
                                    </a:lnTo>
                                    <a:lnTo>
                                      <a:pt x="215" y="56"/>
                                    </a:lnTo>
                                    <a:lnTo>
                                      <a:pt x="203" y="48"/>
                                    </a:lnTo>
                                    <a:lnTo>
                                      <a:pt x="203" y="24"/>
                                    </a:lnTo>
                                    <a:lnTo>
                                      <a:pt x="191" y="12"/>
                                    </a:lnTo>
                                    <a:lnTo>
                                      <a:pt x="171" y="0"/>
                                    </a:lnTo>
                                    <a:lnTo>
                                      <a:pt x="135" y="12"/>
                                    </a:lnTo>
                                    <a:lnTo>
                                      <a:pt x="115" y="0"/>
                                    </a:lnTo>
                                    <a:lnTo>
                                      <a:pt x="79" y="0"/>
                                    </a:lnTo>
                                    <a:lnTo>
                                      <a:pt x="55" y="36"/>
                                    </a:lnTo>
                                    <a:lnTo>
                                      <a:pt x="36" y="68"/>
                                    </a:lnTo>
                                    <a:lnTo>
                                      <a:pt x="12" y="91"/>
                                    </a:lnTo>
                                    <a:lnTo>
                                      <a:pt x="0" y="103"/>
                                    </a:lnTo>
                                    <a:lnTo>
                                      <a:pt x="24" y="103"/>
                                    </a:lnTo>
                                    <a:lnTo>
                                      <a:pt x="55" y="115"/>
                                    </a:lnTo>
                                    <a:lnTo>
                                      <a:pt x="91" y="115"/>
                                    </a:lnTo>
                                    <a:lnTo>
                                      <a:pt x="103" y="123"/>
                                    </a:lnTo>
                                    <a:lnTo>
                                      <a:pt x="115" y="135"/>
                                    </a:lnTo>
                                    <a:lnTo>
                                      <a:pt x="135" y="171"/>
                                    </a:lnTo>
                                    <a:lnTo>
                                      <a:pt x="147" y="171"/>
                                    </a:lnTo>
                                    <a:lnTo>
                                      <a:pt x="171" y="191"/>
                                    </a:lnTo>
                                    <a:lnTo>
                                      <a:pt x="183" y="191"/>
                                    </a:lnTo>
                                    <a:lnTo>
                                      <a:pt x="191" y="183"/>
                                    </a:lnTo>
                                    <a:lnTo>
                                      <a:pt x="226" y="159"/>
                                    </a:lnTo>
                                    <a:lnTo>
                                      <a:pt x="258" y="135"/>
                                    </a:lnTo>
                                    <a:lnTo>
                                      <a:pt x="282" y="123"/>
                                    </a:lnTo>
                                    <a:close/>
                                  </a:path>
                                </a:pathLst>
                              </a:custGeom>
                              <a:solidFill>
                                <a:srgbClr val="FFFFFF"/>
                              </a:solidFill>
                              <a:ln w="9360">
                                <a:solidFill>
                                  <a:srgbClr val="969696"/>
                                </a:solidFill>
                                <a:round/>
                                <a:headEnd/>
                                <a:tailEnd/>
                              </a:ln>
                            </p:spPr>
                            <p:txBody>
                              <a:bodyPr wrap="none" anchor="ctr"/>
                              <a:lstStyle/>
                              <a:p>
                                <a:endParaRPr lang="pt-BR"/>
                              </a:p>
                            </p:txBody>
                          </p:sp>
                          <p:sp>
                            <p:nvSpPr>
                              <p:cNvPr id="639" name="Freeform 5"/>
                              <p:cNvSpPr>
                                <a:spLocks noChangeArrowheads="1"/>
                              </p:cNvSpPr>
                              <p:nvPr/>
                            </p:nvSpPr>
                            <p:spPr bwMode="auto">
                              <a:xfrm>
                                <a:off x="7229858" y="2757874"/>
                                <a:ext cx="0" cy="63235"/>
                              </a:xfrm>
                              <a:custGeom>
                                <a:avLst/>
                                <a:gdLst>
                                  <a:gd name="T0" fmla="*/ 0 w 294"/>
                                  <a:gd name="T1" fmla="*/ 2147483647 h 191"/>
                                  <a:gd name="T2" fmla="*/ 0 w 294"/>
                                  <a:gd name="T3" fmla="*/ 2147483647 h 191"/>
                                  <a:gd name="T4" fmla="*/ 0 w 294"/>
                                  <a:gd name="T5" fmla="*/ 2147483647 h 191"/>
                                  <a:gd name="T6" fmla="*/ 0 w 294"/>
                                  <a:gd name="T7" fmla="*/ 2147483647 h 191"/>
                                  <a:gd name="T8" fmla="*/ 0 w 294"/>
                                  <a:gd name="T9" fmla="*/ 2147483647 h 191"/>
                                  <a:gd name="T10" fmla="*/ 0 w 294"/>
                                  <a:gd name="T11" fmla="*/ 2147483647 h 191"/>
                                  <a:gd name="T12" fmla="*/ 0 w 294"/>
                                  <a:gd name="T13" fmla="*/ 2147483647 h 191"/>
                                  <a:gd name="T14" fmla="*/ 0 w 294"/>
                                  <a:gd name="T15" fmla="*/ 2147483647 h 191"/>
                                  <a:gd name="T16" fmla="*/ 0 w 294"/>
                                  <a:gd name="T17" fmla="*/ 2147483647 h 191"/>
                                  <a:gd name="T18" fmla="*/ 0 w 294"/>
                                  <a:gd name="T19" fmla="*/ 2147483647 h 191"/>
                                  <a:gd name="T20" fmla="*/ 0 w 294"/>
                                  <a:gd name="T21" fmla="*/ 2147483647 h 191"/>
                                  <a:gd name="T22" fmla="*/ 0 w 294"/>
                                  <a:gd name="T23" fmla="*/ 0 h 191"/>
                                  <a:gd name="T24" fmla="*/ 0 w 294"/>
                                  <a:gd name="T25" fmla="*/ 2147483647 h 191"/>
                                  <a:gd name="T26" fmla="*/ 0 w 294"/>
                                  <a:gd name="T27" fmla="*/ 0 h 191"/>
                                  <a:gd name="T28" fmla="*/ 0 w 294"/>
                                  <a:gd name="T29" fmla="*/ 0 h 191"/>
                                  <a:gd name="T30" fmla="*/ 0 w 294"/>
                                  <a:gd name="T31" fmla="*/ 2147483647 h 191"/>
                                  <a:gd name="T32" fmla="*/ 0 w 294"/>
                                  <a:gd name="T33" fmla="*/ 2147483647 h 191"/>
                                  <a:gd name="T34" fmla="*/ 0 w 294"/>
                                  <a:gd name="T35" fmla="*/ 2147483647 h 191"/>
                                  <a:gd name="T36" fmla="*/ 0 w 294"/>
                                  <a:gd name="T37" fmla="*/ 2147483647 h 191"/>
                                  <a:gd name="T38" fmla="*/ 0 w 294"/>
                                  <a:gd name="T39" fmla="*/ 2147483647 h 191"/>
                                  <a:gd name="T40" fmla="*/ 0 w 294"/>
                                  <a:gd name="T41" fmla="*/ 2147483647 h 191"/>
                                  <a:gd name="T42" fmla="*/ 0 w 294"/>
                                  <a:gd name="T43" fmla="*/ 2147483647 h 191"/>
                                  <a:gd name="T44" fmla="*/ 0 w 294"/>
                                  <a:gd name="T45" fmla="*/ 2147483647 h 191"/>
                                  <a:gd name="T46" fmla="*/ 0 w 294"/>
                                  <a:gd name="T47" fmla="*/ 2147483647 h 191"/>
                                  <a:gd name="T48" fmla="*/ 0 w 294"/>
                                  <a:gd name="T49" fmla="*/ 2147483647 h 191"/>
                                  <a:gd name="T50" fmla="*/ 0 w 294"/>
                                  <a:gd name="T51" fmla="*/ 2147483647 h 191"/>
                                  <a:gd name="T52" fmla="*/ 0 w 294"/>
                                  <a:gd name="T53" fmla="*/ 2147483647 h 191"/>
                                  <a:gd name="T54" fmla="*/ 0 w 294"/>
                                  <a:gd name="T55" fmla="*/ 2147483647 h 191"/>
                                  <a:gd name="T56" fmla="*/ 0 w 294"/>
                                  <a:gd name="T57" fmla="*/ 2147483647 h 191"/>
                                  <a:gd name="T58" fmla="*/ 0 w 294"/>
                                  <a:gd name="T59" fmla="*/ 2147483647 h 191"/>
                                  <a:gd name="T60" fmla="*/ 0 w 294"/>
                                  <a:gd name="T61" fmla="*/ 2147483647 h 191"/>
                                  <a:gd name="T62" fmla="*/ 0 w 294"/>
                                  <a:gd name="T63" fmla="*/ 2147483647 h 19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4"/>
                                  <a:gd name="T97" fmla="*/ 0 h 191"/>
                                  <a:gd name="T98" fmla="*/ 0 w 294"/>
                                  <a:gd name="T99" fmla="*/ 191 h 19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4" h="191">
                                    <a:moveTo>
                                      <a:pt x="282" y="123"/>
                                    </a:moveTo>
                                    <a:lnTo>
                                      <a:pt x="282" y="115"/>
                                    </a:lnTo>
                                    <a:lnTo>
                                      <a:pt x="294" y="103"/>
                                    </a:lnTo>
                                    <a:lnTo>
                                      <a:pt x="270" y="103"/>
                                    </a:lnTo>
                                    <a:lnTo>
                                      <a:pt x="250" y="103"/>
                                    </a:lnTo>
                                    <a:lnTo>
                                      <a:pt x="226" y="91"/>
                                    </a:lnTo>
                                    <a:lnTo>
                                      <a:pt x="215" y="68"/>
                                    </a:lnTo>
                                    <a:lnTo>
                                      <a:pt x="215" y="56"/>
                                    </a:lnTo>
                                    <a:lnTo>
                                      <a:pt x="203" y="48"/>
                                    </a:lnTo>
                                    <a:lnTo>
                                      <a:pt x="203" y="24"/>
                                    </a:lnTo>
                                    <a:lnTo>
                                      <a:pt x="191" y="12"/>
                                    </a:lnTo>
                                    <a:lnTo>
                                      <a:pt x="171" y="0"/>
                                    </a:lnTo>
                                    <a:lnTo>
                                      <a:pt x="135" y="12"/>
                                    </a:lnTo>
                                    <a:lnTo>
                                      <a:pt x="115" y="0"/>
                                    </a:lnTo>
                                    <a:lnTo>
                                      <a:pt x="79" y="0"/>
                                    </a:lnTo>
                                    <a:lnTo>
                                      <a:pt x="55" y="36"/>
                                    </a:lnTo>
                                    <a:lnTo>
                                      <a:pt x="36" y="68"/>
                                    </a:lnTo>
                                    <a:lnTo>
                                      <a:pt x="12" y="91"/>
                                    </a:lnTo>
                                    <a:lnTo>
                                      <a:pt x="0" y="103"/>
                                    </a:lnTo>
                                    <a:lnTo>
                                      <a:pt x="24" y="103"/>
                                    </a:lnTo>
                                    <a:lnTo>
                                      <a:pt x="55" y="115"/>
                                    </a:lnTo>
                                    <a:lnTo>
                                      <a:pt x="91" y="115"/>
                                    </a:lnTo>
                                    <a:lnTo>
                                      <a:pt x="103" y="123"/>
                                    </a:lnTo>
                                    <a:lnTo>
                                      <a:pt x="115" y="135"/>
                                    </a:lnTo>
                                    <a:lnTo>
                                      <a:pt x="135" y="171"/>
                                    </a:lnTo>
                                    <a:lnTo>
                                      <a:pt x="147" y="171"/>
                                    </a:lnTo>
                                    <a:lnTo>
                                      <a:pt x="171" y="191"/>
                                    </a:lnTo>
                                    <a:lnTo>
                                      <a:pt x="183" y="191"/>
                                    </a:lnTo>
                                    <a:lnTo>
                                      <a:pt x="191" y="183"/>
                                    </a:lnTo>
                                    <a:lnTo>
                                      <a:pt x="226" y="159"/>
                                    </a:lnTo>
                                    <a:lnTo>
                                      <a:pt x="258" y="135"/>
                                    </a:lnTo>
                                    <a:lnTo>
                                      <a:pt x="282" y="123"/>
                                    </a:lnTo>
                                    <a:close/>
                                  </a:path>
                                </a:pathLst>
                              </a:custGeom>
                              <a:noFill/>
                              <a:ln w="9525" algn="ctr">
                                <a:noFill/>
                                <a:round/>
                                <a:headEnd/>
                                <a:tailEnd/>
                              </a:ln>
                            </p:spPr>
                            <p:txBody>
                              <a:bodyPr wrap="none" lIns="0" tIns="0" rIns="0" bIns="0">
                                <a:spAutoFit/>
                              </a:bodyPr>
                              <a:lstStyle/>
                              <a:p>
                                <a:endParaRPr lang="pt-BR"/>
                              </a:p>
                            </p:txBody>
                          </p:sp>
                          <p:sp>
                            <p:nvSpPr>
                              <p:cNvPr id="640" name="Freeform 3"/>
                              <p:cNvSpPr>
                                <a:spLocks noChangeArrowheads="1"/>
                              </p:cNvSpPr>
                              <p:nvPr/>
                            </p:nvSpPr>
                            <p:spPr bwMode="auto">
                              <a:xfrm>
                                <a:off x="7210654" y="3198182"/>
                                <a:ext cx="325319" cy="241232"/>
                              </a:xfrm>
                              <a:custGeom>
                                <a:avLst/>
                                <a:gdLst>
                                  <a:gd name="T0" fmla="*/ 2147483647 w 171"/>
                                  <a:gd name="T1" fmla="*/ 2147483647 h 123"/>
                                  <a:gd name="T2" fmla="*/ 2147483647 w 171"/>
                                  <a:gd name="T3" fmla="*/ 2147483647 h 123"/>
                                  <a:gd name="T4" fmla="*/ 2147483647 w 171"/>
                                  <a:gd name="T5" fmla="*/ 2147483647 h 123"/>
                                  <a:gd name="T6" fmla="*/ 2147483647 w 171"/>
                                  <a:gd name="T7" fmla="*/ 2147483647 h 123"/>
                                  <a:gd name="T8" fmla="*/ 2147483647 w 171"/>
                                  <a:gd name="T9" fmla="*/ 2147483647 h 123"/>
                                  <a:gd name="T10" fmla="*/ 2147483647 w 171"/>
                                  <a:gd name="T11" fmla="*/ 0 h 123"/>
                                  <a:gd name="T12" fmla="*/ 2147483647 w 171"/>
                                  <a:gd name="T13" fmla="*/ 0 h 123"/>
                                  <a:gd name="T14" fmla="*/ 2147483647 w 171"/>
                                  <a:gd name="T15" fmla="*/ 2147483647 h 123"/>
                                  <a:gd name="T16" fmla="*/ 2147483647 w 171"/>
                                  <a:gd name="T17" fmla="*/ 2147483647 h 123"/>
                                  <a:gd name="T18" fmla="*/ 2147483647 w 171"/>
                                  <a:gd name="T19" fmla="*/ 2147483647 h 123"/>
                                  <a:gd name="T20" fmla="*/ 0 w 171"/>
                                  <a:gd name="T21" fmla="*/ 2147483647 h 123"/>
                                  <a:gd name="T22" fmla="*/ 0 w 171"/>
                                  <a:gd name="T23" fmla="*/ 2147483647 h 123"/>
                                  <a:gd name="T24" fmla="*/ 2147483647 w 171"/>
                                  <a:gd name="T25" fmla="*/ 2147483647 h 123"/>
                                  <a:gd name="T26" fmla="*/ 2147483647 w 171"/>
                                  <a:gd name="T27" fmla="*/ 2147483647 h 123"/>
                                  <a:gd name="T28" fmla="*/ 2147483647 w 171"/>
                                  <a:gd name="T29" fmla="*/ 2147483647 h 123"/>
                                  <a:gd name="T30" fmla="*/ 2147483647 w 171"/>
                                  <a:gd name="T31" fmla="*/ 2147483647 h 123"/>
                                  <a:gd name="T32" fmla="*/ 2147483647 w 171"/>
                                  <a:gd name="T33" fmla="*/ 2147483647 h 123"/>
                                  <a:gd name="T34" fmla="*/ 2147483647 w 171"/>
                                  <a:gd name="T35" fmla="*/ 2147483647 h 123"/>
                                  <a:gd name="T36" fmla="*/ 2147483647 w 171"/>
                                  <a:gd name="T37" fmla="*/ 2147483647 h 123"/>
                                  <a:gd name="T38" fmla="*/ 2147483647 w 171"/>
                                  <a:gd name="T39" fmla="*/ 2147483647 h 12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71"/>
                                  <a:gd name="T61" fmla="*/ 0 h 123"/>
                                  <a:gd name="T62" fmla="*/ 171 w 171"/>
                                  <a:gd name="T63" fmla="*/ 123 h 12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71" h="123">
                                    <a:moveTo>
                                      <a:pt x="135" y="123"/>
                                    </a:moveTo>
                                    <a:lnTo>
                                      <a:pt x="159" y="91"/>
                                    </a:lnTo>
                                    <a:lnTo>
                                      <a:pt x="171" y="43"/>
                                    </a:lnTo>
                                    <a:lnTo>
                                      <a:pt x="171" y="12"/>
                                    </a:lnTo>
                                    <a:lnTo>
                                      <a:pt x="159" y="12"/>
                                    </a:lnTo>
                                    <a:lnTo>
                                      <a:pt x="135" y="0"/>
                                    </a:lnTo>
                                    <a:lnTo>
                                      <a:pt x="115" y="0"/>
                                    </a:lnTo>
                                    <a:lnTo>
                                      <a:pt x="91" y="12"/>
                                    </a:lnTo>
                                    <a:lnTo>
                                      <a:pt x="79" y="24"/>
                                    </a:lnTo>
                                    <a:lnTo>
                                      <a:pt x="36" y="12"/>
                                    </a:lnTo>
                                    <a:lnTo>
                                      <a:pt x="0" y="12"/>
                                    </a:lnTo>
                                    <a:lnTo>
                                      <a:pt x="0" y="43"/>
                                    </a:lnTo>
                                    <a:lnTo>
                                      <a:pt x="36" y="43"/>
                                    </a:lnTo>
                                    <a:lnTo>
                                      <a:pt x="67" y="55"/>
                                    </a:lnTo>
                                    <a:lnTo>
                                      <a:pt x="79" y="67"/>
                                    </a:lnTo>
                                    <a:lnTo>
                                      <a:pt x="103" y="79"/>
                                    </a:lnTo>
                                    <a:lnTo>
                                      <a:pt x="115" y="91"/>
                                    </a:lnTo>
                                    <a:lnTo>
                                      <a:pt x="127" y="91"/>
                                    </a:lnTo>
                                    <a:lnTo>
                                      <a:pt x="127" y="111"/>
                                    </a:lnTo>
                                    <a:lnTo>
                                      <a:pt x="135" y="123"/>
                                    </a:lnTo>
                                    <a:close/>
                                  </a:path>
                                </a:pathLst>
                              </a:custGeom>
                              <a:solidFill>
                                <a:srgbClr val="FFFFFF"/>
                              </a:solidFill>
                              <a:ln w="9360">
                                <a:solidFill>
                                  <a:srgbClr val="969696"/>
                                </a:solidFill>
                                <a:round/>
                                <a:headEnd/>
                                <a:tailEnd/>
                              </a:ln>
                            </p:spPr>
                            <p:txBody>
                              <a:bodyPr wrap="none" anchor="ctr"/>
                              <a:lstStyle/>
                              <a:p>
                                <a:endParaRPr lang="pt-BR"/>
                              </a:p>
                            </p:txBody>
                          </p:sp>
                          <p:sp>
                            <p:nvSpPr>
                              <p:cNvPr id="641" name="Freeform 4"/>
                              <p:cNvSpPr>
                                <a:spLocks noChangeArrowheads="1"/>
                              </p:cNvSpPr>
                              <p:nvPr/>
                            </p:nvSpPr>
                            <p:spPr bwMode="auto">
                              <a:xfrm>
                                <a:off x="7148527" y="2958119"/>
                                <a:ext cx="433760" cy="285731"/>
                              </a:xfrm>
                              <a:custGeom>
                                <a:avLst/>
                                <a:gdLst>
                                  <a:gd name="T0" fmla="*/ 2147483647 w 227"/>
                                  <a:gd name="T1" fmla="*/ 2147483647 h 148"/>
                                  <a:gd name="T2" fmla="*/ 2147483647 w 227"/>
                                  <a:gd name="T3" fmla="*/ 2147483647 h 148"/>
                                  <a:gd name="T4" fmla="*/ 2147483647 w 227"/>
                                  <a:gd name="T5" fmla="*/ 2147483647 h 148"/>
                                  <a:gd name="T6" fmla="*/ 2147483647 w 227"/>
                                  <a:gd name="T7" fmla="*/ 2147483647 h 148"/>
                                  <a:gd name="T8" fmla="*/ 2147483647 w 227"/>
                                  <a:gd name="T9" fmla="*/ 2147483647 h 148"/>
                                  <a:gd name="T10" fmla="*/ 2147483647 w 227"/>
                                  <a:gd name="T11" fmla="*/ 2147483647 h 148"/>
                                  <a:gd name="T12" fmla="*/ 2147483647 w 227"/>
                                  <a:gd name="T13" fmla="*/ 2147483647 h 148"/>
                                  <a:gd name="T14" fmla="*/ 2147483647 w 227"/>
                                  <a:gd name="T15" fmla="*/ 2147483647 h 148"/>
                                  <a:gd name="T16" fmla="*/ 2147483647 w 227"/>
                                  <a:gd name="T17" fmla="*/ 2147483647 h 148"/>
                                  <a:gd name="T18" fmla="*/ 2147483647 w 227"/>
                                  <a:gd name="T19" fmla="*/ 2147483647 h 148"/>
                                  <a:gd name="T20" fmla="*/ 2147483647 w 227"/>
                                  <a:gd name="T21" fmla="*/ 2147483647 h 148"/>
                                  <a:gd name="T22" fmla="*/ 2147483647 w 227"/>
                                  <a:gd name="T23" fmla="*/ 2147483647 h 148"/>
                                  <a:gd name="T24" fmla="*/ 2147483647 w 227"/>
                                  <a:gd name="T25" fmla="*/ 2147483647 h 148"/>
                                  <a:gd name="T26" fmla="*/ 2147483647 w 227"/>
                                  <a:gd name="T27" fmla="*/ 2147483647 h 148"/>
                                  <a:gd name="T28" fmla="*/ 2147483647 w 227"/>
                                  <a:gd name="T29" fmla="*/ 2147483647 h 148"/>
                                  <a:gd name="T30" fmla="*/ 2147483647 w 227"/>
                                  <a:gd name="T31" fmla="*/ 2147483647 h 148"/>
                                  <a:gd name="T32" fmla="*/ 2147483647 w 227"/>
                                  <a:gd name="T33" fmla="*/ 2147483647 h 148"/>
                                  <a:gd name="T34" fmla="*/ 2147483647 w 227"/>
                                  <a:gd name="T35" fmla="*/ 0 h 148"/>
                                  <a:gd name="T36" fmla="*/ 2147483647 w 227"/>
                                  <a:gd name="T37" fmla="*/ 0 h 148"/>
                                  <a:gd name="T38" fmla="*/ 2147483647 w 227"/>
                                  <a:gd name="T39" fmla="*/ 2147483647 h 148"/>
                                  <a:gd name="T40" fmla="*/ 2147483647 w 227"/>
                                  <a:gd name="T41" fmla="*/ 2147483647 h 148"/>
                                  <a:gd name="T42" fmla="*/ 2147483647 w 227"/>
                                  <a:gd name="T43" fmla="*/ 2147483647 h 148"/>
                                  <a:gd name="T44" fmla="*/ 2147483647 w 227"/>
                                  <a:gd name="T45" fmla="*/ 2147483647 h 148"/>
                                  <a:gd name="T46" fmla="*/ 0 w 227"/>
                                  <a:gd name="T47" fmla="*/ 2147483647 h 148"/>
                                  <a:gd name="T48" fmla="*/ 0 w 227"/>
                                  <a:gd name="T49" fmla="*/ 2147483647 h 148"/>
                                  <a:gd name="T50" fmla="*/ 2147483647 w 227"/>
                                  <a:gd name="T51" fmla="*/ 2147483647 h 148"/>
                                  <a:gd name="T52" fmla="*/ 2147483647 w 227"/>
                                  <a:gd name="T53" fmla="*/ 2147483647 h 14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27"/>
                                  <a:gd name="T82" fmla="*/ 0 h 148"/>
                                  <a:gd name="T83" fmla="*/ 227 w 227"/>
                                  <a:gd name="T84" fmla="*/ 148 h 14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27" h="148">
                                    <a:moveTo>
                                      <a:pt x="32" y="136"/>
                                    </a:moveTo>
                                    <a:lnTo>
                                      <a:pt x="68" y="136"/>
                                    </a:lnTo>
                                    <a:lnTo>
                                      <a:pt x="111" y="148"/>
                                    </a:lnTo>
                                    <a:lnTo>
                                      <a:pt x="123" y="136"/>
                                    </a:lnTo>
                                    <a:lnTo>
                                      <a:pt x="147" y="124"/>
                                    </a:lnTo>
                                    <a:lnTo>
                                      <a:pt x="167" y="124"/>
                                    </a:lnTo>
                                    <a:lnTo>
                                      <a:pt x="191" y="136"/>
                                    </a:lnTo>
                                    <a:lnTo>
                                      <a:pt x="203" y="136"/>
                                    </a:lnTo>
                                    <a:lnTo>
                                      <a:pt x="203" y="112"/>
                                    </a:lnTo>
                                    <a:lnTo>
                                      <a:pt x="227" y="88"/>
                                    </a:lnTo>
                                    <a:lnTo>
                                      <a:pt x="215" y="88"/>
                                    </a:lnTo>
                                    <a:lnTo>
                                      <a:pt x="191" y="68"/>
                                    </a:lnTo>
                                    <a:lnTo>
                                      <a:pt x="179" y="68"/>
                                    </a:lnTo>
                                    <a:lnTo>
                                      <a:pt x="159" y="32"/>
                                    </a:lnTo>
                                    <a:lnTo>
                                      <a:pt x="147" y="20"/>
                                    </a:lnTo>
                                    <a:lnTo>
                                      <a:pt x="135" y="12"/>
                                    </a:lnTo>
                                    <a:lnTo>
                                      <a:pt x="99" y="12"/>
                                    </a:lnTo>
                                    <a:lnTo>
                                      <a:pt x="68" y="0"/>
                                    </a:lnTo>
                                    <a:lnTo>
                                      <a:pt x="44" y="0"/>
                                    </a:lnTo>
                                    <a:lnTo>
                                      <a:pt x="32" y="12"/>
                                    </a:lnTo>
                                    <a:lnTo>
                                      <a:pt x="12" y="44"/>
                                    </a:lnTo>
                                    <a:lnTo>
                                      <a:pt x="12" y="68"/>
                                    </a:lnTo>
                                    <a:lnTo>
                                      <a:pt x="12" y="88"/>
                                    </a:lnTo>
                                    <a:lnTo>
                                      <a:pt x="0" y="100"/>
                                    </a:lnTo>
                                    <a:lnTo>
                                      <a:pt x="0" y="112"/>
                                    </a:lnTo>
                                    <a:lnTo>
                                      <a:pt x="24" y="124"/>
                                    </a:lnTo>
                                    <a:lnTo>
                                      <a:pt x="32" y="136"/>
                                    </a:lnTo>
                                    <a:close/>
                                  </a:path>
                                </a:pathLst>
                              </a:custGeom>
                              <a:solidFill>
                                <a:srgbClr val="FFFFFF"/>
                              </a:solidFill>
                              <a:ln w="9360">
                                <a:solidFill>
                                  <a:srgbClr val="969696"/>
                                </a:solidFill>
                                <a:round/>
                                <a:headEnd/>
                                <a:tailEnd/>
                              </a:ln>
                            </p:spPr>
                            <p:txBody>
                              <a:bodyPr wrap="none" anchor="ctr"/>
                              <a:lstStyle/>
                              <a:p>
                                <a:endParaRPr lang="pt-BR"/>
                              </a:p>
                            </p:txBody>
                          </p:sp>
                          <p:sp>
                            <p:nvSpPr>
                              <p:cNvPr id="642" name="Freeform 19"/>
                              <p:cNvSpPr>
                                <a:spLocks noChangeArrowheads="1"/>
                              </p:cNvSpPr>
                              <p:nvPr/>
                            </p:nvSpPr>
                            <p:spPr bwMode="auto">
                              <a:xfrm>
                                <a:off x="7203877" y="2298831"/>
                                <a:ext cx="502665" cy="420399"/>
                              </a:xfrm>
                              <a:custGeom>
                                <a:avLst/>
                                <a:gdLst>
                                  <a:gd name="T0" fmla="*/ 2147483647 w 262"/>
                                  <a:gd name="T1" fmla="*/ 2147483647 h 215"/>
                                  <a:gd name="T2" fmla="*/ 2147483647 w 262"/>
                                  <a:gd name="T3" fmla="*/ 2147483647 h 215"/>
                                  <a:gd name="T4" fmla="*/ 2147483647 w 262"/>
                                  <a:gd name="T5" fmla="*/ 2147483647 h 215"/>
                                  <a:gd name="T6" fmla="*/ 2147483647 w 262"/>
                                  <a:gd name="T7" fmla="*/ 2147483647 h 215"/>
                                  <a:gd name="T8" fmla="*/ 2147483647 w 262"/>
                                  <a:gd name="T9" fmla="*/ 2147483647 h 215"/>
                                  <a:gd name="T10" fmla="*/ 2147483647 w 262"/>
                                  <a:gd name="T11" fmla="*/ 2147483647 h 215"/>
                                  <a:gd name="T12" fmla="*/ 0 w 262"/>
                                  <a:gd name="T13" fmla="*/ 2147483647 h 215"/>
                                  <a:gd name="T14" fmla="*/ 0 w 262"/>
                                  <a:gd name="T15" fmla="*/ 2147483647 h 215"/>
                                  <a:gd name="T16" fmla="*/ 2147483647 w 262"/>
                                  <a:gd name="T17" fmla="*/ 2147483647 h 215"/>
                                  <a:gd name="T18" fmla="*/ 2147483647 w 262"/>
                                  <a:gd name="T19" fmla="*/ 2147483647 h 215"/>
                                  <a:gd name="T20" fmla="*/ 2147483647 w 262"/>
                                  <a:gd name="T21" fmla="*/ 2147483647 h 215"/>
                                  <a:gd name="T22" fmla="*/ 2147483647 w 262"/>
                                  <a:gd name="T23" fmla="*/ 2147483647 h 215"/>
                                  <a:gd name="T24" fmla="*/ 2147483647 w 262"/>
                                  <a:gd name="T25" fmla="*/ 2147483647 h 215"/>
                                  <a:gd name="T26" fmla="*/ 2147483647 w 262"/>
                                  <a:gd name="T27" fmla="*/ 2147483647 h 215"/>
                                  <a:gd name="T28" fmla="*/ 2147483647 w 262"/>
                                  <a:gd name="T29" fmla="*/ 2147483647 h 215"/>
                                  <a:gd name="T30" fmla="*/ 2147483647 w 262"/>
                                  <a:gd name="T31" fmla="*/ 2147483647 h 215"/>
                                  <a:gd name="T32" fmla="*/ 2147483647 w 262"/>
                                  <a:gd name="T33" fmla="*/ 2147483647 h 215"/>
                                  <a:gd name="T34" fmla="*/ 2147483647 w 262"/>
                                  <a:gd name="T35" fmla="*/ 2147483647 h 215"/>
                                  <a:gd name="T36" fmla="*/ 2147483647 w 262"/>
                                  <a:gd name="T37" fmla="*/ 2147483647 h 215"/>
                                  <a:gd name="T38" fmla="*/ 2147483647 w 262"/>
                                  <a:gd name="T39" fmla="*/ 2147483647 h 215"/>
                                  <a:gd name="T40" fmla="*/ 2147483647 w 262"/>
                                  <a:gd name="T41" fmla="*/ 2147483647 h 215"/>
                                  <a:gd name="T42" fmla="*/ 2147483647 w 262"/>
                                  <a:gd name="T43" fmla="*/ 2147483647 h 215"/>
                                  <a:gd name="T44" fmla="*/ 2147483647 w 262"/>
                                  <a:gd name="T45" fmla="*/ 2147483647 h 215"/>
                                  <a:gd name="T46" fmla="*/ 2147483647 w 262"/>
                                  <a:gd name="T47" fmla="*/ 2147483647 h 215"/>
                                  <a:gd name="T48" fmla="*/ 2147483647 w 262"/>
                                  <a:gd name="T49" fmla="*/ 0 h 215"/>
                                  <a:gd name="T50" fmla="*/ 2147483647 w 262"/>
                                  <a:gd name="T51" fmla="*/ 2147483647 h 215"/>
                                  <a:gd name="T52" fmla="*/ 2147483647 w 262"/>
                                  <a:gd name="T53" fmla="*/ 2147483647 h 215"/>
                                  <a:gd name="T54" fmla="*/ 2147483647 w 262"/>
                                  <a:gd name="T55" fmla="*/ 2147483647 h 215"/>
                                  <a:gd name="T56" fmla="*/ 2147483647 w 262"/>
                                  <a:gd name="T57" fmla="*/ 0 h 215"/>
                                  <a:gd name="T58" fmla="*/ 2147483647 w 262"/>
                                  <a:gd name="T59" fmla="*/ 0 h 215"/>
                                  <a:gd name="T60" fmla="*/ 2147483647 w 262"/>
                                  <a:gd name="T61" fmla="*/ 2147483647 h 215"/>
                                  <a:gd name="T62" fmla="*/ 2147483647 w 262"/>
                                  <a:gd name="T63" fmla="*/ 2147483647 h 21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62"/>
                                  <a:gd name="T97" fmla="*/ 0 h 215"/>
                                  <a:gd name="T98" fmla="*/ 262 w 262"/>
                                  <a:gd name="T99" fmla="*/ 215 h 21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62" h="215">
                                    <a:moveTo>
                                      <a:pt x="79" y="8"/>
                                    </a:moveTo>
                                    <a:lnTo>
                                      <a:pt x="79" y="32"/>
                                    </a:lnTo>
                                    <a:lnTo>
                                      <a:pt x="67" y="56"/>
                                    </a:lnTo>
                                    <a:lnTo>
                                      <a:pt x="48" y="68"/>
                                    </a:lnTo>
                                    <a:lnTo>
                                      <a:pt x="36" y="88"/>
                                    </a:lnTo>
                                    <a:lnTo>
                                      <a:pt x="12" y="112"/>
                                    </a:lnTo>
                                    <a:lnTo>
                                      <a:pt x="0" y="147"/>
                                    </a:lnTo>
                                    <a:lnTo>
                                      <a:pt x="0" y="167"/>
                                    </a:lnTo>
                                    <a:lnTo>
                                      <a:pt x="24" y="179"/>
                                    </a:lnTo>
                                    <a:lnTo>
                                      <a:pt x="67" y="215"/>
                                    </a:lnTo>
                                    <a:lnTo>
                                      <a:pt x="91" y="215"/>
                                    </a:lnTo>
                                    <a:lnTo>
                                      <a:pt x="115" y="191"/>
                                    </a:lnTo>
                                    <a:lnTo>
                                      <a:pt x="147" y="179"/>
                                    </a:lnTo>
                                    <a:lnTo>
                                      <a:pt x="195" y="179"/>
                                    </a:lnTo>
                                    <a:lnTo>
                                      <a:pt x="215" y="155"/>
                                    </a:lnTo>
                                    <a:lnTo>
                                      <a:pt x="215" y="147"/>
                                    </a:lnTo>
                                    <a:lnTo>
                                      <a:pt x="203" y="124"/>
                                    </a:lnTo>
                                    <a:lnTo>
                                      <a:pt x="215" y="112"/>
                                    </a:lnTo>
                                    <a:lnTo>
                                      <a:pt x="215" y="88"/>
                                    </a:lnTo>
                                    <a:lnTo>
                                      <a:pt x="227" y="80"/>
                                    </a:lnTo>
                                    <a:lnTo>
                                      <a:pt x="238" y="56"/>
                                    </a:lnTo>
                                    <a:lnTo>
                                      <a:pt x="262" y="68"/>
                                    </a:lnTo>
                                    <a:lnTo>
                                      <a:pt x="262" y="32"/>
                                    </a:lnTo>
                                    <a:lnTo>
                                      <a:pt x="250" y="8"/>
                                    </a:lnTo>
                                    <a:lnTo>
                                      <a:pt x="203" y="0"/>
                                    </a:lnTo>
                                    <a:lnTo>
                                      <a:pt x="183" y="8"/>
                                    </a:lnTo>
                                    <a:lnTo>
                                      <a:pt x="171" y="20"/>
                                    </a:lnTo>
                                    <a:lnTo>
                                      <a:pt x="147" y="8"/>
                                    </a:lnTo>
                                    <a:lnTo>
                                      <a:pt x="135" y="0"/>
                                    </a:lnTo>
                                    <a:lnTo>
                                      <a:pt x="115" y="0"/>
                                    </a:lnTo>
                                    <a:lnTo>
                                      <a:pt x="91" y="8"/>
                                    </a:lnTo>
                                    <a:lnTo>
                                      <a:pt x="79" y="8"/>
                                    </a:lnTo>
                                    <a:close/>
                                  </a:path>
                                </a:pathLst>
                              </a:custGeom>
                              <a:solidFill>
                                <a:srgbClr val="FFFFFF"/>
                              </a:solidFill>
                              <a:ln w="9360">
                                <a:solidFill>
                                  <a:srgbClr val="969696"/>
                                </a:solidFill>
                                <a:round/>
                                <a:headEnd/>
                                <a:tailEnd/>
                              </a:ln>
                            </p:spPr>
                            <p:txBody>
                              <a:bodyPr wrap="none" anchor="ctr"/>
                              <a:lstStyle/>
                              <a:p>
                                <a:endParaRPr lang="pt-BR"/>
                              </a:p>
                            </p:txBody>
                          </p:sp>
                          <p:sp>
                            <p:nvSpPr>
                              <p:cNvPr id="643" name="Freeform 7"/>
                              <p:cNvSpPr>
                                <a:spLocks noChangeArrowheads="1"/>
                              </p:cNvSpPr>
                              <p:nvPr/>
                            </p:nvSpPr>
                            <p:spPr bwMode="auto">
                              <a:xfrm>
                                <a:off x="7968604" y="2624377"/>
                                <a:ext cx="169438" cy="241232"/>
                              </a:xfrm>
                              <a:custGeom>
                                <a:avLst/>
                                <a:gdLst>
                                  <a:gd name="T0" fmla="*/ 2147483647 w 87"/>
                                  <a:gd name="T1" fmla="*/ 2147483647 h 124"/>
                                  <a:gd name="T2" fmla="*/ 2147483647 w 87"/>
                                  <a:gd name="T3" fmla="*/ 2147483647 h 124"/>
                                  <a:gd name="T4" fmla="*/ 2147483647 w 87"/>
                                  <a:gd name="T5" fmla="*/ 2147483647 h 124"/>
                                  <a:gd name="T6" fmla="*/ 2147483647 w 87"/>
                                  <a:gd name="T7" fmla="*/ 2147483647 h 124"/>
                                  <a:gd name="T8" fmla="*/ 2147483647 w 87"/>
                                  <a:gd name="T9" fmla="*/ 0 h 124"/>
                                  <a:gd name="T10" fmla="*/ 2147483647 w 87"/>
                                  <a:gd name="T11" fmla="*/ 0 h 124"/>
                                  <a:gd name="T12" fmla="*/ 2147483647 w 87"/>
                                  <a:gd name="T13" fmla="*/ 2147483647 h 124"/>
                                  <a:gd name="T14" fmla="*/ 2147483647 w 87"/>
                                  <a:gd name="T15" fmla="*/ 2147483647 h 124"/>
                                  <a:gd name="T16" fmla="*/ 2147483647 w 87"/>
                                  <a:gd name="T17" fmla="*/ 2147483647 h 124"/>
                                  <a:gd name="T18" fmla="*/ 2147483647 w 87"/>
                                  <a:gd name="T19" fmla="*/ 2147483647 h 124"/>
                                  <a:gd name="T20" fmla="*/ 2147483647 w 87"/>
                                  <a:gd name="T21" fmla="*/ 2147483647 h 124"/>
                                  <a:gd name="T22" fmla="*/ 0 w 87"/>
                                  <a:gd name="T23" fmla="*/ 2147483647 h 124"/>
                                  <a:gd name="T24" fmla="*/ 2147483647 w 87"/>
                                  <a:gd name="T25" fmla="*/ 2147483647 h 124"/>
                                  <a:gd name="T26" fmla="*/ 2147483647 w 87"/>
                                  <a:gd name="T27" fmla="*/ 2147483647 h 12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7"/>
                                  <a:gd name="T43" fmla="*/ 0 h 124"/>
                                  <a:gd name="T44" fmla="*/ 87 w 87"/>
                                  <a:gd name="T45" fmla="*/ 124 h 12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7" h="124">
                                    <a:moveTo>
                                      <a:pt x="43" y="124"/>
                                    </a:moveTo>
                                    <a:lnTo>
                                      <a:pt x="67" y="80"/>
                                    </a:lnTo>
                                    <a:lnTo>
                                      <a:pt x="75" y="36"/>
                                    </a:lnTo>
                                    <a:lnTo>
                                      <a:pt x="87" y="12"/>
                                    </a:lnTo>
                                    <a:lnTo>
                                      <a:pt x="75" y="0"/>
                                    </a:lnTo>
                                    <a:lnTo>
                                      <a:pt x="55" y="0"/>
                                    </a:lnTo>
                                    <a:lnTo>
                                      <a:pt x="43" y="12"/>
                                    </a:lnTo>
                                    <a:lnTo>
                                      <a:pt x="43" y="24"/>
                                    </a:lnTo>
                                    <a:lnTo>
                                      <a:pt x="31" y="48"/>
                                    </a:lnTo>
                                    <a:lnTo>
                                      <a:pt x="31" y="56"/>
                                    </a:lnTo>
                                    <a:lnTo>
                                      <a:pt x="8" y="80"/>
                                    </a:lnTo>
                                    <a:lnTo>
                                      <a:pt x="0" y="104"/>
                                    </a:lnTo>
                                    <a:lnTo>
                                      <a:pt x="8" y="124"/>
                                    </a:lnTo>
                                    <a:lnTo>
                                      <a:pt x="43" y="124"/>
                                    </a:lnTo>
                                    <a:close/>
                                  </a:path>
                                </a:pathLst>
                              </a:custGeom>
                              <a:solidFill>
                                <a:srgbClr val="FFFFFF"/>
                              </a:solidFill>
                              <a:ln w="9360">
                                <a:solidFill>
                                  <a:srgbClr val="969696"/>
                                </a:solidFill>
                                <a:round/>
                                <a:headEnd/>
                                <a:tailEnd/>
                              </a:ln>
                            </p:spPr>
                            <p:txBody>
                              <a:bodyPr wrap="none" anchor="ctr"/>
                              <a:lstStyle/>
                              <a:p>
                                <a:endParaRPr lang="pt-BR"/>
                              </a:p>
                            </p:txBody>
                          </p:sp>
                          <p:sp>
                            <p:nvSpPr>
                              <p:cNvPr id="644" name="Freeform 6"/>
                              <p:cNvSpPr>
                                <a:spLocks noChangeArrowheads="1"/>
                              </p:cNvSpPr>
                              <p:nvPr/>
                            </p:nvSpPr>
                            <p:spPr bwMode="auto">
                              <a:xfrm>
                                <a:off x="7746077" y="2829306"/>
                                <a:ext cx="306116" cy="168628"/>
                              </a:xfrm>
                              <a:custGeom>
                                <a:avLst/>
                                <a:gdLst>
                                  <a:gd name="T0" fmla="*/ 2147483647 w 159"/>
                                  <a:gd name="T1" fmla="*/ 2147483647 h 87"/>
                                  <a:gd name="T2" fmla="*/ 2147483647 w 159"/>
                                  <a:gd name="T3" fmla="*/ 2147483647 h 87"/>
                                  <a:gd name="T4" fmla="*/ 2147483647 w 159"/>
                                  <a:gd name="T5" fmla="*/ 2147483647 h 87"/>
                                  <a:gd name="T6" fmla="*/ 0 w 159"/>
                                  <a:gd name="T7" fmla="*/ 2147483647 h 87"/>
                                  <a:gd name="T8" fmla="*/ 2147483647 w 159"/>
                                  <a:gd name="T9" fmla="*/ 2147483647 h 87"/>
                                  <a:gd name="T10" fmla="*/ 2147483647 w 159"/>
                                  <a:gd name="T11" fmla="*/ 2147483647 h 87"/>
                                  <a:gd name="T12" fmla="*/ 2147483647 w 159"/>
                                  <a:gd name="T13" fmla="*/ 2147483647 h 87"/>
                                  <a:gd name="T14" fmla="*/ 2147483647 w 159"/>
                                  <a:gd name="T15" fmla="*/ 2147483647 h 87"/>
                                  <a:gd name="T16" fmla="*/ 2147483647 w 159"/>
                                  <a:gd name="T17" fmla="*/ 2147483647 h 87"/>
                                  <a:gd name="T18" fmla="*/ 2147483647 w 159"/>
                                  <a:gd name="T19" fmla="*/ 0 h 87"/>
                                  <a:gd name="T20" fmla="*/ 2147483647 w 159"/>
                                  <a:gd name="T21" fmla="*/ 2147483647 h 87"/>
                                  <a:gd name="T22" fmla="*/ 2147483647 w 159"/>
                                  <a:gd name="T23" fmla="*/ 2147483647 h 87"/>
                                  <a:gd name="T24" fmla="*/ 2147483647 w 159"/>
                                  <a:gd name="T25" fmla="*/ 2147483647 h 87"/>
                                  <a:gd name="T26" fmla="*/ 2147483647 w 159"/>
                                  <a:gd name="T27" fmla="*/ 2147483647 h 87"/>
                                  <a:gd name="T28" fmla="*/ 2147483647 w 159"/>
                                  <a:gd name="T29" fmla="*/ 2147483647 h 87"/>
                                  <a:gd name="T30" fmla="*/ 2147483647 w 159"/>
                                  <a:gd name="T31" fmla="*/ 2147483647 h 87"/>
                                  <a:gd name="T32" fmla="*/ 2147483647 w 159"/>
                                  <a:gd name="T33" fmla="*/ 2147483647 h 87"/>
                                  <a:gd name="T34" fmla="*/ 2147483647 w 159"/>
                                  <a:gd name="T35" fmla="*/ 2147483647 h 8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59"/>
                                  <a:gd name="T55" fmla="*/ 0 h 87"/>
                                  <a:gd name="T56" fmla="*/ 159 w 159"/>
                                  <a:gd name="T57" fmla="*/ 87 h 8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59" h="87">
                                    <a:moveTo>
                                      <a:pt x="12" y="87"/>
                                    </a:moveTo>
                                    <a:lnTo>
                                      <a:pt x="12" y="79"/>
                                    </a:lnTo>
                                    <a:lnTo>
                                      <a:pt x="24" y="67"/>
                                    </a:lnTo>
                                    <a:lnTo>
                                      <a:pt x="0" y="67"/>
                                    </a:lnTo>
                                    <a:lnTo>
                                      <a:pt x="24" y="55"/>
                                    </a:lnTo>
                                    <a:lnTo>
                                      <a:pt x="48" y="43"/>
                                    </a:lnTo>
                                    <a:lnTo>
                                      <a:pt x="68" y="43"/>
                                    </a:lnTo>
                                    <a:lnTo>
                                      <a:pt x="92" y="32"/>
                                    </a:lnTo>
                                    <a:lnTo>
                                      <a:pt x="104" y="12"/>
                                    </a:lnTo>
                                    <a:lnTo>
                                      <a:pt x="116" y="0"/>
                                    </a:lnTo>
                                    <a:lnTo>
                                      <a:pt x="124" y="20"/>
                                    </a:lnTo>
                                    <a:lnTo>
                                      <a:pt x="159" y="20"/>
                                    </a:lnTo>
                                    <a:lnTo>
                                      <a:pt x="147" y="32"/>
                                    </a:lnTo>
                                    <a:lnTo>
                                      <a:pt x="147" y="43"/>
                                    </a:lnTo>
                                    <a:lnTo>
                                      <a:pt x="124" y="55"/>
                                    </a:lnTo>
                                    <a:lnTo>
                                      <a:pt x="116" y="79"/>
                                    </a:lnTo>
                                    <a:lnTo>
                                      <a:pt x="56" y="79"/>
                                    </a:lnTo>
                                    <a:lnTo>
                                      <a:pt x="12" y="87"/>
                                    </a:lnTo>
                                    <a:close/>
                                  </a:path>
                                </a:pathLst>
                              </a:custGeom>
                              <a:solidFill>
                                <a:srgbClr val="FFFFFF"/>
                              </a:solidFill>
                              <a:ln w="9360">
                                <a:solidFill>
                                  <a:srgbClr val="969696"/>
                                </a:solidFill>
                                <a:round/>
                                <a:headEnd/>
                                <a:tailEnd/>
                              </a:ln>
                            </p:spPr>
                            <p:txBody>
                              <a:bodyPr wrap="none" anchor="ctr"/>
                              <a:lstStyle/>
                              <a:p>
                                <a:endParaRPr lang="pt-BR"/>
                              </a:p>
                            </p:txBody>
                          </p:sp>
                          <p:sp>
                            <p:nvSpPr>
                              <p:cNvPr id="645" name="Freeform 8"/>
                              <p:cNvSpPr>
                                <a:spLocks noChangeArrowheads="1"/>
                              </p:cNvSpPr>
                              <p:nvPr/>
                            </p:nvSpPr>
                            <p:spPr bwMode="auto">
                              <a:xfrm>
                                <a:off x="7380092" y="2384315"/>
                                <a:ext cx="757950" cy="573804"/>
                              </a:xfrm>
                              <a:custGeom>
                                <a:avLst/>
                                <a:gdLst>
                                  <a:gd name="T0" fmla="*/ 2147483647 w 394"/>
                                  <a:gd name="T1" fmla="*/ 2147483647 h 294"/>
                                  <a:gd name="T2" fmla="*/ 2147483647 w 394"/>
                                  <a:gd name="T3" fmla="*/ 2147483647 h 294"/>
                                  <a:gd name="T4" fmla="*/ 2147483647 w 394"/>
                                  <a:gd name="T5" fmla="*/ 2147483647 h 294"/>
                                  <a:gd name="T6" fmla="*/ 2147483647 w 394"/>
                                  <a:gd name="T7" fmla="*/ 2147483647 h 294"/>
                                  <a:gd name="T8" fmla="*/ 2147483647 w 394"/>
                                  <a:gd name="T9" fmla="*/ 2147483647 h 294"/>
                                  <a:gd name="T10" fmla="*/ 2147483647 w 394"/>
                                  <a:gd name="T11" fmla="*/ 2147483647 h 294"/>
                                  <a:gd name="T12" fmla="*/ 2147483647 w 394"/>
                                  <a:gd name="T13" fmla="*/ 2147483647 h 294"/>
                                  <a:gd name="T14" fmla="*/ 2147483647 w 394"/>
                                  <a:gd name="T15" fmla="*/ 2147483647 h 294"/>
                                  <a:gd name="T16" fmla="*/ 2147483647 w 394"/>
                                  <a:gd name="T17" fmla="*/ 2147483647 h 294"/>
                                  <a:gd name="T18" fmla="*/ 2147483647 w 394"/>
                                  <a:gd name="T19" fmla="*/ 2147483647 h 294"/>
                                  <a:gd name="T20" fmla="*/ 2147483647 w 394"/>
                                  <a:gd name="T21" fmla="*/ 2147483647 h 294"/>
                                  <a:gd name="T22" fmla="*/ 2147483647 w 394"/>
                                  <a:gd name="T23" fmla="*/ 0 h 294"/>
                                  <a:gd name="T24" fmla="*/ 2147483647 w 394"/>
                                  <a:gd name="T25" fmla="*/ 0 h 294"/>
                                  <a:gd name="T26" fmla="*/ 2147483647 w 394"/>
                                  <a:gd name="T27" fmla="*/ 2147483647 h 294"/>
                                  <a:gd name="T28" fmla="*/ 2147483647 w 394"/>
                                  <a:gd name="T29" fmla="*/ 2147483647 h 294"/>
                                  <a:gd name="T30" fmla="*/ 2147483647 w 394"/>
                                  <a:gd name="T31" fmla="*/ 2147483647 h 294"/>
                                  <a:gd name="T32" fmla="*/ 2147483647 w 394"/>
                                  <a:gd name="T33" fmla="*/ 2147483647 h 294"/>
                                  <a:gd name="T34" fmla="*/ 2147483647 w 394"/>
                                  <a:gd name="T35" fmla="*/ 2147483647 h 294"/>
                                  <a:gd name="T36" fmla="*/ 2147483647 w 394"/>
                                  <a:gd name="T37" fmla="*/ 2147483647 h 294"/>
                                  <a:gd name="T38" fmla="*/ 2147483647 w 394"/>
                                  <a:gd name="T39" fmla="*/ 2147483647 h 294"/>
                                  <a:gd name="T40" fmla="*/ 2147483647 w 394"/>
                                  <a:gd name="T41" fmla="*/ 2147483647 h 294"/>
                                  <a:gd name="T42" fmla="*/ 2147483647 w 394"/>
                                  <a:gd name="T43" fmla="*/ 2147483647 h 294"/>
                                  <a:gd name="T44" fmla="*/ 2147483647 w 394"/>
                                  <a:gd name="T45" fmla="*/ 2147483647 h 294"/>
                                  <a:gd name="T46" fmla="*/ 2147483647 w 394"/>
                                  <a:gd name="T47" fmla="*/ 2147483647 h 294"/>
                                  <a:gd name="T48" fmla="*/ 2147483647 w 394"/>
                                  <a:gd name="T49" fmla="*/ 2147483647 h 294"/>
                                  <a:gd name="T50" fmla="*/ 0 w 394"/>
                                  <a:gd name="T51" fmla="*/ 2147483647 h 294"/>
                                  <a:gd name="T52" fmla="*/ 0 w 394"/>
                                  <a:gd name="T53" fmla="*/ 2147483647 h 294"/>
                                  <a:gd name="T54" fmla="*/ 2147483647 w 394"/>
                                  <a:gd name="T55" fmla="*/ 2147483647 h 294"/>
                                  <a:gd name="T56" fmla="*/ 2147483647 w 394"/>
                                  <a:gd name="T57" fmla="*/ 2147483647 h 294"/>
                                  <a:gd name="T58" fmla="*/ 2147483647 w 394"/>
                                  <a:gd name="T59" fmla="*/ 2147483647 h 294"/>
                                  <a:gd name="T60" fmla="*/ 2147483647 w 394"/>
                                  <a:gd name="T61" fmla="*/ 2147483647 h 294"/>
                                  <a:gd name="T62" fmla="*/ 2147483647 w 394"/>
                                  <a:gd name="T63" fmla="*/ 2147483647 h 294"/>
                                  <a:gd name="T64" fmla="*/ 2147483647 w 394"/>
                                  <a:gd name="T65" fmla="*/ 2147483647 h 294"/>
                                  <a:gd name="T66" fmla="*/ 2147483647 w 394"/>
                                  <a:gd name="T67" fmla="*/ 2147483647 h 294"/>
                                  <a:gd name="T68" fmla="*/ 2147483647 w 394"/>
                                  <a:gd name="T69" fmla="*/ 2147483647 h 294"/>
                                  <a:gd name="T70" fmla="*/ 2147483647 w 394"/>
                                  <a:gd name="T71" fmla="*/ 2147483647 h 294"/>
                                  <a:gd name="T72" fmla="*/ 2147483647 w 394"/>
                                  <a:gd name="T73" fmla="*/ 2147483647 h 294"/>
                                  <a:gd name="T74" fmla="*/ 2147483647 w 394"/>
                                  <a:gd name="T75" fmla="*/ 2147483647 h 294"/>
                                  <a:gd name="T76" fmla="*/ 2147483647 w 394"/>
                                  <a:gd name="T77" fmla="*/ 2147483647 h 294"/>
                                  <a:gd name="T78" fmla="*/ 2147483647 w 394"/>
                                  <a:gd name="T79" fmla="*/ 2147483647 h 294"/>
                                  <a:gd name="T80" fmla="*/ 2147483647 w 394"/>
                                  <a:gd name="T81" fmla="*/ 2147483647 h 294"/>
                                  <a:gd name="T82" fmla="*/ 2147483647 w 394"/>
                                  <a:gd name="T83" fmla="*/ 2147483647 h 294"/>
                                  <a:gd name="T84" fmla="*/ 2147483647 w 394"/>
                                  <a:gd name="T85" fmla="*/ 2147483647 h 294"/>
                                  <a:gd name="T86" fmla="*/ 2147483647 w 394"/>
                                  <a:gd name="T87" fmla="*/ 2147483647 h 294"/>
                                  <a:gd name="T88" fmla="*/ 2147483647 w 394"/>
                                  <a:gd name="T89" fmla="*/ 2147483647 h 294"/>
                                  <a:gd name="T90" fmla="*/ 2147483647 w 394"/>
                                  <a:gd name="T91" fmla="*/ 2147483647 h 294"/>
                                  <a:gd name="T92" fmla="*/ 2147483647 w 394"/>
                                  <a:gd name="T93" fmla="*/ 2147483647 h 294"/>
                                  <a:gd name="T94" fmla="*/ 2147483647 w 394"/>
                                  <a:gd name="T95" fmla="*/ 2147483647 h 294"/>
                                  <a:gd name="T96" fmla="*/ 2147483647 w 394"/>
                                  <a:gd name="T97" fmla="*/ 2147483647 h 294"/>
                                  <a:gd name="T98" fmla="*/ 2147483647 w 394"/>
                                  <a:gd name="T99" fmla="*/ 2147483647 h 294"/>
                                  <a:gd name="T100" fmla="*/ 2147483647 w 394"/>
                                  <a:gd name="T101" fmla="*/ 2147483647 h 294"/>
                                  <a:gd name="T102" fmla="*/ 2147483647 w 394"/>
                                  <a:gd name="T103" fmla="*/ 2147483647 h 29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94"/>
                                  <a:gd name="T157" fmla="*/ 0 h 294"/>
                                  <a:gd name="T158" fmla="*/ 394 w 394"/>
                                  <a:gd name="T159" fmla="*/ 294 h 29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94" h="294">
                                    <a:moveTo>
                                      <a:pt x="382" y="111"/>
                                    </a:moveTo>
                                    <a:lnTo>
                                      <a:pt x="374" y="103"/>
                                    </a:lnTo>
                                    <a:lnTo>
                                      <a:pt x="382" y="80"/>
                                    </a:lnTo>
                                    <a:lnTo>
                                      <a:pt x="394" y="68"/>
                                    </a:lnTo>
                                    <a:lnTo>
                                      <a:pt x="394" y="56"/>
                                    </a:lnTo>
                                    <a:lnTo>
                                      <a:pt x="362" y="44"/>
                                    </a:lnTo>
                                    <a:lnTo>
                                      <a:pt x="350" y="44"/>
                                    </a:lnTo>
                                    <a:lnTo>
                                      <a:pt x="326" y="24"/>
                                    </a:lnTo>
                                    <a:lnTo>
                                      <a:pt x="307" y="24"/>
                                    </a:lnTo>
                                    <a:lnTo>
                                      <a:pt x="283" y="12"/>
                                    </a:lnTo>
                                    <a:lnTo>
                                      <a:pt x="259" y="12"/>
                                    </a:lnTo>
                                    <a:lnTo>
                                      <a:pt x="239" y="0"/>
                                    </a:lnTo>
                                    <a:lnTo>
                                      <a:pt x="203" y="0"/>
                                    </a:lnTo>
                                    <a:lnTo>
                                      <a:pt x="191" y="12"/>
                                    </a:lnTo>
                                    <a:lnTo>
                                      <a:pt x="171" y="24"/>
                                    </a:lnTo>
                                    <a:lnTo>
                                      <a:pt x="147" y="12"/>
                                    </a:lnTo>
                                    <a:lnTo>
                                      <a:pt x="136" y="36"/>
                                    </a:lnTo>
                                    <a:lnTo>
                                      <a:pt x="124" y="44"/>
                                    </a:lnTo>
                                    <a:lnTo>
                                      <a:pt x="124" y="68"/>
                                    </a:lnTo>
                                    <a:lnTo>
                                      <a:pt x="112" y="80"/>
                                    </a:lnTo>
                                    <a:lnTo>
                                      <a:pt x="124" y="103"/>
                                    </a:lnTo>
                                    <a:lnTo>
                                      <a:pt x="124" y="111"/>
                                    </a:lnTo>
                                    <a:lnTo>
                                      <a:pt x="104" y="135"/>
                                    </a:lnTo>
                                    <a:lnTo>
                                      <a:pt x="56" y="135"/>
                                    </a:lnTo>
                                    <a:lnTo>
                                      <a:pt x="24" y="147"/>
                                    </a:lnTo>
                                    <a:lnTo>
                                      <a:pt x="0" y="171"/>
                                    </a:lnTo>
                                    <a:lnTo>
                                      <a:pt x="0" y="191"/>
                                    </a:lnTo>
                                    <a:lnTo>
                                      <a:pt x="36" y="191"/>
                                    </a:lnTo>
                                    <a:lnTo>
                                      <a:pt x="56" y="203"/>
                                    </a:lnTo>
                                    <a:lnTo>
                                      <a:pt x="92" y="191"/>
                                    </a:lnTo>
                                    <a:lnTo>
                                      <a:pt x="112" y="203"/>
                                    </a:lnTo>
                                    <a:lnTo>
                                      <a:pt x="124" y="215"/>
                                    </a:lnTo>
                                    <a:lnTo>
                                      <a:pt x="124" y="239"/>
                                    </a:lnTo>
                                    <a:lnTo>
                                      <a:pt x="136" y="247"/>
                                    </a:lnTo>
                                    <a:lnTo>
                                      <a:pt x="136" y="259"/>
                                    </a:lnTo>
                                    <a:lnTo>
                                      <a:pt x="147" y="282"/>
                                    </a:lnTo>
                                    <a:lnTo>
                                      <a:pt x="171" y="294"/>
                                    </a:lnTo>
                                    <a:lnTo>
                                      <a:pt x="191" y="294"/>
                                    </a:lnTo>
                                    <a:lnTo>
                                      <a:pt x="215" y="282"/>
                                    </a:lnTo>
                                    <a:lnTo>
                                      <a:pt x="239" y="270"/>
                                    </a:lnTo>
                                    <a:lnTo>
                                      <a:pt x="259" y="270"/>
                                    </a:lnTo>
                                    <a:lnTo>
                                      <a:pt x="283" y="259"/>
                                    </a:lnTo>
                                    <a:lnTo>
                                      <a:pt x="295" y="239"/>
                                    </a:lnTo>
                                    <a:lnTo>
                                      <a:pt x="307" y="227"/>
                                    </a:lnTo>
                                    <a:lnTo>
                                      <a:pt x="315" y="203"/>
                                    </a:lnTo>
                                    <a:lnTo>
                                      <a:pt x="338" y="179"/>
                                    </a:lnTo>
                                    <a:lnTo>
                                      <a:pt x="338" y="171"/>
                                    </a:lnTo>
                                    <a:lnTo>
                                      <a:pt x="350" y="147"/>
                                    </a:lnTo>
                                    <a:lnTo>
                                      <a:pt x="350" y="135"/>
                                    </a:lnTo>
                                    <a:lnTo>
                                      <a:pt x="362" y="123"/>
                                    </a:lnTo>
                                    <a:lnTo>
                                      <a:pt x="382" y="123"/>
                                    </a:lnTo>
                                    <a:lnTo>
                                      <a:pt x="382" y="111"/>
                                    </a:lnTo>
                                    <a:close/>
                                  </a:path>
                                </a:pathLst>
                              </a:custGeom>
                              <a:solidFill>
                                <a:srgbClr val="FFFFFF"/>
                              </a:solidFill>
                              <a:ln w="9360">
                                <a:solidFill>
                                  <a:srgbClr val="969696"/>
                                </a:solidFill>
                                <a:round/>
                                <a:headEnd/>
                                <a:tailEnd/>
                              </a:ln>
                            </p:spPr>
                            <p:txBody>
                              <a:bodyPr wrap="none" anchor="ctr"/>
                              <a:lstStyle/>
                              <a:p>
                                <a:endParaRPr lang="pt-BR"/>
                              </a:p>
                            </p:txBody>
                          </p:sp>
                          <p:sp>
                            <p:nvSpPr>
                              <p:cNvPr id="646" name="Freeform 10"/>
                              <p:cNvSpPr>
                                <a:spLocks noChangeArrowheads="1"/>
                              </p:cNvSpPr>
                              <p:nvPr/>
                            </p:nvSpPr>
                            <p:spPr bwMode="auto">
                              <a:xfrm>
                                <a:off x="8229537" y="2036520"/>
                                <a:ext cx="127642" cy="146379"/>
                              </a:xfrm>
                              <a:custGeom>
                                <a:avLst/>
                                <a:gdLst>
                                  <a:gd name="T0" fmla="*/ 2147483647 w 67"/>
                                  <a:gd name="T1" fmla="*/ 2147483647 h 76"/>
                                  <a:gd name="T2" fmla="*/ 2147483647 w 67"/>
                                  <a:gd name="T3" fmla="*/ 2147483647 h 76"/>
                                  <a:gd name="T4" fmla="*/ 2147483647 w 67"/>
                                  <a:gd name="T5" fmla="*/ 2147483647 h 76"/>
                                  <a:gd name="T6" fmla="*/ 2147483647 w 67"/>
                                  <a:gd name="T7" fmla="*/ 0 h 76"/>
                                  <a:gd name="T8" fmla="*/ 2147483647 w 67"/>
                                  <a:gd name="T9" fmla="*/ 0 h 76"/>
                                  <a:gd name="T10" fmla="*/ 2147483647 w 67"/>
                                  <a:gd name="T11" fmla="*/ 2147483647 h 76"/>
                                  <a:gd name="T12" fmla="*/ 2147483647 w 67"/>
                                  <a:gd name="T13" fmla="*/ 2147483647 h 76"/>
                                  <a:gd name="T14" fmla="*/ 0 w 67"/>
                                  <a:gd name="T15" fmla="*/ 2147483647 h 76"/>
                                  <a:gd name="T16" fmla="*/ 0 w 67"/>
                                  <a:gd name="T17" fmla="*/ 2147483647 h 76"/>
                                  <a:gd name="T18" fmla="*/ 2147483647 w 67"/>
                                  <a:gd name="T19" fmla="*/ 2147483647 h 76"/>
                                  <a:gd name="T20" fmla="*/ 2147483647 w 67"/>
                                  <a:gd name="T21" fmla="*/ 2147483647 h 76"/>
                                  <a:gd name="T22" fmla="*/ 2147483647 w 67"/>
                                  <a:gd name="T23" fmla="*/ 2147483647 h 7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7"/>
                                  <a:gd name="T37" fmla="*/ 0 h 76"/>
                                  <a:gd name="T38" fmla="*/ 67 w 67"/>
                                  <a:gd name="T39" fmla="*/ 76 h 7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7" h="76">
                                    <a:moveTo>
                                      <a:pt x="44" y="76"/>
                                    </a:moveTo>
                                    <a:lnTo>
                                      <a:pt x="67" y="32"/>
                                    </a:lnTo>
                                    <a:lnTo>
                                      <a:pt x="55" y="20"/>
                                    </a:lnTo>
                                    <a:lnTo>
                                      <a:pt x="32" y="0"/>
                                    </a:lnTo>
                                    <a:lnTo>
                                      <a:pt x="20" y="0"/>
                                    </a:lnTo>
                                    <a:lnTo>
                                      <a:pt x="20" y="20"/>
                                    </a:lnTo>
                                    <a:lnTo>
                                      <a:pt x="8" y="32"/>
                                    </a:lnTo>
                                    <a:lnTo>
                                      <a:pt x="0" y="32"/>
                                    </a:lnTo>
                                    <a:lnTo>
                                      <a:pt x="0" y="44"/>
                                    </a:lnTo>
                                    <a:lnTo>
                                      <a:pt x="8" y="56"/>
                                    </a:lnTo>
                                    <a:lnTo>
                                      <a:pt x="8" y="68"/>
                                    </a:lnTo>
                                    <a:lnTo>
                                      <a:pt x="44" y="76"/>
                                    </a:lnTo>
                                    <a:close/>
                                  </a:path>
                                </a:pathLst>
                              </a:custGeom>
                              <a:solidFill>
                                <a:srgbClr val="FFFFFF"/>
                              </a:solidFill>
                              <a:ln w="9360">
                                <a:solidFill>
                                  <a:srgbClr val="969696"/>
                                </a:solidFill>
                                <a:round/>
                                <a:headEnd/>
                                <a:tailEnd/>
                              </a:ln>
                            </p:spPr>
                            <p:txBody>
                              <a:bodyPr wrap="none" anchor="ctr"/>
                              <a:lstStyle/>
                              <a:p>
                                <a:endParaRPr lang="pt-BR"/>
                              </a:p>
                            </p:txBody>
                          </p:sp>
                          <p:sp>
                            <p:nvSpPr>
                              <p:cNvPr id="647" name="Freeform 13"/>
                              <p:cNvSpPr>
                                <a:spLocks noChangeArrowheads="1"/>
                              </p:cNvSpPr>
                              <p:nvPr/>
                            </p:nvSpPr>
                            <p:spPr bwMode="auto">
                              <a:xfrm>
                                <a:off x="8160634" y="1744935"/>
                                <a:ext cx="328708" cy="155747"/>
                              </a:xfrm>
                              <a:custGeom>
                                <a:avLst/>
                                <a:gdLst>
                                  <a:gd name="T0" fmla="*/ 2147483647 w 171"/>
                                  <a:gd name="T1" fmla="*/ 2147483647 h 79"/>
                                  <a:gd name="T2" fmla="*/ 2147483647 w 171"/>
                                  <a:gd name="T3" fmla="*/ 2147483647 h 79"/>
                                  <a:gd name="T4" fmla="*/ 2147483647 w 171"/>
                                  <a:gd name="T5" fmla="*/ 2147483647 h 79"/>
                                  <a:gd name="T6" fmla="*/ 2147483647 w 171"/>
                                  <a:gd name="T7" fmla="*/ 2147483647 h 79"/>
                                  <a:gd name="T8" fmla="*/ 2147483647 w 171"/>
                                  <a:gd name="T9" fmla="*/ 2147483647 h 79"/>
                                  <a:gd name="T10" fmla="*/ 2147483647 w 171"/>
                                  <a:gd name="T11" fmla="*/ 2147483647 h 79"/>
                                  <a:gd name="T12" fmla="*/ 2147483647 w 171"/>
                                  <a:gd name="T13" fmla="*/ 2147483647 h 79"/>
                                  <a:gd name="T14" fmla="*/ 2147483647 w 171"/>
                                  <a:gd name="T15" fmla="*/ 2147483647 h 79"/>
                                  <a:gd name="T16" fmla="*/ 2147483647 w 171"/>
                                  <a:gd name="T17" fmla="*/ 2147483647 h 79"/>
                                  <a:gd name="T18" fmla="*/ 2147483647 w 171"/>
                                  <a:gd name="T19" fmla="*/ 0 h 79"/>
                                  <a:gd name="T20" fmla="*/ 2147483647 w 171"/>
                                  <a:gd name="T21" fmla="*/ 2147483647 h 79"/>
                                  <a:gd name="T22" fmla="*/ 2147483647 w 171"/>
                                  <a:gd name="T23" fmla="*/ 2147483647 h 79"/>
                                  <a:gd name="T24" fmla="*/ 2147483647 w 171"/>
                                  <a:gd name="T25" fmla="*/ 2147483647 h 79"/>
                                  <a:gd name="T26" fmla="*/ 2147483647 w 171"/>
                                  <a:gd name="T27" fmla="*/ 2147483647 h 79"/>
                                  <a:gd name="T28" fmla="*/ 0 w 171"/>
                                  <a:gd name="T29" fmla="*/ 2147483647 h 79"/>
                                  <a:gd name="T30" fmla="*/ 2147483647 w 171"/>
                                  <a:gd name="T31" fmla="*/ 2147483647 h 79"/>
                                  <a:gd name="T32" fmla="*/ 2147483647 w 171"/>
                                  <a:gd name="T33" fmla="*/ 2147483647 h 79"/>
                                  <a:gd name="T34" fmla="*/ 2147483647 w 171"/>
                                  <a:gd name="T35" fmla="*/ 2147483647 h 79"/>
                                  <a:gd name="T36" fmla="*/ 2147483647 w 171"/>
                                  <a:gd name="T37" fmla="*/ 2147483647 h 79"/>
                                  <a:gd name="T38" fmla="*/ 2147483647 w 171"/>
                                  <a:gd name="T39" fmla="*/ 2147483647 h 79"/>
                                  <a:gd name="T40" fmla="*/ 2147483647 w 171"/>
                                  <a:gd name="T41" fmla="*/ 2147483647 h 79"/>
                                  <a:gd name="T42" fmla="*/ 2147483647 w 171"/>
                                  <a:gd name="T43" fmla="*/ 2147483647 h 79"/>
                                  <a:gd name="T44" fmla="*/ 2147483647 w 171"/>
                                  <a:gd name="T45" fmla="*/ 2147483647 h 79"/>
                                  <a:gd name="T46" fmla="*/ 2147483647 w 171"/>
                                  <a:gd name="T47" fmla="*/ 2147483647 h 79"/>
                                  <a:gd name="T48" fmla="*/ 2147483647 w 171"/>
                                  <a:gd name="T49" fmla="*/ 2147483647 h 7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71"/>
                                  <a:gd name="T76" fmla="*/ 0 h 79"/>
                                  <a:gd name="T77" fmla="*/ 171 w 171"/>
                                  <a:gd name="T78" fmla="*/ 79 h 7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71" h="79">
                                    <a:moveTo>
                                      <a:pt x="171" y="44"/>
                                    </a:moveTo>
                                    <a:lnTo>
                                      <a:pt x="159" y="20"/>
                                    </a:lnTo>
                                    <a:lnTo>
                                      <a:pt x="123" y="20"/>
                                    </a:lnTo>
                                    <a:lnTo>
                                      <a:pt x="111" y="12"/>
                                    </a:lnTo>
                                    <a:lnTo>
                                      <a:pt x="103" y="12"/>
                                    </a:lnTo>
                                    <a:lnTo>
                                      <a:pt x="103" y="20"/>
                                    </a:lnTo>
                                    <a:lnTo>
                                      <a:pt x="103" y="32"/>
                                    </a:lnTo>
                                    <a:lnTo>
                                      <a:pt x="56" y="32"/>
                                    </a:lnTo>
                                    <a:lnTo>
                                      <a:pt x="80" y="12"/>
                                    </a:lnTo>
                                    <a:lnTo>
                                      <a:pt x="68" y="0"/>
                                    </a:lnTo>
                                    <a:lnTo>
                                      <a:pt x="56" y="12"/>
                                    </a:lnTo>
                                    <a:lnTo>
                                      <a:pt x="36" y="20"/>
                                    </a:lnTo>
                                    <a:lnTo>
                                      <a:pt x="24" y="20"/>
                                    </a:lnTo>
                                    <a:lnTo>
                                      <a:pt x="12" y="55"/>
                                    </a:lnTo>
                                    <a:lnTo>
                                      <a:pt x="0" y="67"/>
                                    </a:lnTo>
                                    <a:lnTo>
                                      <a:pt x="36" y="79"/>
                                    </a:lnTo>
                                    <a:lnTo>
                                      <a:pt x="44" y="67"/>
                                    </a:lnTo>
                                    <a:lnTo>
                                      <a:pt x="68" y="55"/>
                                    </a:lnTo>
                                    <a:lnTo>
                                      <a:pt x="80" y="55"/>
                                    </a:lnTo>
                                    <a:lnTo>
                                      <a:pt x="68" y="79"/>
                                    </a:lnTo>
                                    <a:lnTo>
                                      <a:pt x="91" y="79"/>
                                    </a:lnTo>
                                    <a:lnTo>
                                      <a:pt x="103" y="67"/>
                                    </a:lnTo>
                                    <a:lnTo>
                                      <a:pt x="135" y="67"/>
                                    </a:lnTo>
                                    <a:lnTo>
                                      <a:pt x="159" y="44"/>
                                    </a:lnTo>
                                    <a:lnTo>
                                      <a:pt x="171" y="44"/>
                                    </a:lnTo>
                                    <a:close/>
                                  </a:path>
                                </a:pathLst>
                              </a:custGeom>
                              <a:solidFill>
                                <a:srgbClr val="FFFFFF"/>
                              </a:solidFill>
                              <a:ln w="9360">
                                <a:solidFill>
                                  <a:srgbClr val="969696"/>
                                </a:solidFill>
                                <a:round/>
                                <a:headEnd/>
                                <a:tailEnd/>
                              </a:ln>
                            </p:spPr>
                            <p:txBody>
                              <a:bodyPr wrap="none" anchor="ctr"/>
                              <a:lstStyle/>
                              <a:p>
                                <a:endParaRPr lang="pt-BR"/>
                              </a:p>
                            </p:txBody>
                          </p:sp>
                          <p:sp>
                            <p:nvSpPr>
                              <p:cNvPr id="648" name="Freeform 9"/>
                              <p:cNvSpPr>
                                <a:spLocks noChangeArrowheads="1"/>
                              </p:cNvSpPr>
                              <p:nvPr/>
                            </p:nvSpPr>
                            <p:spPr bwMode="auto">
                              <a:xfrm>
                                <a:off x="7661358" y="1941666"/>
                                <a:ext cx="651769" cy="707301"/>
                              </a:xfrm>
                              <a:custGeom>
                                <a:avLst/>
                                <a:gdLst>
                                  <a:gd name="T0" fmla="*/ 2147483647 w 339"/>
                                  <a:gd name="T1" fmla="*/ 2147483647 h 362"/>
                                  <a:gd name="T2" fmla="*/ 2147483647 w 339"/>
                                  <a:gd name="T3" fmla="*/ 2147483647 h 362"/>
                                  <a:gd name="T4" fmla="*/ 2147483647 w 339"/>
                                  <a:gd name="T5" fmla="*/ 2147483647 h 362"/>
                                  <a:gd name="T6" fmla="*/ 2147483647 w 339"/>
                                  <a:gd name="T7" fmla="*/ 2147483647 h 362"/>
                                  <a:gd name="T8" fmla="*/ 2147483647 w 339"/>
                                  <a:gd name="T9" fmla="*/ 2147483647 h 362"/>
                                  <a:gd name="T10" fmla="*/ 2147483647 w 339"/>
                                  <a:gd name="T11" fmla="*/ 2147483647 h 362"/>
                                  <a:gd name="T12" fmla="*/ 2147483647 w 339"/>
                                  <a:gd name="T13" fmla="*/ 2147483647 h 362"/>
                                  <a:gd name="T14" fmla="*/ 2147483647 w 339"/>
                                  <a:gd name="T15" fmla="*/ 2147483647 h 362"/>
                                  <a:gd name="T16" fmla="*/ 2147483647 w 339"/>
                                  <a:gd name="T17" fmla="*/ 2147483647 h 362"/>
                                  <a:gd name="T18" fmla="*/ 2147483647 w 339"/>
                                  <a:gd name="T19" fmla="*/ 2147483647 h 362"/>
                                  <a:gd name="T20" fmla="*/ 2147483647 w 339"/>
                                  <a:gd name="T21" fmla="*/ 2147483647 h 362"/>
                                  <a:gd name="T22" fmla="*/ 2147483647 w 339"/>
                                  <a:gd name="T23" fmla="*/ 2147483647 h 362"/>
                                  <a:gd name="T24" fmla="*/ 2147483647 w 339"/>
                                  <a:gd name="T25" fmla="*/ 2147483647 h 362"/>
                                  <a:gd name="T26" fmla="*/ 2147483647 w 339"/>
                                  <a:gd name="T27" fmla="*/ 2147483647 h 362"/>
                                  <a:gd name="T28" fmla="*/ 2147483647 w 339"/>
                                  <a:gd name="T29" fmla="*/ 2147483647 h 362"/>
                                  <a:gd name="T30" fmla="*/ 2147483647 w 339"/>
                                  <a:gd name="T31" fmla="*/ 2147483647 h 362"/>
                                  <a:gd name="T32" fmla="*/ 2147483647 w 339"/>
                                  <a:gd name="T33" fmla="*/ 2147483647 h 362"/>
                                  <a:gd name="T34" fmla="*/ 2147483647 w 339"/>
                                  <a:gd name="T35" fmla="*/ 2147483647 h 362"/>
                                  <a:gd name="T36" fmla="*/ 2147483647 w 339"/>
                                  <a:gd name="T37" fmla="*/ 2147483647 h 362"/>
                                  <a:gd name="T38" fmla="*/ 2147483647 w 339"/>
                                  <a:gd name="T39" fmla="*/ 2147483647 h 362"/>
                                  <a:gd name="T40" fmla="*/ 2147483647 w 339"/>
                                  <a:gd name="T41" fmla="*/ 2147483647 h 362"/>
                                  <a:gd name="T42" fmla="*/ 2147483647 w 339"/>
                                  <a:gd name="T43" fmla="*/ 2147483647 h 362"/>
                                  <a:gd name="T44" fmla="*/ 2147483647 w 339"/>
                                  <a:gd name="T45" fmla="*/ 2147483647 h 362"/>
                                  <a:gd name="T46" fmla="*/ 2147483647 w 339"/>
                                  <a:gd name="T47" fmla="*/ 2147483647 h 362"/>
                                  <a:gd name="T48" fmla="*/ 2147483647 w 339"/>
                                  <a:gd name="T49" fmla="*/ 2147483647 h 362"/>
                                  <a:gd name="T50" fmla="*/ 2147483647 w 339"/>
                                  <a:gd name="T51" fmla="*/ 2147483647 h 362"/>
                                  <a:gd name="T52" fmla="*/ 2147483647 w 339"/>
                                  <a:gd name="T53" fmla="*/ 2147483647 h 362"/>
                                  <a:gd name="T54" fmla="*/ 2147483647 w 339"/>
                                  <a:gd name="T55" fmla="*/ 2147483647 h 362"/>
                                  <a:gd name="T56" fmla="*/ 2147483647 w 339"/>
                                  <a:gd name="T57" fmla="*/ 2147483647 h 362"/>
                                  <a:gd name="T58" fmla="*/ 2147483647 w 339"/>
                                  <a:gd name="T59" fmla="*/ 2147483647 h 362"/>
                                  <a:gd name="T60" fmla="*/ 2147483647 w 339"/>
                                  <a:gd name="T61" fmla="*/ 2147483647 h 362"/>
                                  <a:gd name="T62" fmla="*/ 2147483647 w 339"/>
                                  <a:gd name="T63" fmla="*/ 2147483647 h 362"/>
                                  <a:gd name="T64" fmla="*/ 2147483647 w 339"/>
                                  <a:gd name="T65" fmla="*/ 2147483647 h 362"/>
                                  <a:gd name="T66" fmla="*/ 2147483647 w 339"/>
                                  <a:gd name="T67" fmla="*/ 2147483647 h 362"/>
                                  <a:gd name="T68" fmla="*/ 2147483647 w 339"/>
                                  <a:gd name="T69" fmla="*/ 2147483647 h 362"/>
                                  <a:gd name="T70" fmla="*/ 2147483647 w 339"/>
                                  <a:gd name="T71" fmla="*/ 2147483647 h 362"/>
                                  <a:gd name="T72" fmla="*/ 2147483647 w 339"/>
                                  <a:gd name="T73" fmla="*/ 2147483647 h 362"/>
                                  <a:gd name="T74" fmla="*/ 2147483647 w 339"/>
                                  <a:gd name="T75" fmla="*/ 0 h 362"/>
                                  <a:gd name="T76" fmla="*/ 2147483647 w 339"/>
                                  <a:gd name="T77" fmla="*/ 2147483647 h 362"/>
                                  <a:gd name="T78" fmla="*/ 2147483647 w 339"/>
                                  <a:gd name="T79" fmla="*/ 2147483647 h 362"/>
                                  <a:gd name="T80" fmla="*/ 2147483647 w 339"/>
                                  <a:gd name="T81" fmla="*/ 2147483647 h 362"/>
                                  <a:gd name="T82" fmla="*/ 2147483647 w 339"/>
                                  <a:gd name="T83" fmla="*/ 0 h 362"/>
                                  <a:gd name="T84" fmla="*/ 2147483647 w 339"/>
                                  <a:gd name="T85" fmla="*/ 2147483647 h 362"/>
                                  <a:gd name="T86" fmla="*/ 2147483647 w 339"/>
                                  <a:gd name="T87" fmla="*/ 2147483647 h 362"/>
                                  <a:gd name="T88" fmla="*/ 2147483647 w 339"/>
                                  <a:gd name="T89" fmla="*/ 2147483647 h 362"/>
                                  <a:gd name="T90" fmla="*/ 2147483647 w 339"/>
                                  <a:gd name="T91" fmla="*/ 2147483647 h 362"/>
                                  <a:gd name="T92" fmla="*/ 2147483647 w 339"/>
                                  <a:gd name="T93" fmla="*/ 2147483647 h 362"/>
                                  <a:gd name="T94" fmla="*/ 2147483647 w 339"/>
                                  <a:gd name="T95" fmla="*/ 2147483647 h 362"/>
                                  <a:gd name="T96" fmla="*/ 2147483647 w 339"/>
                                  <a:gd name="T97" fmla="*/ 2147483647 h 362"/>
                                  <a:gd name="T98" fmla="*/ 2147483647 w 339"/>
                                  <a:gd name="T99" fmla="*/ 2147483647 h 362"/>
                                  <a:gd name="T100" fmla="*/ 2147483647 w 339"/>
                                  <a:gd name="T101" fmla="*/ 2147483647 h 362"/>
                                  <a:gd name="T102" fmla="*/ 2147483647 w 339"/>
                                  <a:gd name="T103" fmla="*/ 2147483647 h 362"/>
                                  <a:gd name="T104" fmla="*/ 2147483647 w 339"/>
                                  <a:gd name="T105" fmla="*/ 2147483647 h 362"/>
                                  <a:gd name="T106" fmla="*/ 2147483647 w 339"/>
                                  <a:gd name="T107" fmla="*/ 2147483647 h 362"/>
                                  <a:gd name="T108" fmla="*/ 0 w 339"/>
                                  <a:gd name="T109" fmla="*/ 2147483647 h 362"/>
                                  <a:gd name="T110" fmla="*/ 2147483647 w 339"/>
                                  <a:gd name="T111" fmla="*/ 2147483647 h 362"/>
                                  <a:gd name="T112" fmla="*/ 2147483647 w 339"/>
                                  <a:gd name="T113" fmla="*/ 2147483647 h 362"/>
                                  <a:gd name="T114" fmla="*/ 2147483647 w 339"/>
                                  <a:gd name="T115" fmla="*/ 2147483647 h 362"/>
                                  <a:gd name="T116" fmla="*/ 2147483647 w 339"/>
                                  <a:gd name="T117" fmla="*/ 2147483647 h 36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39"/>
                                  <a:gd name="T178" fmla="*/ 0 h 362"/>
                                  <a:gd name="T179" fmla="*/ 339 w 339"/>
                                  <a:gd name="T180" fmla="*/ 362 h 36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39" h="362">
                                    <a:moveTo>
                                      <a:pt x="24" y="251"/>
                                    </a:moveTo>
                                    <a:lnTo>
                                      <a:pt x="44" y="239"/>
                                    </a:lnTo>
                                    <a:lnTo>
                                      <a:pt x="56" y="227"/>
                                    </a:lnTo>
                                    <a:lnTo>
                                      <a:pt x="92" y="227"/>
                                    </a:lnTo>
                                    <a:lnTo>
                                      <a:pt x="112" y="239"/>
                                    </a:lnTo>
                                    <a:lnTo>
                                      <a:pt x="136" y="239"/>
                                    </a:lnTo>
                                    <a:lnTo>
                                      <a:pt x="160" y="251"/>
                                    </a:lnTo>
                                    <a:lnTo>
                                      <a:pt x="179" y="251"/>
                                    </a:lnTo>
                                    <a:lnTo>
                                      <a:pt x="203" y="271"/>
                                    </a:lnTo>
                                    <a:lnTo>
                                      <a:pt x="215" y="271"/>
                                    </a:lnTo>
                                    <a:lnTo>
                                      <a:pt x="247" y="283"/>
                                    </a:lnTo>
                                    <a:lnTo>
                                      <a:pt x="247" y="295"/>
                                    </a:lnTo>
                                    <a:lnTo>
                                      <a:pt x="235" y="307"/>
                                    </a:lnTo>
                                    <a:lnTo>
                                      <a:pt x="227" y="330"/>
                                    </a:lnTo>
                                    <a:lnTo>
                                      <a:pt x="235" y="338"/>
                                    </a:lnTo>
                                    <a:lnTo>
                                      <a:pt x="235" y="350"/>
                                    </a:lnTo>
                                    <a:lnTo>
                                      <a:pt x="247" y="362"/>
                                    </a:lnTo>
                                    <a:lnTo>
                                      <a:pt x="259" y="350"/>
                                    </a:lnTo>
                                    <a:lnTo>
                                      <a:pt x="271" y="330"/>
                                    </a:lnTo>
                                    <a:lnTo>
                                      <a:pt x="271" y="295"/>
                                    </a:lnTo>
                                    <a:lnTo>
                                      <a:pt x="283" y="271"/>
                                    </a:lnTo>
                                    <a:lnTo>
                                      <a:pt x="283" y="191"/>
                                    </a:lnTo>
                                    <a:lnTo>
                                      <a:pt x="295" y="171"/>
                                    </a:lnTo>
                                    <a:lnTo>
                                      <a:pt x="295" y="183"/>
                                    </a:lnTo>
                                    <a:lnTo>
                                      <a:pt x="303" y="183"/>
                                    </a:lnTo>
                                    <a:lnTo>
                                      <a:pt x="327" y="135"/>
                                    </a:lnTo>
                                    <a:lnTo>
                                      <a:pt x="339" y="124"/>
                                    </a:lnTo>
                                    <a:lnTo>
                                      <a:pt x="303" y="116"/>
                                    </a:lnTo>
                                    <a:lnTo>
                                      <a:pt x="303" y="104"/>
                                    </a:lnTo>
                                    <a:lnTo>
                                      <a:pt x="295" y="92"/>
                                    </a:lnTo>
                                    <a:lnTo>
                                      <a:pt x="295" y="80"/>
                                    </a:lnTo>
                                    <a:lnTo>
                                      <a:pt x="303" y="80"/>
                                    </a:lnTo>
                                    <a:lnTo>
                                      <a:pt x="315" y="68"/>
                                    </a:lnTo>
                                    <a:lnTo>
                                      <a:pt x="315" y="48"/>
                                    </a:lnTo>
                                    <a:lnTo>
                                      <a:pt x="303" y="24"/>
                                    </a:lnTo>
                                    <a:lnTo>
                                      <a:pt x="295" y="24"/>
                                    </a:lnTo>
                                    <a:lnTo>
                                      <a:pt x="295" y="12"/>
                                    </a:lnTo>
                                    <a:lnTo>
                                      <a:pt x="247" y="0"/>
                                    </a:lnTo>
                                    <a:lnTo>
                                      <a:pt x="227" y="24"/>
                                    </a:lnTo>
                                    <a:lnTo>
                                      <a:pt x="203" y="24"/>
                                    </a:lnTo>
                                    <a:lnTo>
                                      <a:pt x="203" y="12"/>
                                    </a:lnTo>
                                    <a:lnTo>
                                      <a:pt x="191" y="0"/>
                                    </a:lnTo>
                                    <a:lnTo>
                                      <a:pt x="168" y="24"/>
                                    </a:lnTo>
                                    <a:lnTo>
                                      <a:pt x="124" y="36"/>
                                    </a:lnTo>
                                    <a:lnTo>
                                      <a:pt x="100" y="24"/>
                                    </a:lnTo>
                                    <a:lnTo>
                                      <a:pt x="92" y="36"/>
                                    </a:lnTo>
                                    <a:lnTo>
                                      <a:pt x="92" y="48"/>
                                    </a:lnTo>
                                    <a:lnTo>
                                      <a:pt x="100" y="56"/>
                                    </a:lnTo>
                                    <a:lnTo>
                                      <a:pt x="100" y="68"/>
                                    </a:lnTo>
                                    <a:lnTo>
                                      <a:pt x="80" y="92"/>
                                    </a:lnTo>
                                    <a:lnTo>
                                      <a:pt x="56" y="92"/>
                                    </a:lnTo>
                                    <a:lnTo>
                                      <a:pt x="32" y="80"/>
                                    </a:lnTo>
                                    <a:lnTo>
                                      <a:pt x="24" y="80"/>
                                    </a:lnTo>
                                    <a:lnTo>
                                      <a:pt x="12" y="92"/>
                                    </a:lnTo>
                                    <a:lnTo>
                                      <a:pt x="0" y="116"/>
                                    </a:lnTo>
                                    <a:lnTo>
                                      <a:pt x="12" y="147"/>
                                    </a:lnTo>
                                    <a:lnTo>
                                      <a:pt x="12" y="191"/>
                                    </a:lnTo>
                                    <a:lnTo>
                                      <a:pt x="24" y="215"/>
                                    </a:lnTo>
                                    <a:lnTo>
                                      <a:pt x="24" y="251"/>
                                    </a:lnTo>
                                    <a:close/>
                                  </a:path>
                                </a:pathLst>
                              </a:custGeom>
                              <a:solidFill>
                                <a:srgbClr val="FFFFFF"/>
                              </a:solidFill>
                              <a:ln w="9360">
                                <a:solidFill>
                                  <a:srgbClr val="969696"/>
                                </a:solidFill>
                                <a:round/>
                                <a:headEnd/>
                                <a:tailEnd/>
                              </a:ln>
                            </p:spPr>
                            <p:txBody>
                              <a:bodyPr wrap="none" anchor="ctr"/>
                              <a:lstStyle/>
                              <a:p>
                                <a:endParaRPr lang="pt-BR"/>
                              </a:p>
                            </p:txBody>
                          </p:sp>
                          <p:sp>
                            <p:nvSpPr>
                              <p:cNvPr id="649" name="Freeform 11"/>
                              <p:cNvSpPr>
                                <a:spLocks noChangeArrowheads="1"/>
                              </p:cNvSpPr>
                              <p:nvPr/>
                            </p:nvSpPr>
                            <p:spPr bwMode="auto">
                              <a:xfrm>
                                <a:off x="8235187" y="1963916"/>
                                <a:ext cx="219139" cy="133497"/>
                              </a:xfrm>
                              <a:custGeom>
                                <a:avLst/>
                                <a:gdLst>
                                  <a:gd name="T0" fmla="*/ 2147483647 w 115"/>
                                  <a:gd name="T1" fmla="*/ 2147483647 h 68"/>
                                  <a:gd name="T2" fmla="*/ 2147483647 w 115"/>
                                  <a:gd name="T3" fmla="*/ 2147483647 h 68"/>
                                  <a:gd name="T4" fmla="*/ 2147483647 w 115"/>
                                  <a:gd name="T5" fmla="*/ 2147483647 h 68"/>
                                  <a:gd name="T6" fmla="*/ 2147483647 w 115"/>
                                  <a:gd name="T7" fmla="*/ 0 h 68"/>
                                  <a:gd name="T8" fmla="*/ 2147483647 w 115"/>
                                  <a:gd name="T9" fmla="*/ 0 h 68"/>
                                  <a:gd name="T10" fmla="*/ 2147483647 w 115"/>
                                  <a:gd name="T11" fmla="*/ 2147483647 h 68"/>
                                  <a:gd name="T12" fmla="*/ 2147483647 w 115"/>
                                  <a:gd name="T13" fmla="*/ 2147483647 h 68"/>
                                  <a:gd name="T14" fmla="*/ 2147483647 w 115"/>
                                  <a:gd name="T15" fmla="*/ 0 h 68"/>
                                  <a:gd name="T16" fmla="*/ 2147483647 w 115"/>
                                  <a:gd name="T17" fmla="*/ 0 h 68"/>
                                  <a:gd name="T18" fmla="*/ 0 w 115"/>
                                  <a:gd name="T19" fmla="*/ 2147483647 h 68"/>
                                  <a:gd name="T20" fmla="*/ 2147483647 w 115"/>
                                  <a:gd name="T21" fmla="*/ 2147483647 h 68"/>
                                  <a:gd name="T22" fmla="*/ 2147483647 w 115"/>
                                  <a:gd name="T23" fmla="*/ 2147483647 h 68"/>
                                  <a:gd name="T24" fmla="*/ 2147483647 w 115"/>
                                  <a:gd name="T25" fmla="*/ 2147483647 h 68"/>
                                  <a:gd name="T26" fmla="*/ 2147483647 w 115"/>
                                  <a:gd name="T27" fmla="*/ 2147483647 h 6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5"/>
                                  <a:gd name="T43" fmla="*/ 0 h 68"/>
                                  <a:gd name="T44" fmla="*/ 115 w 115"/>
                                  <a:gd name="T45" fmla="*/ 68 h 6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5" h="68">
                                    <a:moveTo>
                                      <a:pt x="59" y="68"/>
                                    </a:moveTo>
                                    <a:lnTo>
                                      <a:pt x="79" y="56"/>
                                    </a:lnTo>
                                    <a:lnTo>
                                      <a:pt x="91" y="36"/>
                                    </a:lnTo>
                                    <a:lnTo>
                                      <a:pt x="115" y="0"/>
                                    </a:lnTo>
                                    <a:lnTo>
                                      <a:pt x="79" y="0"/>
                                    </a:lnTo>
                                    <a:lnTo>
                                      <a:pt x="67" y="12"/>
                                    </a:lnTo>
                                    <a:lnTo>
                                      <a:pt x="59" y="12"/>
                                    </a:lnTo>
                                    <a:lnTo>
                                      <a:pt x="36" y="0"/>
                                    </a:lnTo>
                                    <a:lnTo>
                                      <a:pt x="12" y="0"/>
                                    </a:lnTo>
                                    <a:lnTo>
                                      <a:pt x="0" y="12"/>
                                    </a:lnTo>
                                    <a:lnTo>
                                      <a:pt x="12" y="36"/>
                                    </a:lnTo>
                                    <a:lnTo>
                                      <a:pt x="24" y="36"/>
                                    </a:lnTo>
                                    <a:lnTo>
                                      <a:pt x="47" y="56"/>
                                    </a:lnTo>
                                    <a:lnTo>
                                      <a:pt x="59" y="68"/>
                                    </a:lnTo>
                                    <a:close/>
                                  </a:path>
                                </a:pathLst>
                              </a:custGeom>
                              <a:solidFill>
                                <a:srgbClr val="FFFFFF"/>
                              </a:solidFill>
                              <a:ln w="9360">
                                <a:solidFill>
                                  <a:srgbClr val="969696"/>
                                </a:solidFill>
                                <a:round/>
                                <a:headEnd/>
                                <a:tailEnd/>
                              </a:ln>
                            </p:spPr>
                            <p:txBody>
                              <a:bodyPr wrap="none" anchor="ctr"/>
                              <a:lstStyle/>
                              <a:p>
                                <a:endParaRPr lang="pt-BR"/>
                              </a:p>
                            </p:txBody>
                          </p:sp>
                          <p:sp>
                            <p:nvSpPr>
                              <p:cNvPr id="650" name="Freeform 58"/>
                              <p:cNvSpPr>
                                <a:spLocks noChangeArrowheads="1"/>
                              </p:cNvSpPr>
                              <p:nvPr/>
                            </p:nvSpPr>
                            <p:spPr bwMode="auto">
                              <a:xfrm>
                                <a:off x="7546512" y="1586310"/>
                                <a:ext cx="908185" cy="1440365"/>
                              </a:xfrm>
                              <a:custGeom>
                                <a:avLst/>
                                <a:gdLst>
                                  <a:gd name="T0" fmla="*/ 2147483647 w 961"/>
                                  <a:gd name="T1" fmla="*/ 2147483647 h 1609"/>
                                  <a:gd name="T2" fmla="*/ 2147483647 w 961"/>
                                  <a:gd name="T3" fmla="*/ 2147483647 h 1609"/>
                                  <a:gd name="T4" fmla="*/ 2147483647 w 961"/>
                                  <a:gd name="T5" fmla="*/ 2147483647 h 1609"/>
                                  <a:gd name="T6" fmla="*/ 0 w 961"/>
                                  <a:gd name="T7" fmla="*/ 2147483647 h 1609"/>
                                  <a:gd name="T8" fmla="*/ 2147483647 w 961"/>
                                  <a:gd name="T9" fmla="*/ 2147483647 h 1609"/>
                                  <a:gd name="T10" fmla="*/ 2147483647 w 961"/>
                                  <a:gd name="T11" fmla="*/ 2147483647 h 1609"/>
                                  <a:gd name="T12" fmla="*/ 2147483647 w 961"/>
                                  <a:gd name="T13" fmla="*/ 2147483647 h 1609"/>
                                  <a:gd name="T14" fmla="*/ 2147483647 w 961"/>
                                  <a:gd name="T15" fmla="*/ 2147483647 h 1609"/>
                                  <a:gd name="T16" fmla="*/ 2147483647 w 961"/>
                                  <a:gd name="T17" fmla="*/ 2147483647 h 1609"/>
                                  <a:gd name="T18" fmla="*/ 2147483647 w 961"/>
                                  <a:gd name="T19" fmla="*/ 2147483647 h 1609"/>
                                  <a:gd name="T20" fmla="*/ 2147483647 w 961"/>
                                  <a:gd name="T21" fmla="*/ 2147483647 h 1609"/>
                                  <a:gd name="T22" fmla="*/ 2147483647 w 961"/>
                                  <a:gd name="T23" fmla="*/ 2147483647 h 1609"/>
                                  <a:gd name="T24" fmla="*/ 2147483647 w 961"/>
                                  <a:gd name="T25" fmla="*/ 2147483647 h 1609"/>
                                  <a:gd name="T26" fmla="*/ 2147483647 w 961"/>
                                  <a:gd name="T27" fmla="*/ 2147483647 h 1609"/>
                                  <a:gd name="T28" fmla="*/ 2147483647 w 961"/>
                                  <a:gd name="T29" fmla="*/ 2147483647 h 1609"/>
                                  <a:gd name="T30" fmla="*/ 2147483647 w 961"/>
                                  <a:gd name="T31" fmla="*/ 2147483647 h 1609"/>
                                  <a:gd name="T32" fmla="*/ 2147483647 w 961"/>
                                  <a:gd name="T33" fmla="*/ 2147483647 h 1609"/>
                                  <a:gd name="T34" fmla="*/ 2147483647 w 961"/>
                                  <a:gd name="T35" fmla="*/ 2147483647 h 1609"/>
                                  <a:gd name="T36" fmla="*/ 2147483647 w 961"/>
                                  <a:gd name="T37" fmla="*/ 2147483647 h 1609"/>
                                  <a:gd name="T38" fmla="*/ 2147483647 w 961"/>
                                  <a:gd name="T39" fmla="*/ 2147483647 h 1609"/>
                                  <a:gd name="T40" fmla="*/ 2147483647 w 961"/>
                                  <a:gd name="T41" fmla="*/ 2147483647 h 1609"/>
                                  <a:gd name="T42" fmla="*/ 2147483647 w 961"/>
                                  <a:gd name="T43" fmla="*/ 2147483647 h 1609"/>
                                  <a:gd name="T44" fmla="*/ 2147483647 w 961"/>
                                  <a:gd name="T45" fmla="*/ 0 h 1609"/>
                                  <a:gd name="T46" fmla="*/ 2147483647 w 961"/>
                                  <a:gd name="T47" fmla="*/ 0 h 1609"/>
                                  <a:gd name="T48" fmla="*/ 2147483647 w 961"/>
                                  <a:gd name="T49" fmla="*/ 2147483647 h 1609"/>
                                  <a:gd name="T50" fmla="*/ 2147483647 w 961"/>
                                  <a:gd name="T51" fmla="*/ 2147483647 h 1609"/>
                                  <a:gd name="T52" fmla="*/ 2147483647 w 961"/>
                                  <a:gd name="T53" fmla="*/ 2147483647 h 1609"/>
                                  <a:gd name="T54" fmla="*/ 2147483647 w 961"/>
                                  <a:gd name="T55" fmla="*/ 2147483647 h 160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961"/>
                                  <a:gd name="T85" fmla="*/ 0 h 1609"/>
                                  <a:gd name="T86" fmla="*/ 961 w 961"/>
                                  <a:gd name="T87" fmla="*/ 1609 h 160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961" h="1609">
                                    <a:moveTo>
                                      <a:pt x="33" y="926"/>
                                    </a:moveTo>
                                    <a:cubicBezTo>
                                      <a:pt x="27" y="981"/>
                                      <a:pt x="22" y="1035"/>
                                      <a:pt x="16" y="1090"/>
                                    </a:cubicBezTo>
                                    <a:cubicBezTo>
                                      <a:pt x="24" y="1143"/>
                                      <a:pt x="31" y="1196"/>
                                      <a:pt x="39" y="1249"/>
                                    </a:cubicBezTo>
                                    <a:lnTo>
                                      <a:pt x="0" y="1366"/>
                                    </a:lnTo>
                                    <a:lnTo>
                                      <a:pt x="72" y="1486"/>
                                    </a:lnTo>
                                    <a:cubicBezTo>
                                      <a:pt x="79" y="1509"/>
                                      <a:pt x="85" y="1531"/>
                                      <a:pt x="92" y="1554"/>
                                    </a:cubicBezTo>
                                    <a:lnTo>
                                      <a:pt x="138" y="1609"/>
                                    </a:lnTo>
                                    <a:cubicBezTo>
                                      <a:pt x="150" y="1602"/>
                                      <a:pt x="161" y="1595"/>
                                      <a:pt x="173" y="1588"/>
                                    </a:cubicBezTo>
                                    <a:lnTo>
                                      <a:pt x="288" y="1554"/>
                                    </a:lnTo>
                                    <a:lnTo>
                                      <a:pt x="419" y="1545"/>
                                    </a:lnTo>
                                    <a:lnTo>
                                      <a:pt x="344" y="1404"/>
                                    </a:lnTo>
                                    <a:cubicBezTo>
                                      <a:pt x="307" y="1333"/>
                                      <a:pt x="269" y="1262"/>
                                      <a:pt x="232" y="1191"/>
                                    </a:cubicBezTo>
                                    <a:cubicBezTo>
                                      <a:pt x="232" y="1191"/>
                                      <a:pt x="385" y="1186"/>
                                      <a:pt x="444" y="1147"/>
                                    </a:cubicBezTo>
                                    <a:cubicBezTo>
                                      <a:pt x="503" y="1108"/>
                                      <a:pt x="559" y="1022"/>
                                      <a:pt x="585" y="963"/>
                                    </a:cubicBezTo>
                                    <a:cubicBezTo>
                                      <a:pt x="612" y="905"/>
                                      <a:pt x="571" y="836"/>
                                      <a:pt x="599" y="797"/>
                                    </a:cubicBezTo>
                                    <a:lnTo>
                                      <a:pt x="750" y="734"/>
                                    </a:lnTo>
                                    <a:cubicBezTo>
                                      <a:pt x="771" y="693"/>
                                      <a:pt x="791" y="651"/>
                                      <a:pt x="812" y="610"/>
                                    </a:cubicBezTo>
                                    <a:cubicBezTo>
                                      <a:pt x="843" y="566"/>
                                      <a:pt x="873" y="522"/>
                                      <a:pt x="904" y="478"/>
                                    </a:cubicBezTo>
                                    <a:lnTo>
                                      <a:pt x="961" y="337"/>
                                    </a:lnTo>
                                    <a:cubicBezTo>
                                      <a:pt x="953" y="304"/>
                                      <a:pt x="917" y="298"/>
                                      <a:pt x="853" y="277"/>
                                    </a:cubicBezTo>
                                    <a:cubicBezTo>
                                      <a:pt x="789" y="256"/>
                                      <a:pt x="624" y="245"/>
                                      <a:pt x="576" y="208"/>
                                    </a:cubicBezTo>
                                    <a:cubicBezTo>
                                      <a:pt x="503" y="176"/>
                                      <a:pt x="548" y="88"/>
                                      <a:pt x="562" y="53"/>
                                    </a:cubicBezTo>
                                    <a:cubicBezTo>
                                      <a:pt x="577" y="18"/>
                                      <a:pt x="646" y="9"/>
                                      <a:pt x="661" y="0"/>
                                    </a:cubicBezTo>
                                    <a:lnTo>
                                      <a:pt x="654" y="0"/>
                                    </a:lnTo>
                                    <a:cubicBezTo>
                                      <a:pt x="649" y="41"/>
                                      <a:pt x="656" y="82"/>
                                      <a:pt x="651" y="123"/>
                                    </a:cubicBezTo>
                                    <a:cubicBezTo>
                                      <a:pt x="633" y="174"/>
                                      <a:pt x="655" y="266"/>
                                      <a:pt x="637" y="317"/>
                                    </a:cubicBezTo>
                                    <a:cubicBezTo>
                                      <a:pt x="663" y="356"/>
                                      <a:pt x="688" y="395"/>
                                      <a:pt x="714" y="434"/>
                                    </a:cubicBezTo>
                                    <a:cubicBezTo>
                                      <a:pt x="722" y="528"/>
                                      <a:pt x="729" y="622"/>
                                      <a:pt x="737" y="716"/>
                                    </a:cubicBezTo>
                                  </a:path>
                                </a:pathLst>
                              </a:custGeom>
                              <a:noFill/>
                              <a:ln w="28575">
                                <a:solidFill>
                                  <a:srgbClr val="0070C0"/>
                                </a:solidFill>
                                <a:round/>
                                <a:headEnd/>
                                <a:tailEnd/>
                              </a:ln>
                            </p:spPr>
                            <p:txBody>
                              <a:bodyPr wrap="none" anchor="ctr"/>
                              <a:lstStyle/>
                              <a:p>
                                <a:endParaRPr lang="pt-BR"/>
                              </a:p>
                            </p:txBody>
                          </p:sp>
                          <p:sp>
                            <p:nvSpPr>
                              <p:cNvPr id="651" name="Freeform 2"/>
                              <p:cNvSpPr>
                                <a:spLocks noChangeArrowheads="1"/>
                              </p:cNvSpPr>
                              <p:nvPr/>
                            </p:nvSpPr>
                            <p:spPr bwMode="auto">
                              <a:xfrm>
                                <a:off x="7016366" y="3283666"/>
                                <a:ext cx="450704" cy="491831"/>
                              </a:xfrm>
                              <a:custGeom>
                                <a:avLst/>
                                <a:gdLst>
                                  <a:gd name="T0" fmla="*/ 2147483647 w 235"/>
                                  <a:gd name="T1" fmla="*/ 2147483647 h 251"/>
                                  <a:gd name="T2" fmla="*/ 2147483647 w 235"/>
                                  <a:gd name="T3" fmla="*/ 2147483647 h 251"/>
                                  <a:gd name="T4" fmla="*/ 2147483647 w 235"/>
                                  <a:gd name="T5" fmla="*/ 2147483647 h 251"/>
                                  <a:gd name="T6" fmla="*/ 2147483647 w 235"/>
                                  <a:gd name="T7" fmla="*/ 2147483647 h 251"/>
                                  <a:gd name="T8" fmla="*/ 2147483647 w 235"/>
                                  <a:gd name="T9" fmla="*/ 2147483647 h 251"/>
                                  <a:gd name="T10" fmla="*/ 2147483647 w 235"/>
                                  <a:gd name="T11" fmla="*/ 2147483647 h 251"/>
                                  <a:gd name="T12" fmla="*/ 2147483647 w 235"/>
                                  <a:gd name="T13" fmla="*/ 2147483647 h 251"/>
                                  <a:gd name="T14" fmla="*/ 2147483647 w 235"/>
                                  <a:gd name="T15" fmla="*/ 2147483647 h 251"/>
                                  <a:gd name="T16" fmla="*/ 2147483647 w 235"/>
                                  <a:gd name="T17" fmla="*/ 2147483647 h 251"/>
                                  <a:gd name="T18" fmla="*/ 2147483647 w 235"/>
                                  <a:gd name="T19" fmla="*/ 2147483647 h 251"/>
                                  <a:gd name="T20" fmla="*/ 2147483647 w 235"/>
                                  <a:gd name="T21" fmla="*/ 2147483647 h 251"/>
                                  <a:gd name="T22" fmla="*/ 2147483647 w 235"/>
                                  <a:gd name="T23" fmla="*/ 2147483647 h 251"/>
                                  <a:gd name="T24" fmla="*/ 2147483647 w 235"/>
                                  <a:gd name="T25" fmla="*/ 0 h 251"/>
                                  <a:gd name="T26" fmla="*/ 2147483647 w 235"/>
                                  <a:gd name="T27" fmla="*/ 0 h 251"/>
                                  <a:gd name="T28" fmla="*/ 2147483647 w 235"/>
                                  <a:gd name="T29" fmla="*/ 2147483647 h 251"/>
                                  <a:gd name="T30" fmla="*/ 0 w 235"/>
                                  <a:gd name="T31" fmla="*/ 2147483647 h 251"/>
                                  <a:gd name="T32" fmla="*/ 0 w 235"/>
                                  <a:gd name="T33" fmla="*/ 2147483647 h 251"/>
                                  <a:gd name="T34" fmla="*/ 2147483647 w 235"/>
                                  <a:gd name="T35" fmla="*/ 2147483647 h 251"/>
                                  <a:gd name="T36" fmla="*/ 2147483647 w 235"/>
                                  <a:gd name="T37" fmla="*/ 2147483647 h 251"/>
                                  <a:gd name="T38" fmla="*/ 2147483647 w 235"/>
                                  <a:gd name="T39" fmla="*/ 2147483647 h 251"/>
                                  <a:gd name="T40" fmla="*/ 2147483647 w 235"/>
                                  <a:gd name="T41" fmla="*/ 2147483647 h 251"/>
                                  <a:gd name="T42" fmla="*/ 2147483647 w 235"/>
                                  <a:gd name="T43" fmla="*/ 2147483647 h 251"/>
                                  <a:gd name="T44" fmla="*/ 2147483647 w 235"/>
                                  <a:gd name="T45" fmla="*/ 2147483647 h 251"/>
                                  <a:gd name="T46" fmla="*/ 2147483647 w 235"/>
                                  <a:gd name="T47" fmla="*/ 2147483647 h 251"/>
                                  <a:gd name="T48" fmla="*/ 2147483647 w 235"/>
                                  <a:gd name="T49" fmla="*/ 2147483647 h 2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35"/>
                                  <a:gd name="T76" fmla="*/ 0 h 251"/>
                                  <a:gd name="T77" fmla="*/ 235 w 235"/>
                                  <a:gd name="T78" fmla="*/ 251 h 2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35" h="251">
                                    <a:moveTo>
                                      <a:pt x="124" y="251"/>
                                    </a:moveTo>
                                    <a:lnTo>
                                      <a:pt x="148" y="239"/>
                                    </a:lnTo>
                                    <a:lnTo>
                                      <a:pt x="167" y="191"/>
                                    </a:lnTo>
                                    <a:lnTo>
                                      <a:pt x="191" y="171"/>
                                    </a:lnTo>
                                    <a:lnTo>
                                      <a:pt x="215" y="116"/>
                                    </a:lnTo>
                                    <a:lnTo>
                                      <a:pt x="235" y="80"/>
                                    </a:lnTo>
                                    <a:lnTo>
                                      <a:pt x="227" y="68"/>
                                    </a:lnTo>
                                    <a:lnTo>
                                      <a:pt x="227" y="48"/>
                                    </a:lnTo>
                                    <a:lnTo>
                                      <a:pt x="215" y="48"/>
                                    </a:lnTo>
                                    <a:lnTo>
                                      <a:pt x="203" y="36"/>
                                    </a:lnTo>
                                    <a:lnTo>
                                      <a:pt x="179" y="24"/>
                                    </a:lnTo>
                                    <a:lnTo>
                                      <a:pt x="167" y="12"/>
                                    </a:lnTo>
                                    <a:lnTo>
                                      <a:pt x="136" y="0"/>
                                    </a:lnTo>
                                    <a:lnTo>
                                      <a:pt x="100" y="0"/>
                                    </a:lnTo>
                                    <a:lnTo>
                                      <a:pt x="68" y="24"/>
                                    </a:lnTo>
                                    <a:lnTo>
                                      <a:pt x="0" y="124"/>
                                    </a:lnTo>
                                    <a:lnTo>
                                      <a:pt x="0" y="136"/>
                                    </a:lnTo>
                                    <a:lnTo>
                                      <a:pt x="24" y="136"/>
                                    </a:lnTo>
                                    <a:lnTo>
                                      <a:pt x="68" y="160"/>
                                    </a:lnTo>
                                    <a:lnTo>
                                      <a:pt x="80" y="160"/>
                                    </a:lnTo>
                                    <a:lnTo>
                                      <a:pt x="124" y="203"/>
                                    </a:lnTo>
                                    <a:lnTo>
                                      <a:pt x="136" y="191"/>
                                    </a:lnTo>
                                    <a:lnTo>
                                      <a:pt x="136" y="215"/>
                                    </a:lnTo>
                                    <a:lnTo>
                                      <a:pt x="124" y="227"/>
                                    </a:lnTo>
                                    <a:lnTo>
                                      <a:pt x="124" y="251"/>
                                    </a:lnTo>
                                    <a:close/>
                                  </a:path>
                                </a:pathLst>
                              </a:custGeom>
                              <a:solidFill>
                                <a:srgbClr val="FFFFFF"/>
                              </a:solidFill>
                              <a:ln w="9360">
                                <a:solidFill>
                                  <a:srgbClr val="969696"/>
                                </a:solidFill>
                                <a:round/>
                                <a:headEnd/>
                                <a:tailEnd/>
                              </a:ln>
                            </p:spPr>
                            <p:txBody>
                              <a:bodyPr wrap="none" anchor="ctr"/>
                              <a:lstStyle/>
                              <a:p>
                                <a:endParaRPr lang="pt-BR"/>
                              </a:p>
                            </p:txBody>
                          </p:sp>
                          <p:sp>
                            <p:nvSpPr>
                              <p:cNvPr id="652" name="Freeform 14"/>
                              <p:cNvSpPr>
                                <a:spLocks noChangeArrowheads="1"/>
                              </p:cNvSpPr>
                              <p:nvPr/>
                            </p:nvSpPr>
                            <p:spPr bwMode="auto">
                              <a:xfrm>
                                <a:off x="8205817" y="1652424"/>
                                <a:ext cx="257544" cy="156918"/>
                              </a:xfrm>
                              <a:custGeom>
                                <a:avLst/>
                                <a:gdLst>
                                  <a:gd name="T0" fmla="*/ 2147483647 w 135"/>
                                  <a:gd name="T1" fmla="*/ 2147483647 h 80"/>
                                  <a:gd name="T2" fmla="*/ 2147483647 w 135"/>
                                  <a:gd name="T3" fmla="*/ 2147483647 h 80"/>
                                  <a:gd name="T4" fmla="*/ 2147483647 w 135"/>
                                  <a:gd name="T5" fmla="*/ 2147483647 h 80"/>
                                  <a:gd name="T6" fmla="*/ 2147483647 w 135"/>
                                  <a:gd name="T7" fmla="*/ 2147483647 h 80"/>
                                  <a:gd name="T8" fmla="*/ 2147483647 w 135"/>
                                  <a:gd name="T9" fmla="*/ 0 h 80"/>
                                  <a:gd name="T10" fmla="*/ 2147483647 w 135"/>
                                  <a:gd name="T11" fmla="*/ 0 h 80"/>
                                  <a:gd name="T12" fmla="*/ 2147483647 w 135"/>
                                  <a:gd name="T13" fmla="*/ 2147483647 h 80"/>
                                  <a:gd name="T14" fmla="*/ 2147483647 w 135"/>
                                  <a:gd name="T15" fmla="*/ 2147483647 h 80"/>
                                  <a:gd name="T16" fmla="*/ 0 w 135"/>
                                  <a:gd name="T17" fmla="*/ 2147483647 h 80"/>
                                  <a:gd name="T18" fmla="*/ 2147483647 w 135"/>
                                  <a:gd name="T19" fmla="*/ 2147483647 h 80"/>
                                  <a:gd name="T20" fmla="*/ 2147483647 w 135"/>
                                  <a:gd name="T21" fmla="*/ 2147483647 h 80"/>
                                  <a:gd name="T22" fmla="*/ 2147483647 w 135"/>
                                  <a:gd name="T23" fmla="*/ 2147483647 h 80"/>
                                  <a:gd name="T24" fmla="*/ 2147483647 w 135"/>
                                  <a:gd name="T25" fmla="*/ 2147483647 h 80"/>
                                  <a:gd name="T26" fmla="*/ 2147483647 w 135"/>
                                  <a:gd name="T27" fmla="*/ 2147483647 h 80"/>
                                  <a:gd name="T28" fmla="*/ 2147483647 w 135"/>
                                  <a:gd name="T29" fmla="*/ 2147483647 h 80"/>
                                  <a:gd name="T30" fmla="*/ 2147483647 w 135"/>
                                  <a:gd name="T31" fmla="*/ 2147483647 h 80"/>
                                  <a:gd name="T32" fmla="*/ 2147483647 w 135"/>
                                  <a:gd name="T33" fmla="*/ 2147483647 h 80"/>
                                  <a:gd name="T34" fmla="*/ 2147483647 w 135"/>
                                  <a:gd name="T35" fmla="*/ 2147483647 h 80"/>
                                  <a:gd name="T36" fmla="*/ 2147483647 w 135"/>
                                  <a:gd name="T37" fmla="*/ 2147483647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5"/>
                                  <a:gd name="T58" fmla="*/ 0 h 80"/>
                                  <a:gd name="T59" fmla="*/ 135 w 135"/>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5" h="80">
                                    <a:moveTo>
                                      <a:pt x="135" y="68"/>
                                    </a:moveTo>
                                    <a:lnTo>
                                      <a:pt x="123" y="24"/>
                                    </a:lnTo>
                                    <a:lnTo>
                                      <a:pt x="111" y="12"/>
                                    </a:lnTo>
                                    <a:lnTo>
                                      <a:pt x="87" y="12"/>
                                    </a:lnTo>
                                    <a:lnTo>
                                      <a:pt x="56" y="0"/>
                                    </a:lnTo>
                                    <a:lnTo>
                                      <a:pt x="44" y="0"/>
                                    </a:lnTo>
                                    <a:lnTo>
                                      <a:pt x="32" y="12"/>
                                    </a:lnTo>
                                    <a:lnTo>
                                      <a:pt x="20" y="36"/>
                                    </a:lnTo>
                                    <a:lnTo>
                                      <a:pt x="0" y="68"/>
                                    </a:lnTo>
                                    <a:lnTo>
                                      <a:pt x="12" y="68"/>
                                    </a:lnTo>
                                    <a:lnTo>
                                      <a:pt x="32" y="60"/>
                                    </a:lnTo>
                                    <a:lnTo>
                                      <a:pt x="44" y="48"/>
                                    </a:lnTo>
                                    <a:lnTo>
                                      <a:pt x="56" y="60"/>
                                    </a:lnTo>
                                    <a:lnTo>
                                      <a:pt x="32" y="80"/>
                                    </a:lnTo>
                                    <a:lnTo>
                                      <a:pt x="79" y="80"/>
                                    </a:lnTo>
                                    <a:lnTo>
                                      <a:pt x="79" y="60"/>
                                    </a:lnTo>
                                    <a:lnTo>
                                      <a:pt x="87" y="60"/>
                                    </a:lnTo>
                                    <a:lnTo>
                                      <a:pt x="99" y="68"/>
                                    </a:lnTo>
                                    <a:lnTo>
                                      <a:pt x="135" y="68"/>
                                    </a:lnTo>
                                    <a:close/>
                                  </a:path>
                                </a:pathLst>
                              </a:custGeom>
                              <a:solidFill>
                                <a:srgbClr val="FFFFFF"/>
                              </a:solidFill>
                              <a:ln w="9360">
                                <a:solidFill>
                                  <a:srgbClr val="969696"/>
                                </a:solidFill>
                                <a:round/>
                                <a:headEnd/>
                                <a:tailEnd/>
                              </a:ln>
                            </p:spPr>
                            <p:txBody>
                              <a:bodyPr wrap="none" anchor="ctr"/>
                              <a:lstStyle/>
                              <a:p>
                                <a:endParaRPr lang="pt-BR"/>
                              </a:p>
                            </p:txBody>
                          </p:sp>
                          <p:sp>
                            <p:nvSpPr>
                              <p:cNvPr id="653" name="Freeform 16"/>
                              <p:cNvSpPr>
                                <a:spLocks noChangeArrowheads="1"/>
                              </p:cNvSpPr>
                              <p:nvPr/>
                            </p:nvSpPr>
                            <p:spPr bwMode="auto">
                              <a:xfrm>
                                <a:off x="7685078" y="1543516"/>
                                <a:ext cx="389706" cy="577316"/>
                              </a:xfrm>
                              <a:custGeom>
                                <a:avLst/>
                                <a:gdLst>
                                  <a:gd name="T0" fmla="*/ 2147483647 w 203"/>
                                  <a:gd name="T1" fmla="*/ 0 h 295"/>
                                  <a:gd name="T2" fmla="*/ 2147483647 w 203"/>
                                  <a:gd name="T3" fmla="*/ 2147483647 h 295"/>
                                  <a:gd name="T4" fmla="*/ 2147483647 w 203"/>
                                  <a:gd name="T5" fmla="*/ 2147483647 h 295"/>
                                  <a:gd name="T6" fmla="*/ 2147483647 w 203"/>
                                  <a:gd name="T7" fmla="*/ 2147483647 h 295"/>
                                  <a:gd name="T8" fmla="*/ 2147483647 w 203"/>
                                  <a:gd name="T9" fmla="*/ 2147483647 h 295"/>
                                  <a:gd name="T10" fmla="*/ 2147483647 w 203"/>
                                  <a:gd name="T11" fmla="*/ 2147483647 h 295"/>
                                  <a:gd name="T12" fmla="*/ 2147483647 w 203"/>
                                  <a:gd name="T13" fmla="*/ 2147483647 h 295"/>
                                  <a:gd name="T14" fmla="*/ 2147483647 w 203"/>
                                  <a:gd name="T15" fmla="*/ 2147483647 h 295"/>
                                  <a:gd name="T16" fmla="*/ 2147483647 w 203"/>
                                  <a:gd name="T17" fmla="*/ 2147483647 h 295"/>
                                  <a:gd name="T18" fmla="*/ 2147483647 w 203"/>
                                  <a:gd name="T19" fmla="*/ 2147483647 h 295"/>
                                  <a:gd name="T20" fmla="*/ 2147483647 w 203"/>
                                  <a:gd name="T21" fmla="*/ 2147483647 h 295"/>
                                  <a:gd name="T22" fmla="*/ 2147483647 w 203"/>
                                  <a:gd name="T23" fmla="*/ 2147483647 h 295"/>
                                  <a:gd name="T24" fmla="*/ 0 w 203"/>
                                  <a:gd name="T25" fmla="*/ 2147483647 h 295"/>
                                  <a:gd name="T26" fmla="*/ 2147483647 w 203"/>
                                  <a:gd name="T27" fmla="*/ 2147483647 h 295"/>
                                  <a:gd name="T28" fmla="*/ 2147483647 w 203"/>
                                  <a:gd name="T29" fmla="*/ 2147483647 h 295"/>
                                  <a:gd name="T30" fmla="*/ 2147483647 w 203"/>
                                  <a:gd name="T31" fmla="*/ 2147483647 h 295"/>
                                  <a:gd name="T32" fmla="*/ 2147483647 w 203"/>
                                  <a:gd name="T33" fmla="*/ 2147483647 h 295"/>
                                  <a:gd name="T34" fmla="*/ 2147483647 w 203"/>
                                  <a:gd name="T35" fmla="*/ 2147483647 h 295"/>
                                  <a:gd name="T36" fmla="*/ 2147483647 w 203"/>
                                  <a:gd name="T37" fmla="*/ 2147483647 h 295"/>
                                  <a:gd name="T38" fmla="*/ 2147483647 w 203"/>
                                  <a:gd name="T39" fmla="*/ 2147483647 h 295"/>
                                  <a:gd name="T40" fmla="*/ 2147483647 w 203"/>
                                  <a:gd name="T41" fmla="*/ 2147483647 h 295"/>
                                  <a:gd name="T42" fmla="*/ 2147483647 w 203"/>
                                  <a:gd name="T43" fmla="*/ 2147483647 h 295"/>
                                  <a:gd name="T44" fmla="*/ 2147483647 w 203"/>
                                  <a:gd name="T45" fmla="*/ 2147483647 h 295"/>
                                  <a:gd name="T46" fmla="*/ 2147483647 w 203"/>
                                  <a:gd name="T47" fmla="*/ 2147483647 h 295"/>
                                  <a:gd name="T48" fmla="*/ 2147483647 w 203"/>
                                  <a:gd name="T49" fmla="*/ 2147483647 h 295"/>
                                  <a:gd name="T50" fmla="*/ 2147483647 w 203"/>
                                  <a:gd name="T51" fmla="*/ 2147483647 h 295"/>
                                  <a:gd name="T52" fmla="*/ 2147483647 w 203"/>
                                  <a:gd name="T53" fmla="*/ 2147483647 h 295"/>
                                  <a:gd name="T54" fmla="*/ 2147483647 w 203"/>
                                  <a:gd name="T55" fmla="*/ 2147483647 h 295"/>
                                  <a:gd name="T56" fmla="*/ 2147483647 w 203"/>
                                  <a:gd name="T57" fmla="*/ 2147483647 h 295"/>
                                  <a:gd name="T58" fmla="*/ 2147483647 w 203"/>
                                  <a:gd name="T59" fmla="*/ 2147483647 h 295"/>
                                  <a:gd name="T60" fmla="*/ 2147483647 w 203"/>
                                  <a:gd name="T61" fmla="*/ 2147483647 h 295"/>
                                  <a:gd name="T62" fmla="*/ 2147483647 w 203"/>
                                  <a:gd name="T63" fmla="*/ 2147483647 h 295"/>
                                  <a:gd name="T64" fmla="*/ 2147483647 w 203"/>
                                  <a:gd name="T65" fmla="*/ 2147483647 h 295"/>
                                  <a:gd name="T66" fmla="*/ 2147483647 w 203"/>
                                  <a:gd name="T67" fmla="*/ 2147483647 h 295"/>
                                  <a:gd name="T68" fmla="*/ 2147483647 w 203"/>
                                  <a:gd name="T69" fmla="*/ 0 h 295"/>
                                  <a:gd name="T70" fmla="*/ 2147483647 w 203"/>
                                  <a:gd name="T71" fmla="*/ 0 h 29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03"/>
                                  <a:gd name="T109" fmla="*/ 0 h 295"/>
                                  <a:gd name="T110" fmla="*/ 203 w 203"/>
                                  <a:gd name="T111" fmla="*/ 295 h 29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03" h="295">
                                    <a:moveTo>
                                      <a:pt x="156" y="0"/>
                                    </a:moveTo>
                                    <a:lnTo>
                                      <a:pt x="148" y="12"/>
                                    </a:lnTo>
                                    <a:lnTo>
                                      <a:pt x="136" y="12"/>
                                    </a:lnTo>
                                    <a:lnTo>
                                      <a:pt x="124" y="24"/>
                                    </a:lnTo>
                                    <a:lnTo>
                                      <a:pt x="112" y="48"/>
                                    </a:lnTo>
                                    <a:lnTo>
                                      <a:pt x="112" y="68"/>
                                    </a:lnTo>
                                    <a:lnTo>
                                      <a:pt x="100" y="104"/>
                                    </a:lnTo>
                                    <a:lnTo>
                                      <a:pt x="100" y="124"/>
                                    </a:lnTo>
                                    <a:lnTo>
                                      <a:pt x="88" y="136"/>
                                    </a:lnTo>
                                    <a:lnTo>
                                      <a:pt x="56" y="148"/>
                                    </a:lnTo>
                                    <a:lnTo>
                                      <a:pt x="32" y="159"/>
                                    </a:lnTo>
                                    <a:lnTo>
                                      <a:pt x="12" y="183"/>
                                    </a:lnTo>
                                    <a:lnTo>
                                      <a:pt x="0" y="227"/>
                                    </a:lnTo>
                                    <a:lnTo>
                                      <a:pt x="12" y="271"/>
                                    </a:lnTo>
                                    <a:lnTo>
                                      <a:pt x="12" y="283"/>
                                    </a:lnTo>
                                    <a:lnTo>
                                      <a:pt x="20" y="283"/>
                                    </a:lnTo>
                                    <a:lnTo>
                                      <a:pt x="44" y="295"/>
                                    </a:lnTo>
                                    <a:lnTo>
                                      <a:pt x="68" y="295"/>
                                    </a:lnTo>
                                    <a:lnTo>
                                      <a:pt x="88" y="271"/>
                                    </a:lnTo>
                                    <a:lnTo>
                                      <a:pt x="88" y="259"/>
                                    </a:lnTo>
                                    <a:lnTo>
                                      <a:pt x="80" y="251"/>
                                    </a:lnTo>
                                    <a:lnTo>
                                      <a:pt x="80" y="239"/>
                                    </a:lnTo>
                                    <a:lnTo>
                                      <a:pt x="88" y="227"/>
                                    </a:lnTo>
                                    <a:lnTo>
                                      <a:pt x="112" y="239"/>
                                    </a:lnTo>
                                    <a:lnTo>
                                      <a:pt x="156" y="227"/>
                                    </a:lnTo>
                                    <a:lnTo>
                                      <a:pt x="179" y="203"/>
                                    </a:lnTo>
                                    <a:lnTo>
                                      <a:pt x="191" y="191"/>
                                    </a:lnTo>
                                    <a:lnTo>
                                      <a:pt x="191" y="171"/>
                                    </a:lnTo>
                                    <a:lnTo>
                                      <a:pt x="203" y="159"/>
                                    </a:lnTo>
                                    <a:lnTo>
                                      <a:pt x="203" y="148"/>
                                    </a:lnTo>
                                    <a:lnTo>
                                      <a:pt x="179" y="116"/>
                                    </a:lnTo>
                                    <a:lnTo>
                                      <a:pt x="179" y="92"/>
                                    </a:lnTo>
                                    <a:lnTo>
                                      <a:pt x="167" y="48"/>
                                    </a:lnTo>
                                    <a:lnTo>
                                      <a:pt x="167" y="24"/>
                                    </a:lnTo>
                                    <a:lnTo>
                                      <a:pt x="167" y="0"/>
                                    </a:lnTo>
                                    <a:lnTo>
                                      <a:pt x="156" y="0"/>
                                    </a:lnTo>
                                    <a:close/>
                                  </a:path>
                                </a:pathLst>
                              </a:custGeom>
                              <a:solidFill>
                                <a:schemeClr val="bg1"/>
                              </a:solidFill>
                              <a:ln w="9525">
                                <a:noFill/>
                                <a:round/>
                                <a:headEnd/>
                                <a:tailEnd/>
                              </a:ln>
                            </p:spPr>
                            <p:txBody>
                              <a:bodyPr wrap="none" anchor="ctr"/>
                              <a:lstStyle/>
                              <a:p>
                                <a:endParaRPr lang="pt-BR"/>
                              </a:p>
                            </p:txBody>
                          </p:sp>
                          <p:sp>
                            <p:nvSpPr>
                              <p:cNvPr id="654" name="Freeform 17"/>
                              <p:cNvSpPr>
                                <a:spLocks noChangeArrowheads="1"/>
                              </p:cNvSpPr>
                              <p:nvPr/>
                            </p:nvSpPr>
                            <p:spPr bwMode="auto">
                              <a:xfrm>
                                <a:off x="7511123" y="1413534"/>
                                <a:ext cx="492498" cy="660460"/>
                              </a:xfrm>
                              <a:custGeom>
                                <a:avLst/>
                                <a:gdLst>
                                  <a:gd name="T0" fmla="*/ 2147483647 w 524"/>
                                  <a:gd name="T1" fmla="*/ 0 h 691"/>
                                  <a:gd name="T2" fmla="*/ 2147483647 w 524"/>
                                  <a:gd name="T3" fmla="*/ 2147483647 h 691"/>
                                  <a:gd name="T4" fmla="*/ 2147483647 w 524"/>
                                  <a:gd name="T5" fmla="*/ 2147483647 h 691"/>
                                  <a:gd name="T6" fmla="*/ 2147483647 w 524"/>
                                  <a:gd name="T7" fmla="*/ 2147483647 h 691"/>
                                  <a:gd name="T8" fmla="*/ 2147483647 w 524"/>
                                  <a:gd name="T9" fmla="*/ 2147483647 h 691"/>
                                  <a:gd name="T10" fmla="*/ 2147483647 w 524"/>
                                  <a:gd name="T11" fmla="*/ 2147483647 h 691"/>
                                  <a:gd name="T12" fmla="*/ 0 w 524"/>
                                  <a:gd name="T13" fmla="*/ 2147483647 h 691"/>
                                  <a:gd name="T14" fmla="*/ 2147483647 w 524"/>
                                  <a:gd name="T15" fmla="*/ 2147483647 h 691"/>
                                  <a:gd name="T16" fmla="*/ 2147483647 w 524"/>
                                  <a:gd name="T17" fmla="*/ 2147483647 h 691"/>
                                  <a:gd name="T18" fmla="*/ 2147483647 w 524"/>
                                  <a:gd name="T19" fmla="*/ 2147483647 h 691"/>
                                  <a:gd name="T20" fmla="*/ 2147483647 w 524"/>
                                  <a:gd name="T21" fmla="*/ 2147483647 h 691"/>
                                  <a:gd name="T22" fmla="*/ 2147483647 w 524"/>
                                  <a:gd name="T23" fmla="*/ 2147483647 h 691"/>
                                  <a:gd name="T24" fmla="*/ 2147483647 w 524"/>
                                  <a:gd name="T25" fmla="*/ 2147483647 h 691"/>
                                  <a:gd name="T26" fmla="*/ 2147483647 w 524"/>
                                  <a:gd name="T27" fmla="*/ 2147483647 h 691"/>
                                  <a:gd name="T28" fmla="*/ 2147483647 w 524"/>
                                  <a:gd name="T29" fmla="*/ 2147483647 h 691"/>
                                  <a:gd name="T30" fmla="*/ 2147483647 w 524"/>
                                  <a:gd name="T31" fmla="*/ 2147483647 h 691"/>
                                  <a:gd name="T32" fmla="*/ 2147483647 w 524"/>
                                  <a:gd name="T33" fmla="*/ 2147483647 h 691"/>
                                  <a:gd name="T34" fmla="*/ 2147483647 w 524"/>
                                  <a:gd name="T35" fmla="*/ 2147483647 h 691"/>
                                  <a:gd name="T36" fmla="*/ 2147483647 w 524"/>
                                  <a:gd name="T37" fmla="*/ 2147483647 h 691"/>
                                  <a:gd name="T38" fmla="*/ 2147483647 w 524"/>
                                  <a:gd name="T39" fmla="*/ 2147483647 h 691"/>
                                  <a:gd name="T40" fmla="*/ 2147483647 w 524"/>
                                  <a:gd name="T41" fmla="*/ 2147483647 h 691"/>
                                  <a:gd name="T42" fmla="*/ 2147483647 w 524"/>
                                  <a:gd name="T43" fmla="*/ 2147483647 h 691"/>
                                  <a:gd name="T44" fmla="*/ 2147483647 w 524"/>
                                  <a:gd name="T45" fmla="*/ 2147483647 h 691"/>
                                  <a:gd name="T46" fmla="*/ 2147483647 w 524"/>
                                  <a:gd name="T47" fmla="*/ 2147483647 h 691"/>
                                  <a:gd name="T48" fmla="*/ 2147483647 w 524"/>
                                  <a:gd name="T49" fmla="*/ 2147483647 h 691"/>
                                  <a:gd name="T50" fmla="*/ 2147483647 w 524"/>
                                  <a:gd name="T51" fmla="*/ 2147483647 h 691"/>
                                  <a:gd name="T52" fmla="*/ 2147483647 w 524"/>
                                  <a:gd name="T53" fmla="*/ 2147483647 h 691"/>
                                  <a:gd name="T54" fmla="*/ 2147483647 w 524"/>
                                  <a:gd name="T55" fmla="*/ 2147483647 h 691"/>
                                  <a:gd name="T56" fmla="*/ 2147483647 w 524"/>
                                  <a:gd name="T57" fmla="*/ 2147483647 h 691"/>
                                  <a:gd name="T58" fmla="*/ 2147483647 w 524"/>
                                  <a:gd name="T59" fmla="*/ 2147483647 h 691"/>
                                  <a:gd name="T60" fmla="*/ 2147483647 w 524"/>
                                  <a:gd name="T61" fmla="*/ 2147483647 h 691"/>
                                  <a:gd name="T62" fmla="*/ 2147483647 w 524"/>
                                  <a:gd name="T63" fmla="*/ 2147483647 h 691"/>
                                  <a:gd name="T64" fmla="*/ 2147483647 w 524"/>
                                  <a:gd name="T65" fmla="*/ 2147483647 h 691"/>
                                  <a:gd name="T66" fmla="*/ 2147483647 w 524"/>
                                  <a:gd name="T67" fmla="*/ 2147483647 h 691"/>
                                  <a:gd name="T68" fmla="*/ 2147483647 w 524"/>
                                  <a:gd name="T69" fmla="*/ 2147483647 h 691"/>
                                  <a:gd name="T70" fmla="*/ 2147483647 w 524"/>
                                  <a:gd name="T71" fmla="*/ 2147483647 h 691"/>
                                  <a:gd name="T72" fmla="*/ 2147483647 w 524"/>
                                  <a:gd name="T73" fmla="*/ 2147483647 h 691"/>
                                  <a:gd name="T74" fmla="*/ 2147483647 w 524"/>
                                  <a:gd name="T75" fmla="*/ 2147483647 h 691"/>
                                  <a:gd name="T76" fmla="*/ 2147483647 w 524"/>
                                  <a:gd name="T77" fmla="*/ 2147483647 h 691"/>
                                  <a:gd name="T78" fmla="*/ 2147483647 w 524"/>
                                  <a:gd name="T79" fmla="*/ 2147483647 h 691"/>
                                  <a:gd name="T80" fmla="*/ 2147483647 w 524"/>
                                  <a:gd name="T81" fmla="*/ 2147483647 h 691"/>
                                  <a:gd name="T82" fmla="*/ 2147483647 w 524"/>
                                  <a:gd name="T83" fmla="*/ 2147483647 h 691"/>
                                  <a:gd name="T84" fmla="*/ 2147483647 w 524"/>
                                  <a:gd name="T85" fmla="*/ 0 h 69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24"/>
                                  <a:gd name="T130" fmla="*/ 0 h 691"/>
                                  <a:gd name="T131" fmla="*/ 524 w 524"/>
                                  <a:gd name="T132" fmla="*/ 691 h 69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24" h="691">
                                    <a:moveTo>
                                      <a:pt x="162" y="0"/>
                                    </a:moveTo>
                                    <a:lnTo>
                                      <a:pt x="162" y="74"/>
                                    </a:lnTo>
                                    <a:lnTo>
                                      <a:pt x="139" y="162"/>
                                    </a:lnTo>
                                    <a:lnTo>
                                      <a:pt x="114" y="235"/>
                                    </a:lnTo>
                                    <a:lnTo>
                                      <a:pt x="74" y="276"/>
                                    </a:lnTo>
                                    <a:lnTo>
                                      <a:pt x="25" y="301"/>
                                    </a:lnTo>
                                    <a:lnTo>
                                      <a:pt x="0" y="325"/>
                                    </a:lnTo>
                                    <a:lnTo>
                                      <a:pt x="49" y="325"/>
                                    </a:lnTo>
                                    <a:lnTo>
                                      <a:pt x="74" y="350"/>
                                    </a:lnTo>
                                    <a:lnTo>
                                      <a:pt x="74" y="374"/>
                                    </a:lnTo>
                                    <a:lnTo>
                                      <a:pt x="49" y="415"/>
                                    </a:lnTo>
                                    <a:lnTo>
                                      <a:pt x="74" y="487"/>
                                    </a:lnTo>
                                    <a:lnTo>
                                      <a:pt x="114" y="511"/>
                                    </a:lnTo>
                                    <a:lnTo>
                                      <a:pt x="139" y="487"/>
                                    </a:lnTo>
                                    <a:lnTo>
                                      <a:pt x="162" y="511"/>
                                    </a:lnTo>
                                    <a:lnTo>
                                      <a:pt x="162" y="527"/>
                                    </a:lnTo>
                                    <a:lnTo>
                                      <a:pt x="139" y="552"/>
                                    </a:lnTo>
                                    <a:lnTo>
                                      <a:pt x="114" y="601"/>
                                    </a:lnTo>
                                    <a:lnTo>
                                      <a:pt x="139" y="650"/>
                                    </a:lnTo>
                                    <a:lnTo>
                                      <a:pt x="186" y="691"/>
                                    </a:lnTo>
                                    <a:lnTo>
                                      <a:pt x="211" y="691"/>
                                    </a:lnTo>
                                    <a:lnTo>
                                      <a:pt x="186" y="601"/>
                                    </a:lnTo>
                                    <a:lnTo>
                                      <a:pt x="211" y="511"/>
                                    </a:lnTo>
                                    <a:lnTo>
                                      <a:pt x="251" y="462"/>
                                    </a:lnTo>
                                    <a:lnTo>
                                      <a:pt x="301" y="440"/>
                                    </a:lnTo>
                                    <a:lnTo>
                                      <a:pt x="366" y="415"/>
                                    </a:lnTo>
                                    <a:lnTo>
                                      <a:pt x="391" y="390"/>
                                    </a:lnTo>
                                    <a:lnTo>
                                      <a:pt x="391" y="350"/>
                                    </a:lnTo>
                                    <a:lnTo>
                                      <a:pt x="415" y="276"/>
                                    </a:lnTo>
                                    <a:lnTo>
                                      <a:pt x="415" y="235"/>
                                    </a:lnTo>
                                    <a:lnTo>
                                      <a:pt x="440" y="186"/>
                                    </a:lnTo>
                                    <a:lnTo>
                                      <a:pt x="464" y="162"/>
                                    </a:lnTo>
                                    <a:lnTo>
                                      <a:pt x="489" y="162"/>
                                    </a:lnTo>
                                    <a:lnTo>
                                      <a:pt x="524" y="136"/>
                                    </a:lnTo>
                                    <a:lnTo>
                                      <a:pt x="489" y="137"/>
                                    </a:lnTo>
                                    <a:lnTo>
                                      <a:pt x="440" y="112"/>
                                    </a:lnTo>
                                    <a:lnTo>
                                      <a:pt x="366" y="96"/>
                                    </a:lnTo>
                                    <a:lnTo>
                                      <a:pt x="325" y="74"/>
                                    </a:lnTo>
                                    <a:lnTo>
                                      <a:pt x="301" y="112"/>
                                    </a:lnTo>
                                    <a:lnTo>
                                      <a:pt x="301" y="74"/>
                                    </a:lnTo>
                                    <a:lnTo>
                                      <a:pt x="251" y="49"/>
                                    </a:lnTo>
                                    <a:lnTo>
                                      <a:pt x="227" y="25"/>
                                    </a:lnTo>
                                    <a:lnTo>
                                      <a:pt x="162" y="0"/>
                                    </a:lnTo>
                                    <a:close/>
                                  </a:path>
                                </a:pathLst>
                              </a:custGeom>
                              <a:solidFill>
                                <a:srgbClr val="FFFFFF"/>
                              </a:solidFill>
                              <a:ln w="9360">
                                <a:solidFill>
                                  <a:srgbClr val="969696"/>
                                </a:solidFill>
                                <a:round/>
                                <a:headEnd/>
                                <a:tailEnd/>
                              </a:ln>
                            </p:spPr>
                            <p:txBody>
                              <a:bodyPr wrap="none" anchor="ctr"/>
                              <a:lstStyle/>
                              <a:p>
                                <a:endParaRPr lang="pt-BR"/>
                              </a:p>
                            </p:txBody>
                          </p:sp>
                          <p:sp>
                            <p:nvSpPr>
                              <p:cNvPr id="655" name="Freeform 18"/>
                              <p:cNvSpPr>
                                <a:spLocks noChangeArrowheads="1"/>
                              </p:cNvSpPr>
                              <p:nvPr/>
                            </p:nvSpPr>
                            <p:spPr bwMode="auto">
                              <a:xfrm>
                                <a:off x="7356370" y="1722685"/>
                                <a:ext cx="350171" cy="614790"/>
                              </a:xfrm>
                              <a:custGeom>
                                <a:avLst/>
                                <a:gdLst>
                                  <a:gd name="T0" fmla="*/ 2147483647 w 183"/>
                                  <a:gd name="T1" fmla="*/ 0 h 314"/>
                                  <a:gd name="T2" fmla="*/ 2147483647 w 183"/>
                                  <a:gd name="T3" fmla="*/ 2147483647 h 314"/>
                                  <a:gd name="T4" fmla="*/ 2147483647 w 183"/>
                                  <a:gd name="T5" fmla="*/ 2147483647 h 314"/>
                                  <a:gd name="T6" fmla="*/ 2147483647 w 183"/>
                                  <a:gd name="T7" fmla="*/ 2147483647 h 314"/>
                                  <a:gd name="T8" fmla="*/ 2147483647 w 183"/>
                                  <a:gd name="T9" fmla="*/ 2147483647 h 314"/>
                                  <a:gd name="T10" fmla="*/ 2147483647 w 183"/>
                                  <a:gd name="T11" fmla="*/ 2147483647 h 314"/>
                                  <a:gd name="T12" fmla="*/ 2147483647 w 183"/>
                                  <a:gd name="T13" fmla="*/ 2147483647 h 314"/>
                                  <a:gd name="T14" fmla="*/ 2147483647 w 183"/>
                                  <a:gd name="T15" fmla="*/ 2147483647 h 314"/>
                                  <a:gd name="T16" fmla="*/ 0 w 183"/>
                                  <a:gd name="T17" fmla="*/ 2147483647 h 314"/>
                                  <a:gd name="T18" fmla="*/ 0 w 183"/>
                                  <a:gd name="T19" fmla="*/ 2147483647 h 314"/>
                                  <a:gd name="T20" fmla="*/ 2147483647 w 183"/>
                                  <a:gd name="T21" fmla="*/ 2147483647 h 314"/>
                                  <a:gd name="T22" fmla="*/ 0 w 183"/>
                                  <a:gd name="T23" fmla="*/ 2147483647 h 314"/>
                                  <a:gd name="T24" fmla="*/ 2147483647 w 183"/>
                                  <a:gd name="T25" fmla="*/ 2147483647 h 314"/>
                                  <a:gd name="T26" fmla="*/ 2147483647 w 183"/>
                                  <a:gd name="T27" fmla="*/ 2147483647 h 314"/>
                                  <a:gd name="T28" fmla="*/ 2147483647 w 183"/>
                                  <a:gd name="T29" fmla="*/ 2147483647 h 314"/>
                                  <a:gd name="T30" fmla="*/ 2147483647 w 183"/>
                                  <a:gd name="T31" fmla="*/ 2147483647 h 314"/>
                                  <a:gd name="T32" fmla="*/ 2147483647 w 183"/>
                                  <a:gd name="T33" fmla="*/ 2147483647 h 314"/>
                                  <a:gd name="T34" fmla="*/ 2147483647 w 183"/>
                                  <a:gd name="T35" fmla="*/ 2147483647 h 314"/>
                                  <a:gd name="T36" fmla="*/ 2147483647 w 183"/>
                                  <a:gd name="T37" fmla="*/ 2147483647 h 314"/>
                                  <a:gd name="T38" fmla="*/ 2147483647 w 183"/>
                                  <a:gd name="T39" fmla="*/ 2147483647 h 314"/>
                                  <a:gd name="T40" fmla="*/ 2147483647 w 183"/>
                                  <a:gd name="T41" fmla="*/ 2147483647 h 314"/>
                                  <a:gd name="T42" fmla="*/ 2147483647 w 183"/>
                                  <a:gd name="T43" fmla="*/ 2147483647 h 314"/>
                                  <a:gd name="T44" fmla="*/ 2147483647 w 183"/>
                                  <a:gd name="T45" fmla="*/ 2147483647 h 314"/>
                                  <a:gd name="T46" fmla="*/ 2147483647 w 183"/>
                                  <a:gd name="T47" fmla="*/ 2147483647 h 314"/>
                                  <a:gd name="T48" fmla="*/ 2147483647 w 183"/>
                                  <a:gd name="T49" fmla="*/ 2147483647 h 314"/>
                                  <a:gd name="T50" fmla="*/ 2147483647 w 183"/>
                                  <a:gd name="T51" fmla="*/ 2147483647 h 314"/>
                                  <a:gd name="T52" fmla="*/ 2147483647 w 183"/>
                                  <a:gd name="T53" fmla="*/ 2147483647 h 314"/>
                                  <a:gd name="T54" fmla="*/ 2147483647 w 183"/>
                                  <a:gd name="T55" fmla="*/ 2147483647 h 314"/>
                                  <a:gd name="T56" fmla="*/ 2147483647 w 183"/>
                                  <a:gd name="T57" fmla="*/ 2147483647 h 314"/>
                                  <a:gd name="T58" fmla="*/ 2147483647 w 183"/>
                                  <a:gd name="T59" fmla="*/ 2147483647 h 314"/>
                                  <a:gd name="T60" fmla="*/ 2147483647 w 183"/>
                                  <a:gd name="T61" fmla="*/ 2147483647 h 314"/>
                                  <a:gd name="T62" fmla="*/ 2147483647 w 183"/>
                                  <a:gd name="T63" fmla="*/ 2147483647 h 314"/>
                                  <a:gd name="T64" fmla="*/ 2147483647 w 183"/>
                                  <a:gd name="T65" fmla="*/ 2147483647 h 314"/>
                                  <a:gd name="T66" fmla="*/ 2147483647 w 183"/>
                                  <a:gd name="T67" fmla="*/ 2147483647 h 314"/>
                                  <a:gd name="T68" fmla="*/ 2147483647 w 183"/>
                                  <a:gd name="T69" fmla="*/ 2147483647 h 314"/>
                                  <a:gd name="T70" fmla="*/ 2147483647 w 183"/>
                                  <a:gd name="T71" fmla="*/ 2147483647 h 314"/>
                                  <a:gd name="T72" fmla="*/ 2147483647 w 183"/>
                                  <a:gd name="T73" fmla="*/ 2147483647 h 314"/>
                                  <a:gd name="T74" fmla="*/ 2147483647 w 183"/>
                                  <a:gd name="T75" fmla="*/ 0 h 314"/>
                                  <a:gd name="T76" fmla="*/ 2147483647 w 183"/>
                                  <a:gd name="T77" fmla="*/ 0 h 31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83"/>
                                  <a:gd name="T118" fmla="*/ 0 h 314"/>
                                  <a:gd name="T119" fmla="*/ 183 w 183"/>
                                  <a:gd name="T120" fmla="*/ 314 h 31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83" h="314">
                                    <a:moveTo>
                                      <a:pt x="80" y="0"/>
                                    </a:moveTo>
                                    <a:lnTo>
                                      <a:pt x="92" y="12"/>
                                    </a:lnTo>
                                    <a:lnTo>
                                      <a:pt x="92" y="24"/>
                                    </a:lnTo>
                                    <a:lnTo>
                                      <a:pt x="56" y="56"/>
                                    </a:lnTo>
                                    <a:lnTo>
                                      <a:pt x="48" y="79"/>
                                    </a:lnTo>
                                    <a:lnTo>
                                      <a:pt x="48" y="111"/>
                                    </a:lnTo>
                                    <a:lnTo>
                                      <a:pt x="36" y="135"/>
                                    </a:lnTo>
                                    <a:lnTo>
                                      <a:pt x="12" y="167"/>
                                    </a:lnTo>
                                    <a:lnTo>
                                      <a:pt x="0" y="203"/>
                                    </a:lnTo>
                                    <a:lnTo>
                                      <a:pt x="0" y="235"/>
                                    </a:lnTo>
                                    <a:lnTo>
                                      <a:pt x="12" y="270"/>
                                    </a:lnTo>
                                    <a:lnTo>
                                      <a:pt x="0" y="302"/>
                                    </a:lnTo>
                                    <a:lnTo>
                                      <a:pt x="12" y="302"/>
                                    </a:lnTo>
                                    <a:lnTo>
                                      <a:pt x="36" y="294"/>
                                    </a:lnTo>
                                    <a:lnTo>
                                      <a:pt x="56" y="294"/>
                                    </a:lnTo>
                                    <a:lnTo>
                                      <a:pt x="68" y="302"/>
                                    </a:lnTo>
                                    <a:lnTo>
                                      <a:pt x="92" y="314"/>
                                    </a:lnTo>
                                    <a:lnTo>
                                      <a:pt x="104" y="302"/>
                                    </a:lnTo>
                                    <a:lnTo>
                                      <a:pt x="124" y="294"/>
                                    </a:lnTo>
                                    <a:lnTo>
                                      <a:pt x="171" y="302"/>
                                    </a:lnTo>
                                    <a:lnTo>
                                      <a:pt x="171" y="258"/>
                                    </a:lnTo>
                                    <a:lnTo>
                                      <a:pt x="159" y="227"/>
                                    </a:lnTo>
                                    <a:lnTo>
                                      <a:pt x="171" y="203"/>
                                    </a:lnTo>
                                    <a:lnTo>
                                      <a:pt x="183" y="191"/>
                                    </a:lnTo>
                                    <a:lnTo>
                                      <a:pt x="183" y="179"/>
                                    </a:lnTo>
                                    <a:lnTo>
                                      <a:pt x="171" y="179"/>
                                    </a:lnTo>
                                    <a:lnTo>
                                      <a:pt x="148" y="159"/>
                                    </a:lnTo>
                                    <a:lnTo>
                                      <a:pt x="136" y="135"/>
                                    </a:lnTo>
                                    <a:lnTo>
                                      <a:pt x="148" y="111"/>
                                    </a:lnTo>
                                    <a:lnTo>
                                      <a:pt x="159" y="99"/>
                                    </a:lnTo>
                                    <a:lnTo>
                                      <a:pt x="159" y="91"/>
                                    </a:lnTo>
                                    <a:lnTo>
                                      <a:pt x="148" y="79"/>
                                    </a:lnTo>
                                    <a:lnTo>
                                      <a:pt x="136" y="91"/>
                                    </a:lnTo>
                                    <a:lnTo>
                                      <a:pt x="116" y="79"/>
                                    </a:lnTo>
                                    <a:lnTo>
                                      <a:pt x="104" y="44"/>
                                    </a:lnTo>
                                    <a:lnTo>
                                      <a:pt x="116" y="24"/>
                                    </a:lnTo>
                                    <a:lnTo>
                                      <a:pt x="116" y="12"/>
                                    </a:lnTo>
                                    <a:lnTo>
                                      <a:pt x="104" y="0"/>
                                    </a:lnTo>
                                    <a:lnTo>
                                      <a:pt x="80" y="0"/>
                                    </a:lnTo>
                                    <a:close/>
                                  </a:path>
                                </a:pathLst>
                              </a:custGeom>
                              <a:solidFill>
                                <a:srgbClr val="FFFFFF"/>
                              </a:solidFill>
                              <a:ln w="9360">
                                <a:solidFill>
                                  <a:srgbClr val="969696"/>
                                </a:solidFill>
                                <a:round/>
                                <a:headEnd/>
                                <a:tailEnd/>
                              </a:ln>
                            </p:spPr>
                            <p:txBody>
                              <a:bodyPr wrap="none" anchor="ctr"/>
                              <a:lstStyle/>
                              <a:p>
                                <a:endParaRPr lang="pt-BR"/>
                              </a:p>
                            </p:txBody>
                          </p:sp>
                          <p:sp>
                            <p:nvSpPr>
                              <p:cNvPr id="656" name="Freeform 20"/>
                              <p:cNvSpPr>
                                <a:spLocks noChangeArrowheads="1"/>
                              </p:cNvSpPr>
                              <p:nvPr/>
                            </p:nvSpPr>
                            <p:spPr bwMode="auto">
                              <a:xfrm>
                                <a:off x="6946331" y="2585733"/>
                                <a:ext cx="433760" cy="483634"/>
                              </a:xfrm>
                              <a:custGeom>
                                <a:avLst/>
                                <a:gdLst>
                                  <a:gd name="T0" fmla="*/ 2147483647 w 226"/>
                                  <a:gd name="T1" fmla="*/ 2147483647 h 247"/>
                                  <a:gd name="T2" fmla="*/ 2147483647 w 226"/>
                                  <a:gd name="T3" fmla="*/ 2147483647 h 247"/>
                                  <a:gd name="T4" fmla="*/ 2147483647 w 226"/>
                                  <a:gd name="T5" fmla="*/ 0 h 247"/>
                                  <a:gd name="T6" fmla="*/ 2147483647 w 226"/>
                                  <a:gd name="T7" fmla="*/ 0 h 247"/>
                                  <a:gd name="T8" fmla="*/ 2147483647 w 226"/>
                                  <a:gd name="T9" fmla="*/ 2147483647 h 247"/>
                                  <a:gd name="T10" fmla="*/ 2147483647 w 226"/>
                                  <a:gd name="T11" fmla="*/ 2147483647 h 247"/>
                                  <a:gd name="T12" fmla="*/ 2147483647 w 226"/>
                                  <a:gd name="T13" fmla="*/ 2147483647 h 247"/>
                                  <a:gd name="T14" fmla="*/ 2147483647 w 226"/>
                                  <a:gd name="T15" fmla="*/ 2147483647 h 247"/>
                                  <a:gd name="T16" fmla="*/ 0 w 226"/>
                                  <a:gd name="T17" fmla="*/ 2147483647 h 247"/>
                                  <a:gd name="T18" fmla="*/ 0 w 226"/>
                                  <a:gd name="T19" fmla="*/ 2147483647 h 247"/>
                                  <a:gd name="T20" fmla="*/ 2147483647 w 226"/>
                                  <a:gd name="T21" fmla="*/ 2147483647 h 247"/>
                                  <a:gd name="T22" fmla="*/ 2147483647 w 226"/>
                                  <a:gd name="T23" fmla="*/ 2147483647 h 247"/>
                                  <a:gd name="T24" fmla="*/ 0 w 226"/>
                                  <a:gd name="T25" fmla="*/ 2147483647 h 247"/>
                                  <a:gd name="T26" fmla="*/ 0 w 226"/>
                                  <a:gd name="T27" fmla="*/ 2147483647 h 247"/>
                                  <a:gd name="T28" fmla="*/ 2147483647 w 226"/>
                                  <a:gd name="T29" fmla="*/ 2147483647 h 247"/>
                                  <a:gd name="T30" fmla="*/ 2147483647 w 226"/>
                                  <a:gd name="T31" fmla="*/ 2147483647 h 247"/>
                                  <a:gd name="T32" fmla="*/ 2147483647 w 226"/>
                                  <a:gd name="T33" fmla="*/ 2147483647 h 247"/>
                                  <a:gd name="T34" fmla="*/ 2147483647 w 226"/>
                                  <a:gd name="T35" fmla="*/ 2147483647 h 247"/>
                                  <a:gd name="T36" fmla="*/ 2147483647 w 226"/>
                                  <a:gd name="T37" fmla="*/ 2147483647 h 247"/>
                                  <a:gd name="T38" fmla="*/ 2147483647 w 226"/>
                                  <a:gd name="T39" fmla="*/ 2147483647 h 247"/>
                                  <a:gd name="T40" fmla="*/ 2147483647 w 226"/>
                                  <a:gd name="T41" fmla="*/ 2147483647 h 247"/>
                                  <a:gd name="T42" fmla="*/ 2147483647 w 226"/>
                                  <a:gd name="T43" fmla="*/ 2147483647 h 247"/>
                                  <a:gd name="T44" fmla="*/ 2147483647 w 226"/>
                                  <a:gd name="T45" fmla="*/ 2147483647 h 247"/>
                                  <a:gd name="T46" fmla="*/ 2147483647 w 226"/>
                                  <a:gd name="T47" fmla="*/ 2147483647 h 247"/>
                                  <a:gd name="T48" fmla="*/ 2147483647 w 226"/>
                                  <a:gd name="T49" fmla="*/ 2147483647 h 247"/>
                                  <a:gd name="T50" fmla="*/ 2147483647 w 226"/>
                                  <a:gd name="T51" fmla="*/ 2147483647 h 247"/>
                                  <a:gd name="T52" fmla="*/ 2147483647 w 226"/>
                                  <a:gd name="T53" fmla="*/ 2147483647 h 247"/>
                                  <a:gd name="T54" fmla="*/ 2147483647 w 226"/>
                                  <a:gd name="T55" fmla="*/ 2147483647 h 247"/>
                                  <a:gd name="T56" fmla="*/ 2147483647 w 226"/>
                                  <a:gd name="T57" fmla="*/ 2147483647 h 247"/>
                                  <a:gd name="T58" fmla="*/ 2147483647 w 226"/>
                                  <a:gd name="T59" fmla="*/ 2147483647 h 247"/>
                                  <a:gd name="T60" fmla="*/ 2147483647 w 226"/>
                                  <a:gd name="T61" fmla="*/ 2147483647 h 24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26"/>
                                  <a:gd name="T94" fmla="*/ 0 h 247"/>
                                  <a:gd name="T95" fmla="*/ 226 w 226"/>
                                  <a:gd name="T96" fmla="*/ 247 h 247"/>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26" h="247">
                                    <a:moveTo>
                                      <a:pt x="135" y="8"/>
                                    </a:moveTo>
                                    <a:lnTo>
                                      <a:pt x="127" y="8"/>
                                    </a:lnTo>
                                    <a:lnTo>
                                      <a:pt x="115" y="0"/>
                                    </a:lnTo>
                                    <a:lnTo>
                                      <a:pt x="103" y="0"/>
                                    </a:lnTo>
                                    <a:lnTo>
                                      <a:pt x="91" y="8"/>
                                    </a:lnTo>
                                    <a:lnTo>
                                      <a:pt x="67" y="20"/>
                                    </a:lnTo>
                                    <a:lnTo>
                                      <a:pt x="35" y="8"/>
                                    </a:lnTo>
                                    <a:lnTo>
                                      <a:pt x="12" y="8"/>
                                    </a:lnTo>
                                    <a:lnTo>
                                      <a:pt x="0" y="20"/>
                                    </a:lnTo>
                                    <a:lnTo>
                                      <a:pt x="0" y="56"/>
                                    </a:lnTo>
                                    <a:lnTo>
                                      <a:pt x="12" y="68"/>
                                    </a:lnTo>
                                    <a:lnTo>
                                      <a:pt x="12" y="88"/>
                                    </a:lnTo>
                                    <a:lnTo>
                                      <a:pt x="0" y="112"/>
                                    </a:lnTo>
                                    <a:lnTo>
                                      <a:pt x="0" y="179"/>
                                    </a:lnTo>
                                    <a:lnTo>
                                      <a:pt x="12" y="191"/>
                                    </a:lnTo>
                                    <a:lnTo>
                                      <a:pt x="59" y="191"/>
                                    </a:lnTo>
                                    <a:lnTo>
                                      <a:pt x="67" y="203"/>
                                    </a:lnTo>
                                    <a:lnTo>
                                      <a:pt x="79" y="235"/>
                                    </a:lnTo>
                                    <a:lnTo>
                                      <a:pt x="91" y="247"/>
                                    </a:lnTo>
                                    <a:lnTo>
                                      <a:pt x="115" y="247"/>
                                    </a:lnTo>
                                    <a:lnTo>
                                      <a:pt x="115" y="235"/>
                                    </a:lnTo>
                                    <a:lnTo>
                                      <a:pt x="135" y="203"/>
                                    </a:lnTo>
                                    <a:lnTo>
                                      <a:pt x="147" y="191"/>
                                    </a:lnTo>
                                    <a:lnTo>
                                      <a:pt x="183" y="156"/>
                                    </a:lnTo>
                                    <a:lnTo>
                                      <a:pt x="202" y="124"/>
                                    </a:lnTo>
                                    <a:lnTo>
                                      <a:pt x="226" y="88"/>
                                    </a:lnTo>
                                    <a:lnTo>
                                      <a:pt x="226" y="68"/>
                                    </a:lnTo>
                                    <a:lnTo>
                                      <a:pt x="202" y="68"/>
                                    </a:lnTo>
                                    <a:lnTo>
                                      <a:pt x="159" y="32"/>
                                    </a:lnTo>
                                    <a:lnTo>
                                      <a:pt x="135" y="20"/>
                                    </a:lnTo>
                                    <a:lnTo>
                                      <a:pt x="135" y="8"/>
                                    </a:lnTo>
                                    <a:close/>
                                  </a:path>
                                </a:pathLst>
                              </a:custGeom>
                              <a:solidFill>
                                <a:srgbClr val="FFFFFF"/>
                              </a:solidFill>
                              <a:ln w="9360">
                                <a:solidFill>
                                  <a:srgbClr val="969696"/>
                                </a:solidFill>
                                <a:round/>
                                <a:headEnd/>
                                <a:tailEnd/>
                              </a:ln>
                            </p:spPr>
                            <p:txBody>
                              <a:bodyPr wrap="none" anchor="ctr"/>
                              <a:lstStyle/>
                              <a:p>
                                <a:endParaRPr lang="pt-BR"/>
                              </a:p>
                            </p:txBody>
                          </p:sp>
                          <p:sp>
                            <p:nvSpPr>
                              <p:cNvPr id="657" name="Freeform 21"/>
                              <p:cNvSpPr>
                                <a:spLocks noChangeArrowheads="1"/>
                              </p:cNvSpPr>
                              <p:nvPr/>
                            </p:nvSpPr>
                            <p:spPr bwMode="auto">
                              <a:xfrm>
                                <a:off x="6646993" y="1877260"/>
                                <a:ext cx="734229" cy="771708"/>
                              </a:xfrm>
                              <a:custGeom>
                                <a:avLst/>
                                <a:gdLst>
                                  <a:gd name="T0" fmla="*/ 2147483647 w 382"/>
                                  <a:gd name="T1" fmla="*/ 2147483647 h 394"/>
                                  <a:gd name="T2" fmla="*/ 2147483647 w 382"/>
                                  <a:gd name="T3" fmla="*/ 2147483647 h 394"/>
                                  <a:gd name="T4" fmla="*/ 2147483647 w 382"/>
                                  <a:gd name="T5" fmla="*/ 2147483647 h 394"/>
                                  <a:gd name="T6" fmla="*/ 2147483647 w 382"/>
                                  <a:gd name="T7" fmla="*/ 2147483647 h 394"/>
                                  <a:gd name="T8" fmla="*/ 2147483647 w 382"/>
                                  <a:gd name="T9" fmla="*/ 2147483647 h 394"/>
                                  <a:gd name="T10" fmla="*/ 2147483647 w 382"/>
                                  <a:gd name="T11" fmla="*/ 0 h 394"/>
                                  <a:gd name="T12" fmla="*/ 2147483647 w 382"/>
                                  <a:gd name="T13" fmla="*/ 2147483647 h 394"/>
                                  <a:gd name="T14" fmla="*/ 2147483647 w 382"/>
                                  <a:gd name="T15" fmla="*/ 2147483647 h 394"/>
                                  <a:gd name="T16" fmla="*/ 2147483647 w 382"/>
                                  <a:gd name="T17" fmla="*/ 2147483647 h 394"/>
                                  <a:gd name="T18" fmla="*/ 2147483647 w 382"/>
                                  <a:gd name="T19" fmla="*/ 2147483647 h 394"/>
                                  <a:gd name="T20" fmla="*/ 0 w 382"/>
                                  <a:gd name="T21" fmla="*/ 2147483647 h 394"/>
                                  <a:gd name="T22" fmla="*/ 0 w 382"/>
                                  <a:gd name="T23" fmla="*/ 2147483647 h 394"/>
                                  <a:gd name="T24" fmla="*/ 2147483647 w 382"/>
                                  <a:gd name="T25" fmla="*/ 2147483647 h 394"/>
                                  <a:gd name="T26" fmla="*/ 2147483647 w 382"/>
                                  <a:gd name="T27" fmla="*/ 2147483647 h 394"/>
                                  <a:gd name="T28" fmla="*/ 2147483647 w 382"/>
                                  <a:gd name="T29" fmla="*/ 2147483647 h 394"/>
                                  <a:gd name="T30" fmla="*/ 2147483647 w 382"/>
                                  <a:gd name="T31" fmla="*/ 2147483647 h 394"/>
                                  <a:gd name="T32" fmla="*/ 2147483647 w 382"/>
                                  <a:gd name="T33" fmla="*/ 2147483647 h 394"/>
                                  <a:gd name="T34" fmla="*/ 2147483647 w 382"/>
                                  <a:gd name="T35" fmla="*/ 2147483647 h 394"/>
                                  <a:gd name="T36" fmla="*/ 2147483647 w 382"/>
                                  <a:gd name="T37" fmla="*/ 2147483647 h 394"/>
                                  <a:gd name="T38" fmla="*/ 2147483647 w 382"/>
                                  <a:gd name="T39" fmla="*/ 2147483647 h 394"/>
                                  <a:gd name="T40" fmla="*/ 2147483647 w 382"/>
                                  <a:gd name="T41" fmla="*/ 2147483647 h 394"/>
                                  <a:gd name="T42" fmla="*/ 2147483647 w 382"/>
                                  <a:gd name="T43" fmla="*/ 2147483647 h 394"/>
                                  <a:gd name="T44" fmla="*/ 2147483647 w 382"/>
                                  <a:gd name="T45" fmla="*/ 2147483647 h 394"/>
                                  <a:gd name="T46" fmla="*/ 2147483647 w 382"/>
                                  <a:gd name="T47" fmla="*/ 2147483647 h 394"/>
                                  <a:gd name="T48" fmla="*/ 2147483647 w 382"/>
                                  <a:gd name="T49" fmla="*/ 2147483647 h 394"/>
                                  <a:gd name="T50" fmla="*/ 2147483647 w 382"/>
                                  <a:gd name="T51" fmla="*/ 2147483647 h 394"/>
                                  <a:gd name="T52" fmla="*/ 2147483647 w 382"/>
                                  <a:gd name="T53" fmla="*/ 2147483647 h 394"/>
                                  <a:gd name="T54" fmla="*/ 2147483647 w 382"/>
                                  <a:gd name="T55" fmla="*/ 2147483647 h 394"/>
                                  <a:gd name="T56" fmla="*/ 2147483647 w 382"/>
                                  <a:gd name="T57" fmla="*/ 2147483647 h 394"/>
                                  <a:gd name="T58" fmla="*/ 2147483647 w 382"/>
                                  <a:gd name="T59" fmla="*/ 2147483647 h 394"/>
                                  <a:gd name="T60" fmla="*/ 2147483647 w 382"/>
                                  <a:gd name="T61" fmla="*/ 2147483647 h 394"/>
                                  <a:gd name="T62" fmla="*/ 2147483647 w 382"/>
                                  <a:gd name="T63" fmla="*/ 2147483647 h 394"/>
                                  <a:gd name="T64" fmla="*/ 2147483647 w 382"/>
                                  <a:gd name="T65" fmla="*/ 2147483647 h 394"/>
                                  <a:gd name="T66" fmla="*/ 2147483647 w 382"/>
                                  <a:gd name="T67" fmla="*/ 2147483647 h 394"/>
                                  <a:gd name="T68" fmla="*/ 2147483647 w 382"/>
                                  <a:gd name="T69" fmla="*/ 2147483647 h 394"/>
                                  <a:gd name="T70" fmla="*/ 2147483647 w 382"/>
                                  <a:gd name="T71" fmla="*/ 2147483647 h 394"/>
                                  <a:gd name="T72" fmla="*/ 2147483647 w 382"/>
                                  <a:gd name="T73" fmla="*/ 2147483647 h 394"/>
                                  <a:gd name="T74" fmla="*/ 2147483647 w 382"/>
                                  <a:gd name="T75" fmla="*/ 2147483647 h 394"/>
                                  <a:gd name="T76" fmla="*/ 2147483647 w 382"/>
                                  <a:gd name="T77" fmla="*/ 2147483647 h 394"/>
                                  <a:gd name="T78" fmla="*/ 2147483647 w 382"/>
                                  <a:gd name="T79" fmla="*/ 2147483647 h 394"/>
                                  <a:gd name="T80" fmla="*/ 2147483647 w 382"/>
                                  <a:gd name="T81" fmla="*/ 2147483647 h 394"/>
                                  <a:gd name="T82" fmla="*/ 2147483647 w 382"/>
                                  <a:gd name="T83" fmla="*/ 2147483647 h 394"/>
                                  <a:gd name="T84" fmla="*/ 2147483647 w 382"/>
                                  <a:gd name="T85" fmla="*/ 2147483647 h 394"/>
                                  <a:gd name="T86" fmla="*/ 2147483647 w 382"/>
                                  <a:gd name="T87" fmla="*/ 2147483647 h 39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82"/>
                                  <a:gd name="T133" fmla="*/ 0 h 394"/>
                                  <a:gd name="T134" fmla="*/ 382 w 382"/>
                                  <a:gd name="T135" fmla="*/ 394 h 39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82" h="394">
                                    <a:moveTo>
                                      <a:pt x="382" y="88"/>
                                    </a:moveTo>
                                    <a:lnTo>
                                      <a:pt x="179" y="80"/>
                                    </a:lnTo>
                                    <a:lnTo>
                                      <a:pt x="156" y="68"/>
                                    </a:lnTo>
                                    <a:lnTo>
                                      <a:pt x="148" y="56"/>
                                    </a:lnTo>
                                    <a:lnTo>
                                      <a:pt x="136" y="32"/>
                                    </a:lnTo>
                                    <a:lnTo>
                                      <a:pt x="112" y="0"/>
                                    </a:lnTo>
                                    <a:lnTo>
                                      <a:pt x="112" y="20"/>
                                    </a:lnTo>
                                    <a:lnTo>
                                      <a:pt x="100" y="44"/>
                                    </a:lnTo>
                                    <a:lnTo>
                                      <a:pt x="100" y="68"/>
                                    </a:lnTo>
                                    <a:lnTo>
                                      <a:pt x="8" y="68"/>
                                    </a:lnTo>
                                    <a:lnTo>
                                      <a:pt x="0" y="88"/>
                                    </a:lnTo>
                                    <a:lnTo>
                                      <a:pt x="0" y="148"/>
                                    </a:lnTo>
                                    <a:lnTo>
                                      <a:pt x="56" y="156"/>
                                    </a:lnTo>
                                    <a:lnTo>
                                      <a:pt x="56" y="203"/>
                                    </a:lnTo>
                                    <a:lnTo>
                                      <a:pt x="32" y="247"/>
                                    </a:lnTo>
                                    <a:lnTo>
                                      <a:pt x="44" y="283"/>
                                    </a:lnTo>
                                    <a:lnTo>
                                      <a:pt x="32" y="295"/>
                                    </a:lnTo>
                                    <a:lnTo>
                                      <a:pt x="44" y="315"/>
                                    </a:lnTo>
                                    <a:lnTo>
                                      <a:pt x="44" y="339"/>
                                    </a:lnTo>
                                    <a:lnTo>
                                      <a:pt x="100" y="350"/>
                                    </a:lnTo>
                                    <a:lnTo>
                                      <a:pt x="124" y="350"/>
                                    </a:lnTo>
                                    <a:lnTo>
                                      <a:pt x="124" y="362"/>
                                    </a:lnTo>
                                    <a:lnTo>
                                      <a:pt x="136" y="382"/>
                                    </a:lnTo>
                                    <a:lnTo>
                                      <a:pt x="156" y="394"/>
                                    </a:lnTo>
                                    <a:lnTo>
                                      <a:pt x="156" y="382"/>
                                    </a:lnTo>
                                    <a:lnTo>
                                      <a:pt x="168" y="370"/>
                                    </a:lnTo>
                                    <a:lnTo>
                                      <a:pt x="191" y="370"/>
                                    </a:lnTo>
                                    <a:lnTo>
                                      <a:pt x="223" y="382"/>
                                    </a:lnTo>
                                    <a:lnTo>
                                      <a:pt x="247" y="370"/>
                                    </a:lnTo>
                                    <a:lnTo>
                                      <a:pt x="259" y="362"/>
                                    </a:lnTo>
                                    <a:lnTo>
                                      <a:pt x="271" y="362"/>
                                    </a:lnTo>
                                    <a:lnTo>
                                      <a:pt x="283" y="370"/>
                                    </a:lnTo>
                                    <a:lnTo>
                                      <a:pt x="291" y="370"/>
                                    </a:lnTo>
                                    <a:lnTo>
                                      <a:pt x="291" y="362"/>
                                    </a:lnTo>
                                    <a:lnTo>
                                      <a:pt x="303" y="327"/>
                                    </a:lnTo>
                                    <a:lnTo>
                                      <a:pt x="327" y="303"/>
                                    </a:lnTo>
                                    <a:lnTo>
                                      <a:pt x="339" y="283"/>
                                    </a:lnTo>
                                    <a:lnTo>
                                      <a:pt x="358" y="271"/>
                                    </a:lnTo>
                                    <a:lnTo>
                                      <a:pt x="370" y="247"/>
                                    </a:lnTo>
                                    <a:lnTo>
                                      <a:pt x="370" y="223"/>
                                    </a:lnTo>
                                    <a:lnTo>
                                      <a:pt x="382" y="191"/>
                                    </a:lnTo>
                                    <a:lnTo>
                                      <a:pt x="370" y="156"/>
                                    </a:lnTo>
                                    <a:lnTo>
                                      <a:pt x="370" y="124"/>
                                    </a:lnTo>
                                    <a:lnTo>
                                      <a:pt x="382" y="88"/>
                                    </a:lnTo>
                                    <a:close/>
                                  </a:path>
                                </a:pathLst>
                              </a:custGeom>
                              <a:solidFill>
                                <a:srgbClr val="FFFFFF"/>
                              </a:solidFill>
                              <a:ln w="9360">
                                <a:solidFill>
                                  <a:srgbClr val="969696"/>
                                </a:solidFill>
                                <a:round/>
                                <a:headEnd/>
                                <a:tailEnd/>
                              </a:ln>
                            </p:spPr>
                            <p:txBody>
                              <a:bodyPr wrap="none" anchor="ctr"/>
                              <a:lstStyle/>
                              <a:p>
                                <a:endParaRPr lang="pt-BR"/>
                              </a:p>
                            </p:txBody>
                          </p:sp>
                          <p:sp>
                            <p:nvSpPr>
                              <p:cNvPr id="658" name="Freeform 22"/>
                              <p:cNvSpPr>
                                <a:spLocks noChangeArrowheads="1"/>
                              </p:cNvSpPr>
                              <p:nvPr/>
                            </p:nvSpPr>
                            <p:spPr bwMode="auto">
                              <a:xfrm>
                                <a:off x="6274231" y="1941666"/>
                                <a:ext cx="478943" cy="418058"/>
                              </a:xfrm>
                              <a:custGeom>
                                <a:avLst/>
                                <a:gdLst>
                                  <a:gd name="T0" fmla="*/ 2147483647 w 250"/>
                                  <a:gd name="T1" fmla="*/ 2147483647 h 215"/>
                                  <a:gd name="T2" fmla="*/ 2147483647 w 250"/>
                                  <a:gd name="T3" fmla="*/ 2147483647 h 215"/>
                                  <a:gd name="T4" fmla="*/ 2147483647 w 250"/>
                                  <a:gd name="T5" fmla="*/ 2147483647 h 215"/>
                                  <a:gd name="T6" fmla="*/ 2147483647 w 250"/>
                                  <a:gd name="T7" fmla="*/ 2147483647 h 215"/>
                                  <a:gd name="T8" fmla="*/ 2147483647 w 250"/>
                                  <a:gd name="T9" fmla="*/ 2147483647 h 215"/>
                                  <a:gd name="T10" fmla="*/ 2147483647 w 250"/>
                                  <a:gd name="T11" fmla="*/ 2147483647 h 215"/>
                                  <a:gd name="T12" fmla="*/ 2147483647 w 250"/>
                                  <a:gd name="T13" fmla="*/ 2147483647 h 215"/>
                                  <a:gd name="T14" fmla="*/ 2147483647 w 250"/>
                                  <a:gd name="T15" fmla="*/ 0 h 215"/>
                                  <a:gd name="T16" fmla="*/ 2147483647 w 250"/>
                                  <a:gd name="T17" fmla="*/ 2147483647 h 215"/>
                                  <a:gd name="T18" fmla="*/ 2147483647 w 250"/>
                                  <a:gd name="T19" fmla="*/ 2147483647 h 215"/>
                                  <a:gd name="T20" fmla="*/ 2147483647 w 250"/>
                                  <a:gd name="T21" fmla="*/ 2147483647 h 215"/>
                                  <a:gd name="T22" fmla="*/ 2147483647 w 250"/>
                                  <a:gd name="T23" fmla="*/ 2147483647 h 215"/>
                                  <a:gd name="T24" fmla="*/ 2147483647 w 250"/>
                                  <a:gd name="T25" fmla="*/ 2147483647 h 215"/>
                                  <a:gd name="T26" fmla="*/ 2147483647 w 250"/>
                                  <a:gd name="T27" fmla="*/ 2147483647 h 215"/>
                                  <a:gd name="T28" fmla="*/ 0 w 250"/>
                                  <a:gd name="T29" fmla="*/ 2147483647 h 215"/>
                                  <a:gd name="T30" fmla="*/ 2147483647 w 250"/>
                                  <a:gd name="T31" fmla="*/ 2147483647 h 215"/>
                                  <a:gd name="T32" fmla="*/ 2147483647 w 250"/>
                                  <a:gd name="T33" fmla="*/ 2147483647 h 215"/>
                                  <a:gd name="T34" fmla="*/ 2147483647 w 250"/>
                                  <a:gd name="T35" fmla="*/ 2147483647 h 215"/>
                                  <a:gd name="T36" fmla="*/ 2147483647 w 250"/>
                                  <a:gd name="T37" fmla="*/ 2147483647 h 215"/>
                                  <a:gd name="T38" fmla="*/ 2147483647 w 250"/>
                                  <a:gd name="T39" fmla="*/ 2147483647 h 215"/>
                                  <a:gd name="T40" fmla="*/ 2147483647 w 250"/>
                                  <a:gd name="T41" fmla="*/ 2147483647 h 215"/>
                                  <a:gd name="T42" fmla="*/ 2147483647 w 250"/>
                                  <a:gd name="T43" fmla="*/ 2147483647 h 215"/>
                                  <a:gd name="T44" fmla="*/ 2147483647 w 250"/>
                                  <a:gd name="T45" fmla="*/ 2147483647 h 215"/>
                                  <a:gd name="T46" fmla="*/ 2147483647 w 250"/>
                                  <a:gd name="T47" fmla="*/ 2147483647 h 215"/>
                                  <a:gd name="T48" fmla="*/ 2147483647 w 250"/>
                                  <a:gd name="T49" fmla="*/ 2147483647 h 215"/>
                                  <a:gd name="T50" fmla="*/ 2147483647 w 250"/>
                                  <a:gd name="T51" fmla="*/ 2147483647 h 215"/>
                                  <a:gd name="T52" fmla="*/ 2147483647 w 250"/>
                                  <a:gd name="T53" fmla="*/ 2147483647 h 215"/>
                                  <a:gd name="T54" fmla="*/ 2147483647 w 250"/>
                                  <a:gd name="T55" fmla="*/ 2147483647 h 215"/>
                                  <a:gd name="T56" fmla="*/ 2147483647 w 250"/>
                                  <a:gd name="T57" fmla="*/ 2147483647 h 215"/>
                                  <a:gd name="T58" fmla="*/ 2147483647 w 250"/>
                                  <a:gd name="T59" fmla="*/ 2147483647 h 21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50"/>
                                  <a:gd name="T91" fmla="*/ 0 h 215"/>
                                  <a:gd name="T92" fmla="*/ 250 w 250"/>
                                  <a:gd name="T93" fmla="*/ 215 h 21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50" h="215">
                                    <a:moveTo>
                                      <a:pt x="202" y="36"/>
                                    </a:moveTo>
                                    <a:lnTo>
                                      <a:pt x="183" y="36"/>
                                    </a:lnTo>
                                    <a:lnTo>
                                      <a:pt x="171" y="48"/>
                                    </a:lnTo>
                                    <a:lnTo>
                                      <a:pt x="159" y="48"/>
                                    </a:lnTo>
                                    <a:lnTo>
                                      <a:pt x="159" y="24"/>
                                    </a:lnTo>
                                    <a:lnTo>
                                      <a:pt x="147" y="12"/>
                                    </a:lnTo>
                                    <a:lnTo>
                                      <a:pt x="135" y="12"/>
                                    </a:lnTo>
                                    <a:lnTo>
                                      <a:pt x="115" y="0"/>
                                    </a:lnTo>
                                    <a:lnTo>
                                      <a:pt x="91" y="12"/>
                                    </a:lnTo>
                                    <a:lnTo>
                                      <a:pt x="91" y="24"/>
                                    </a:lnTo>
                                    <a:lnTo>
                                      <a:pt x="79" y="36"/>
                                    </a:lnTo>
                                    <a:lnTo>
                                      <a:pt x="59" y="48"/>
                                    </a:lnTo>
                                    <a:lnTo>
                                      <a:pt x="59" y="56"/>
                                    </a:lnTo>
                                    <a:lnTo>
                                      <a:pt x="23" y="68"/>
                                    </a:lnTo>
                                    <a:lnTo>
                                      <a:pt x="0" y="92"/>
                                    </a:lnTo>
                                    <a:lnTo>
                                      <a:pt x="12" y="104"/>
                                    </a:lnTo>
                                    <a:lnTo>
                                      <a:pt x="35" y="92"/>
                                    </a:lnTo>
                                    <a:lnTo>
                                      <a:pt x="47" y="92"/>
                                    </a:lnTo>
                                    <a:lnTo>
                                      <a:pt x="59" y="104"/>
                                    </a:lnTo>
                                    <a:lnTo>
                                      <a:pt x="59" y="135"/>
                                    </a:lnTo>
                                    <a:lnTo>
                                      <a:pt x="79" y="171"/>
                                    </a:lnTo>
                                    <a:lnTo>
                                      <a:pt x="127" y="183"/>
                                    </a:lnTo>
                                    <a:lnTo>
                                      <a:pt x="147" y="191"/>
                                    </a:lnTo>
                                    <a:lnTo>
                                      <a:pt x="202" y="203"/>
                                    </a:lnTo>
                                    <a:lnTo>
                                      <a:pt x="226" y="215"/>
                                    </a:lnTo>
                                    <a:lnTo>
                                      <a:pt x="250" y="171"/>
                                    </a:lnTo>
                                    <a:lnTo>
                                      <a:pt x="250" y="124"/>
                                    </a:lnTo>
                                    <a:lnTo>
                                      <a:pt x="194" y="116"/>
                                    </a:lnTo>
                                    <a:lnTo>
                                      <a:pt x="194" y="56"/>
                                    </a:lnTo>
                                    <a:lnTo>
                                      <a:pt x="202" y="36"/>
                                    </a:lnTo>
                                    <a:close/>
                                  </a:path>
                                </a:pathLst>
                              </a:custGeom>
                              <a:solidFill>
                                <a:srgbClr val="FFFFFF"/>
                              </a:solidFill>
                              <a:ln w="9360">
                                <a:solidFill>
                                  <a:srgbClr val="969696"/>
                                </a:solidFill>
                                <a:round/>
                                <a:headEnd/>
                                <a:tailEnd/>
                              </a:ln>
                            </p:spPr>
                            <p:txBody>
                              <a:bodyPr wrap="none" anchor="ctr"/>
                              <a:lstStyle/>
                              <a:p>
                                <a:endParaRPr lang="pt-BR"/>
                              </a:p>
                            </p:txBody>
                          </p:sp>
                          <p:sp>
                            <p:nvSpPr>
                              <p:cNvPr id="659" name="Freeform 23"/>
                              <p:cNvSpPr>
                                <a:spLocks noChangeArrowheads="1"/>
                              </p:cNvSpPr>
                              <p:nvPr/>
                            </p:nvSpPr>
                            <p:spPr bwMode="auto">
                              <a:xfrm>
                                <a:off x="5795288" y="1941666"/>
                                <a:ext cx="498145" cy="262311"/>
                              </a:xfrm>
                              <a:custGeom>
                                <a:avLst/>
                                <a:gdLst>
                                  <a:gd name="T0" fmla="*/ 0 w 259"/>
                                  <a:gd name="T1" fmla="*/ 0 h 135"/>
                                  <a:gd name="T2" fmla="*/ 2147483647 w 259"/>
                                  <a:gd name="T3" fmla="*/ 2147483647 h 135"/>
                                  <a:gd name="T4" fmla="*/ 2147483647 w 259"/>
                                  <a:gd name="T5" fmla="*/ 2147483647 h 135"/>
                                  <a:gd name="T6" fmla="*/ 2147483647 w 259"/>
                                  <a:gd name="T7" fmla="*/ 2147483647 h 135"/>
                                  <a:gd name="T8" fmla="*/ 2147483647 w 259"/>
                                  <a:gd name="T9" fmla="*/ 2147483647 h 135"/>
                                  <a:gd name="T10" fmla="*/ 2147483647 w 259"/>
                                  <a:gd name="T11" fmla="*/ 2147483647 h 135"/>
                                  <a:gd name="T12" fmla="*/ 2147483647 w 259"/>
                                  <a:gd name="T13" fmla="*/ 2147483647 h 135"/>
                                  <a:gd name="T14" fmla="*/ 2147483647 w 259"/>
                                  <a:gd name="T15" fmla="*/ 2147483647 h 135"/>
                                  <a:gd name="T16" fmla="*/ 2147483647 w 259"/>
                                  <a:gd name="T17" fmla="*/ 2147483647 h 135"/>
                                  <a:gd name="T18" fmla="*/ 2147483647 w 259"/>
                                  <a:gd name="T19" fmla="*/ 2147483647 h 135"/>
                                  <a:gd name="T20" fmla="*/ 2147483647 w 259"/>
                                  <a:gd name="T21" fmla="*/ 2147483647 h 135"/>
                                  <a:gd name="T22" fmla="*/ 2147483647 w 259"/>
                                  <a:gd name="T23" fmla="*/ 2147483647 h 135"/>
                                  <a:gd name="T24" fmla="*/ 2147483647 w 259"/>
                                  <a:gd name="T25" fmla="*/ 2147483647 h 135"/>
                                  <a:gd name="T26" fmla="*/ 2147483647 w 259"/>
                                  <a:gd name="T27" fmla="*/ 2147483647 h 135"/>
                                  <a:gd name="T28" fmla="*/ 2147483647 w 259"/>
                                  <a:gd name="T29" fmla="*/ 2147483647 h 135"/>
                                  <a:gd name="T30" fmla="*/ 2147483647 w 259"/>
                                  <a:gd name="T31" fmla="*/ 2147483647 h 135"/>
                                  <a:gd name="T32" fmla="*/ 2147483647 w 259"/>
                                  <a:gd name="T33" fmla="*/ 2147483647 h 135"/>
                                  <a:gd name="T34" fmla="*/ 2147483647 w 259"/>
                                  <a:gd name="T35" fmla="*/ 2147483647 h 135"/>
                                  <a:gd name="T36" fmla="*/ 2147483647 w 259"/>
                                  <a:gd name="T37" fmla="*/ 2147483647 h 135"/>
                                  <a:gd name="T38" fmla="*/ 2147483647 w 259"/>
                                  <a:gd name="T39" fmla="*/ 2147483647 h 135"/>
                                  <a:gd name="T40" fmla="*/ 0 w 259"/>
                                  <a:gd name="T41" fmla="*/ 2147483647 h 135"/>
                                  <a:gd name="T42" fmla="*/ 0 w 259"/>
                                  <a:gd name="T43" fmla="*/ 0 h 13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59"/>
                                  <a:gd name="T67" fmla="*/ 0 h 135"/>
                                  <a:gd name="T68" fmla="*/ 259 w 259"/>
                                  <a:gd name="T69" fmla="*/ 135 h 13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59" h="135">
                                    <a:moveTo>
                                      <a:pt x="0" y="0"/>
                                    </a:moveTo>
                                    <a:lnTo>
                                      <a:pt x="24" y="12"/>
                                    </a:lnTo>
                                    <a:lnTo>
                                      <a:pt x="56" y="24"/>
                                    </a:lnTo>
                                    <a:lnTo>
                                      <a:pt x="91" y="24"/>
                                    </a:lnTo>
                                    <a:lnTo>
                                      <a:pt x="123" y="36"/>
                                    </a:lnTo>
                                    <a:lnTo>
                                      <a:pt x="171" y="56"/>
                                    </a:lnTo>
                                    <a:lnTo>
                                      <a:pt x="203" y="80"/>
                                    </a:lnTo>
                                    <a:lnTo>
                                      <a:pt x="247" y="92"/>
                                    </a:lnTo>
                                    <a:lnTo>
                                      <a:pt x="259" y="104"/>
                                    </a:lnTo>
                                    <a:lnTo>
                                      <a:pt x="227" y="124"/>
                                    </a:lnTo>
                                    <a:lnTo>
                                      <a:pt x="179" y="135"/>
                                    </a:lnTo>
                                    <a:lnTo>
                                      <a:pt x="123" y="135"/>
                                    </a:lnTo>
                                    <a:lnTo>
                                      <a:pt x="111" y="124"/>
                                    </a:lnTo>
                                    <a:lnTo>
                                      <a:pt x="111" y="92"/>
                                    </a:lnTo>
                                    <a:lnTo>
                                      <a:pt x="91" y="116"/>
                                    </a:lnTo>
                                    <a:lnTo>
                                      <a:pt x="68" y="116"/>
                                    </a:lnTo>
                                    <a:lnTo>
                                      <a:pt x="56" y="104"/>
                                    </a:lnTo>
                                    <a:lnTo>
                                      <a:pt x="44" y="104"/>
                                    </a:lnTo>
                                    <a:lnTo>
                                      <a:pt x="36" y="80"/>
                                    </a:lnTo>
                                    <a:lnTo>
                                      <a:pt x="12" y="56"/>
                                    </a:lnTo>
                                    <a:lnTo>
                                      <a:pt x="0" y="36"/>
                                    </a:lnTo>
                                    <a:lnTo>
                                      <a:pt x="0" y="0"/>
                                    </a:lnTo>
                                    <a:close/>
                                  </a:path>
                                </a:pathLst>
                              </a:custGeom>
                              <a:solidFill>
                                <a:srgbClr val="FFFFFF"/>
                              </a:solidFill>
                              <a:ln w="9360">
                                <a:solidFill>
                                  <a:srgbClr val="969696"/>
                                </a:solidFill>
                                <a:round/>
                                <a:headEnd/>
                                <a:tailEnd/>
                              </a:ln>
                            </p:spPr>
                            <p:txBody>
                              <a:bodyPr wrap="none" anchor="ctr"/>
                              <a:lstStyle/>
                              <a:p>
                                <a:endParaRPr lang="pt-BR"/>
                              </a:p>
                            </p:txBody>
                          </p:sp>
                          <p:sp>
                            <p:nvSpPr>
                              <p:cNvPr id="660" name="Freeform 24"/>
                              <p:cNvSpPr>
                                <a:spLocks noChangeArrowheads="1"/>
                              </p:cNvSpPr>
                              <p:nvPr/>
                            </p:nvSpPr>
                            <p:spPr bwMode="auto">
                              <a:xfrm>
                                <a:off x="6753174" y="1169960"/>
                                <a:ext cx="908185" cy="880613"/>
                              </a:xfrm>
                              <a:custGeom>
                                <a:avLst/>
                                <a:gdLst>
                                  <a:gd name="T0" fmla="*/ 0 w 473"/>
                                  <a:gd name="T1" fmla="*/ 2147483647 h 450"/>
                                  <a:gd name="T2" fmla="*/ 2147483647 w 473"/>
                                  <a:gd name="T3" fmla="*/ 2147483647 h 450"/>
                                  <a:gd name="T4" fmla="*/ 2147483647 w 473"/>
                                  <a:gd name="T5" fmla="*/ 2147483647 h 450"/>
                                  <a:gd name="T6" fmla="*/ 2147483647 w 473"/>
                                  <a:gd name="T7" fmla="*/ 2147483647 h 450"/>
                                  <a:gd name="T8" fmla="*/ 2147483647 w 473"/>
                                  <a:gd name="T9" fmla="*/ 2147483647 h 450"/>
                                  <a:gd name="T10" fmla="*/ 2147483647 w 473"/>
                                  <a:gd name="T11" fmla="*/ 2147483647 h 450"/>
                                  <a:gd name="T12" fmla="*/ 2147483647 w 473"/>
                                  <a:gd name="T13" fmla="*/ 2147483647 h 450"/>
                                  <a:gd name="T14" fmla="*/ 2147483647 w 473"/>
                                  <a:gd name="T15" fmla="*/ 2147483647 h 450"/>
                                  <a:gd name="T16" fmla="*/ 2147483647 w 473"/>
                                  <a:gd name="T17" fmla="*/ 2147483647 h 450"/>
                                  <a:gd name="T18" fmla="*/ 2147483647 w 473"/>
                                  <a:gd name="T19" fmla="*/ 2147483647 h 450"/>
                                  <a:gd name="T20" fmla="*/ 2147483647 w 473"/>
                                  <a:gd name="T21" fmla="*/ 2147483647 h 450"/>
                                  <a:gd name="T22" fmla="*/ 2147483647 w 473"/>
                                  <a:gd name="T23" fmla="*/ 2147483647 h 450"/>
                                  <a:gd name="T24" fmla="*/ 2147483647 w 473"/>
                                  <a:gd name="T25" fmla="*/ 2147483647 h 450"/>
                                  <a:gd name="T26" fmla="*/ 2147483647 w 473"/>
                                  <a:gd name="T27" fmla="*/ 2147483647 h 450"/>
                                  <a:gd name="T28" fmla="*/ 2147483647 w 473"/>
                                  <a:gd name="T29" fmla="*/ 2147483647 h 450"/>
                                  <a:gd name="T30" fmla="*/ 2147483647 w 473"/>
                                  <a:gd name="T31" fmla="*/ 2147483647 h 450"/>
                                  <a:gd name="T32" fmla="*/ 2147483647 w 473"/>
                                  <a:gd name="T33" fmla="*/ 2147483647 h 450"/>
                                  <a:gd name="T34" fmla="*/ 2147483647 w 473"/>
                                  <a:gd name="T35" fmla="*/ 2147483647 h 450"/>
                                  <a:gd name="T36" fmla="*/ 2147483647 w 473"/>
                                  <a:gd name="T37" fmla="*/ 2147483647 h 450"/>
                                  <a:gd name="T38" fmla="*/ 2147483647 w 473"/>
                                  <a:gd name="T39" fmla="*/ 2147483647 h 450"/>
                                  <a:gd name="T40" fmla="*/ 2147483647 w 473"/>
                                  <a:gd name="T41" fmla="*/ 2147483647 h 450"/>
                                  <a:gd name="T42" fmla="*/ 2147483647 w 473"/>
                                  <a:gd name="T43" fmla="*/ 2147483647 h 450"/>
                                  <a:gd name="T44" fmla="*/ 2147483647 w 473"/>
                                  <a:gd name="T45" fmla="*/ 2147483647 h 450"/>
                                  <a:gd name="T46" fmla="*/ 2147483647 w 473"/>
                                  <a:gd name="T47" fmla="*/ 2147483647 h 450"/>
                                  <a:gd name="T48" fmla="*/ 2147483647 w 473"/>
                                  <a:gd name="T49" fmla="*/ 2147483647 h 450"/>
                                  <a:gd name="T50" fmla="*/ 2147483647 w 473"/>
                                  <a:gd name="T51" fmla="*/ 2147483647 h 450"/>
                                  <a:gd name="T52" fmla="*/ 2147483647 w 473"/>
                                  <a:gd name="T53" fmla="*/ 2147483647 h 450"/>
                                  <a:gd name="T54" fmla="*/ 2147483647 w 473"/>
                                  <a:gd name="T55" fmla="*/ 2147483647 h 450"/>
                                  <a:gd name="T56" fmla="*/ 2147483647 w 473"/>
                                  <a:gd name="T57" fmla="*/ 2147483647 h 450"/>
                                  <a:gd name="T58" fmla="*/ 2147483647 w 473"/>
                                  <a:gd name="T59" fmla="*/ 2147483647 h 450"/>
                                  <a:gd name="T60" fmla="*/ 2147483647 w 473"/>
                                  <a:gd name="T61" fmla="*/ 2147483647 h 450"/>
                                  <a:gd name="T62" fmla="*/ 2147483647 w 473"/>
                                  <a:gd name="T63" fmla="*/ 2147483647 h 450"/>
                                  <a:gd name="T64" fmla="*/ 2147483647 w 473"/>
                                  <a:gd name="T65" fmla="*/ 2147483647 h 450"/>
                                  <a:gd name="T66" fmla="*/ 2147483647 w 473"/>
                                  <a:gd name="T67" fmla="*/ 2147483647 h 450"/>
                                  <a:gd name="T68" fmla="*/ 2147483647 w 473"/>
                                  <a:gd name="T69" fmla="*/ 2147483647 h 450"/>
                                  <a:gd name="T70" fmla="*/ 2147483647 w 473"/>
                                  <a:gd name="T71" fmla="*/ 2147483647 h 450"/>
                                  <a:gd name="T72" fmla="*/ 2147483647 w 473"/>
                                  <a:gd name="T73" fmla="*/ 2147483647 h 450"/>
                                  <a:gd name="T74" fmla="*/ 2147483647 w 473"/>
                                  <a:gd name="T75" fmla="*/ 2147483647 h 450"/>
                                  <a:gd name="T76" fmla="*/ 2147483647 w 473"/>
                                  <a:gd name="T77" fmla="*/ 2147483647 h 450"/>
                                  <a:gd name="T78" fmla="*/ 2147483647 w 473"/>
                                  <a:gd name="T79" fmla="*/ 2147483647 h 450"/>
                                  <a:gd name="T80" fmla="*/ 2147483647 w 473"/>
                                  <a:gd name="T81" fmla="*/ 2147483647 h 450"/>
                                  <a:gd name="T82" fmla="*/ 2147483647 w 473"/>
                                  <a:gd name="T83" fmla="*/ 2147483647 h 450"/>
                                  <a:gd name="T84" fmla="*/ 2147483647 w 473"/>
                                  <a:gd name="T85" fmla="*/ 2147483647 h 450"/>
                                  <a:gd name="T86" fmla="*/ 2147483647 w 473"/>
                                  <a:gd name="T87" fmla="*/ 2147483647 h 450"/>
                                  <a:gd name="T88" fmla="*/ 2147483647 w 473"/>
                                  <a:gd name="T89" fmla="*/ 2147483647 h 450"/>
                                  <a:gd name="T90" fmla="*/ 2147483647 w 473"/>
                                  <a:gd name="T91" fmla="*/ 0 h 450"/>
                                  <a:gd name="T92" fmla="*/ 2147483647 w 473"/>
                                  <a:gd name="T93" fmla="*/ 0 h 450"/>
                                  <a:gd name="T94" fmla="*/ 2147483647 w 473"/>
                                  <a:gd name="T95" fmla="*/ 2147483647 h 450"/>
                                  <a:gd name="T96" fmla="*/ 2147483647 w 473"/>
                                  <a:gd name="T97" fmla="*/ 2147483647 h 450"/>
                                  <a:gd name="T98" fmla="*/ 2147483647 w 473"/>
                                  <a:gd name="T99" fmla="*/ 2147483647 h 450"/>
                                  <a:gd name="T100" fmla="*/ 2147483647 w 473"/>
                                  <a:gd name="T101" fmla="*/ 2147483647 h 450"/>
                                  <a:gd name="T102" fmla="*/ 2147483647 w 473"/>
                                  <a:gd name="T103" fmla="*/ 2147483647 h 450"/>
                                  <a:gd name="T104" fmla="*/ 2147483647 w 473"/>
                                  <a:gd name="T105" fmla="*/ 2147483647 h 450"/>
                                  <a:gd name="T106" fmla="*/ 0 w 473"/>
                                  <a:gd name="T107" fmla="*/ 2147483647 h 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73"/>
                                  <a:gd name="T163" fmla="*/ 0 h 450"/>
                                  <a:gd name="T164" fmla="*/ 473 w 473"/>
                                  <a:gd name="T165" fmla="*/ 450 h 45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73" h="450">
                                    <a:moveTo>
                                      <a:pt x="0" y="44"/>
                                    </a:moveTo>
                                    <a:lnTo>
                                      <a:pt x="12" y="80"/>
                                    </a:lnTo>
                                    <a:lnTo>
                                      <a:pt x="12" y="104"/>
                                    </a:lnTo>
                                    <a:lnTo>
                                      <a:pt x="32" y="148"/>
                                    </a:lnTo>
                                    <a:lnTo>
                                      <a:pt x="44" y="160"/>
                                    </a:lnTo>
                                    <a:lnTo>
                                      <a:pt x="68" y="160"/>
                                    </a:lnTo>
                                    <a:lnTo>
                                      <a:pt x="92" y="171"/>
                                    </a:lnTo>
                                    <a:lnTo>
                                      <a:pt x="92" y="191"/>
                                    </a:lnTo>
                                    <a:lnTo>
                                      <a:pt x="100" y="203"/>
                                    </a:lnTo>
                                    <a:lnTo>
                                      <a:pt x="56" y="327"/>
                                    </a:lnTo>
                                    <a:lnTo>
                                      <a:pt x="56" y="362"/>
                                    </a:lnTo>
                                    <a:lnTo>
                                      <a:pt x="80" y="394"/>
                                    </a:lnTo>
                                    <a:lnTo>
                                      <a:pt x="92" y="418"/>
                                    </a:lnTo>
                                    <a:lnTo>
                                      <a:pt x="100" y="430"/>
                                    </a:lnTo>
                                    <a:lnTo>
                                      <a:pt x="123" y="442"/>
                                    </a:lnTo>
                                    <a:lnTo>
                                      <a:pt x="326" y="450"/>
                                    </a:lnTo>
                                    <a:lnTo>
                                      <a:pt x="350" y="418"/>
                                    </a:lnTo>
                                    <a:lnTo>
                                      <a:pt x="362" y="394"/>
                                    </a:lnTo>
                                    <a:lnTo>
                                      <a:pt x="362" y="362"/>
                                    </a:lnTo>
                                    <a:lnTo>
                                      <a:pt x="370" y="339"/>
                                    </a:lnTo>
                                    <a:lnTo>
                                      <a:pt x="406" y="307"/>
                                    </a:lnTo>
                                    <a:lnTo>
                                      <a:pt x="406" y="295"/>
                                    </a:lnTo>
                                    <a:lnTo>
                                      <a:pt x="394" y="283"/>
                                    </a:lnTo>
                                    <a:lnTo>
                                      <a:pt x="406" y="271"/>
                                    </a:lnTo>
                                    <a:lnTo>
                                      <a:pt x="430" y="259"/>
                                    </a:lnTo>
                                    <a:lnTo>
                                      <a:pt x="450" y="239"/>
                                    </a:lnTo>
                                    <a:lnTo>
                                      <a:pt x="462" y="203"/>
                                    </a:lnTo>
                                    <a:lnTo>
                                      <a:pt x="473" y="160"/>
                                    </a:lnTo>
                                    <a:lnTo>
                                      <a:pt x="473" y="124"/>
                                    </a:lnTo>
                                    <a:lnTo>
                                      <a:pt x="462" y="112"/>
                                    </a:lnTo>
                                    <a:lnTo>
                                      <a:pt x="418" y="104"/>
                                    </a:lnTo>
                                    <a:lnTo>
                                      <a:pt x="406" y="124"/>
                                    </a:lnTo>
                                    <a:lnTo>
                                      <a:pt x="382" y="148"/>
                                    </a:lnTo>
                                    <a:lnTo>
                                      <a:pt x="370" y="171"/>
                                    </a:lnTo>
                                    <a:lnTo>
                                      <a:pt x="362" y="203"/>
                                    </a:lnTo>
                                    <a:lnTo>
                                      <a:pt x="362" y="171"/>
                                    </a:lnTo>
                                    <a:lnTo>
                                      <a:pt x="314" y="160"/>
                                    </a:lnTo>
                                    <a:lnTo>
                                      <a:pt x="294" y="136"/>
                                    </a:lnTo>
                                    <a:lnTo>
                                      <a:pt x="271" y="136"/>
                                    </a:lnTo>
                                    <a:lnTo>
                                      <a:pt x="247" y="112"/>
                                    </a:lnTo>
                                    <a:lnTo>
                                      <a:pt x="235" y="80"/>
                                    </a:lnTo>
                                    <a:lnTo>
                                      <a:pt x="215" y="44"/>
                                    </a:lnTo>
                                    <a:lnTo>
                                      <a:pt x="191" y="36"/>
                                    </a:lnTo>
                                    <a:lnTo>
                                      <a:pt x="179" y="36"/>
                                    </a:lnTo>
                                    <a:lnTo>
                                      <a:pt x="159" y="24"/>
                                    </a:lnTo>
                                    <a:lnTo>
                                      <a:pt x="159" y="0"/>
                                    </a:lnTo>
                                    <a:lnTo>
                                      <a:pt x="123" y="0"/>
                                    </a:lnTo>
                                    <a:lnTo>
                                      <a:pt x="112" y="12"/>
                                    </a:lnTo>
                                    <a:lnTo>
                                      <a:pt x="123" y="12"/>
                                    </a:lnTo>
                                    <a:lnTo>
                                      <a:pt x="112" y="24"/>
                                    </a:lnTo>
                                    <a:lnTo>
                                      <a:pt x="80" y="24"/>
                                    </a:lnTo>
                                    <a:lnTo>
                                      <a:pt x="44" y="36"/>
                                    </a:lnTo>
                                    <a:lnTo>
                                      <a:pt x="12" y="44"/>
                                    </a:lnTo>
                                    <a:lnTo>
                                      <a:pt x="0" y="44"/>
                                    </a:lnTo>
                                    <a:close/>
                                  </a:path>
                                </a:pathLst>
                              </a:custGeom>
                              <a:solidFill>
                                <a:srgbClr val="FFFFFF"/>
                              </a:solidFill>
                              <a:ln w="9360">
                                <a:solidFill>
                                  <a:srgbClr val="969696"/>
                                </a:solidFill>
                                <a:round/>
                                <a:headEnd/>
                                <a:tailEnd/>
                              </a:ln>
                            </p:spPr>
                            <p:txBody>
                              <a:bodyPr wrap="none" anchor="ctr"/>
                              <a:lstStyle/>
                              <a:p>
                                <a:endParaRPr lang="pt-BR"/>
                              </a:p>
                            </p:txBody>
                          </p:sp>
                          <p:sp>
                            <p:nvSpPr>
                              <p:cNvPr id="661" name="Freeform 27"/>
                              <p:cNvSpPr>
                                <a:spLocks noChangeArrowheads="1"/>
                              </p:cNvSpPr>
                              <p:nvPr/>
                            </p:nvSpPr>
                            <p:spPr bwMode="auto">
                              <a:xfrm>
                                <a:off x="5799805" y="1216800"/>
                                <a:ext cx="1146527" cy="904034"/>
                              </a:xfrm>
                              <a:custGeom>
                                <a:avLst/>
                                <a:gdLst>
                                  <a:gd name="T0" fmla="*/ 2147483647 w 597"/>
                                  <a:gd name="T1" fmla="*/ 2147483647 h 462"/>
                                  <a:gd name="T2" fmla="*/ 2147483647 w 597"/>
                                  <a:gd name="T3" fmla="*/ 2147483647 h 462"/>
                                  <a:gd name="T4" fmla="*/ 2147483647 w 597"/>
                                  <a:gd name="T5" fmla="*/ 2147483647 h 462"/>
                                  <a:gd name="T6" fmla="*/ 2147483647 w 597"/>
                                  <a:gd name="T7" fmla="*/ 2147483647 h 462"/>
                                  <a:gd name="T8" fmla="*/ 2147483647 w 597"/>
                                  <a:gd name="T9" fmla="*/ 2147483647 h 462"/>
                                  <a:gd name="T10" fmla="*/ 2147483647 w 597"/>
                                  <a:gd name="T11" fmla="*/ 2147483647 h 462"/>
                                  <a:gd name="T12" fmla="*/ 2147483647 w 597"/>
                                  <a:gd name="T13" fmla="*/ 2147483647 h 462"/>
                                  <a:gd name="T14" fmla="*/ 2147483647 w 597"/>
                                  <a:gd name="T15" fmla="*/ 2147483647 h 462"/>
                                  <a:gd name="T16" fmla="*/ 2147483647 w 597"/>
                                  <a:gd name="T17" fmla="*/ 2147483647 h 462"/>
                                  <a:gd name="T18" fmla="*/ 2147483647 w 597"/>
                                  <a:gd name="T19" fmla="*/ 2147483647 h 462"/>
                                  <a:gd name="T20" fmla="*/ 2147483647 w 597"/>
                                  <a:gd name="T21" fmla="*/ 2147483647 h 462"/>
                                  <a:gd name="T22" fmla="*/ 2147483647 w 597"/>
                                  <a:gd name="T23" fmla="*/ 2147483647 h 462"/>
                                  <a:gd name="T24" fmla="*/ 2147483647 w 597"/>
                                  <a:gd name="T25" fmla="*/ 2147483647 h 462"/>
                                  <a:gd name="T26" fmla="*/ 2147483647 w 597"/>
                                  <a:gd name="T27" fmla="*/ 2147483647 h 462"/>
                                  <a:gd name="T28" fmla="*/ 2147483647 w 597"/>
                                  <a:gd name="T29" fmla="*/ 2147483647 h 462"/>
                                  <a:gd name="T30" fmla="*/ 2147483647 w 597"/>
                                  <a:gd name="T31" fmla="*/ 2147483647 h 462"/>
                                  <a:gd name="T32" fmla="*/ 2147483647 w 597"/>
                                  <a:gd name="T33" fmla="*/ 2147483647 h 462"/>
                                  <a:gd name="T34" fmla="*/ 2147483647 w 597"/>
                                  <a:gd name="T35" fmla="*/ 2147483647 h 462"/>
                                  <a:gd name="T36" fmla="*/ 2147483647 w 597"/>
                                  <a:gd name="T37" fmla="*/ 2147483647 h 462"/>
                                  <a:gd name="T38" fmla="*/ 2147483647 w 597"/>
                                  <a:gd name="T39" fmla="*/ 2147483647 h 462"/>
                                  <a:gd name="T40" fmla="*/ 2147483647 w 597"/>
                                  <a:gd name="T41" fmla="*/ 2147483647 h 462"/>
                                  <a:gd name="T42" fmla="*/ 2147483647 w 597"/>
                                  <a:gd name="T43" fmla="*/ 2147483647 h 462"/>
                                  <a:gd name="T44" fmla="*/ 2147483647 w 597"/>
                                  <a:gd name="T45" fmla="*/ 2147483647 h 462"/>
                                  <a:gd name="T46" fmla="*/ 0 w 597"/>
                                  <a:gd name="T47" fmla="*/ 2147483647 h 462"/>
                                  <a:gd name="T48" fmla="*/ 2147483647 w 597"/>
                                  <a:gd name="T49" fmla="*/ 2147483647 h 462"/>
                                  <a:gd name="T50" fmla="*/ 2147483647 w 597"/>
                                  <a:gd name="T51" fmla="*/ 2147483647 h 462"/>
                                  <a:gd name="T52" fmla="*/ 2147483647 w 597"/>
                                  <a:gd name="T53" fmla="*/ 2147483647 h 462"/>
                                  <a:gd name="T54" fmla="*/ 2147483647 w 597"/>
                                  <a:gd name="T55" fmla="*/ 2147483647 h 462"/>
                                  <a:gd name="T56" fmla="*/ 2147483647 w 597"/>
                                  <a:gd name="T57" fmla="*/ 2147483647 h 462"/>
                                  <a:gd name="T58" fmla="*/ 2147483647 w 597"/>
                                  <a:gd name="T59" fmla="*/ 2147483647 h 462"/>
                                  <a:gd name="T60" fmla="*/ 2147483647 w 597"/>
                                  <a:gd name="T61" fmla="*/ 2147483647 h 462"/>
                                  <a:gd name="T62" fmla="*/ 2147483647 w 597"/>
                                  <a:gd name="T63" fmla="*/ 2147483647 h 462"/>
                                  <a:gd name="T64" fmla="*/ 2147483647 w 597"/>
                                  <a:gd name="T65" fmla="*/ 2147483647 h 462"/>
                                  <a:gd name="T66" fmla="*/ 2147483647 w 597"/>
                                  <a:gd name="T67" fmla="*/ 2147483647 h 462"/>
                                  <a:gd name="T68" fmla="*/ 2147483647 w 597"/>
                                  <a:gd name="T69" fmla="*/ 2147483647 h 462"/>
                                  <a:gd name="T70" fmla="*/ 2147483647 w 597"/>
                                  <a:gd name="T71" fmla="*/ 2147483647 h 46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97"/>
                                  <a:gd name="T109" fmla="*/ 0 h 462"/>
                                  <a:gd name="T110" fmla="*/ 597 w 597"/>
                                  <a:gd name="T111" fmla="*/ 462 h 46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97" h="462">
                                    <a:moveTo>
                                      <a:pt x="362" y="0"/>
                                    </a:moveTo>
                                    <a:lnTo>
                                      <a:pt x="374" y="12"/>
                                    </a:lnTo>
                                    <a:lnTo>
                                      <a:pt x="374" y="32"/>
                                    </a:lnTo>
                                    <a:lnTo>
                                      <a:pt x="382" y="56"/>
                                    </a:lnTo>
                                    <a:lnTo>
                                      <a:pt x="382" y="88"/>
                                    </a:lnTo>
                                    <a:lnTo>
                                      <a:pt x="374" y="100"/>
                                    </a:lnTo>
                                    <a:lnTo>
                                      <a:pt x="382" y="112"/>
                                    </a:lnTo>
                                    <a:lnTo>
                                      <a:pt x="406" y="124"/>
                                    </a:lnTo>
                                    <a:lnTo>
                                      <a:pt x="418" y="100"/>
                                    </a:lnTo>
                                    <a:lnTo>
                                      <a:pt x="430" y="100"/>
                                    </a:lnTo>
                                    <a:lnTo>
                                      <a:pt x="441" y="112"/>
                                    </a:lnTo>
                                    <a:lnTo>
                                      <a:pt x="449" y="112"/>
                                    </a:lnTo>
                                    <a:lnTo>
                                      <a:pt x="461" y="100"/>
                                    </a:lnTo>
                                    <a:lnTo>
                                      <a:pt x="461" y="88"/>
                                    </a:lnTo>
                                    <a:lnTo>
                                      <a:pt x="473" y="80"/>
                                    </a:lnTo>
                                    <a:lnTo>
                                      <a:pt x="509" y="80"/>
                                    </a:lnTo>
                                    <a:lnTo>
                                      <a:pt x="529" y="124"/>
                                    </a:lnTo>
                                    <a:lnTo>
                                      <a:pt x="541" y="136"/>
                                    </a:lnTo>
                                    <a:lnTo>
                                      <a:pt x="565" y="136"/>
                                    </a:lnTo>
                                    <a:lnTo>
                                      <a:pt x="589" y="147"/>
                                    </a:lnTo>
                                    <a:lnTo>
                                      <a:pt x="589" y="167"/>
                                    </a:lnTo>
                                    <a:lnTo>
                                      <a:pt x="597" y="179"/>
                                    </a:lnTo>
                                    <a:lnTo>
                                      <a:pt x="553" y="303"/>
                                    </a:lnTo>
                                    <a:lnTo>
                                      <a:pt x="553" y="358"/>
                                    </a:lnTo>
                                    <a:lnTo>
                                      <a:pt x="541" y="382"/>
                                    </a:lnTo>
                                    <a:lnTo>
                                      <a:pt x="541" y="406"/>
                                    </a:lnTo>
                                    <a:lnTo>
                                      <a:pt x="449" y="406"/>
                                    </a:lnTo>
                                    <a:lnTo>
                                      <a:pt x="430" y="406"/>
                                    </a:lnTo>
                                    <a:lnTo>
                                      <a:pt x="418" y="418"/>
                                    </a:lnTo>
                                    <a:lnTo>
                                      <a:pt x="406" y="418"/>
                                    </a:lnTo>
                                    <a:lnTo>
                                      <a:pt x="406" y="394"/>
                                    </a:lnTo>
                                    <a:lnTo>
                                      <a:pt x="394" y="382"/>
                                    </a:lnTo>
                                    <a:lnTo>
                                      <a:pt x="382" y="382"/>
                                    </a:lnTo>
                                    <a:lnTo>
                                      <a:pt x="362" y="370"/>
                                    </a:lnTo>
                                    <a:lnTo>
                                      <a:pt x="338" y="382"/>
                                    </a:lnTo>
                                    <a:lnTo>
                                      <a:pt x="338" y="394"/>
                                    </a:lnTo>
                                    <a:lnTo>
                                      <a:pt x="326" y="406"/>
                                    </a:lnTo>
                                    <a:lnTo>
                                      <a:pt x="306" y="418"/>
                                    </a:lnTo>
                                    <a:lnTo>
                                      <a:pt x="306" y="426"/>
                                    </a:lnTo>
                                    <a:lnTo>
                                      <a:pt x="270" y="438"/>
                                    </a:lnTo>
                                    <a:lnTo>
                                      <a:pt x="247" y="462"/>
                                    </a:lnTo>
                                    <a:lnTo>
                                      <a:pt x="203" y="450"/>
                                    </a:lnTo>
                                    <a:lnTo>
                                      <a:pt x="171" y="426"/>
                                    </a:lnTo>
                                    <a:lnTo>
                                      <a:pt x="123" y="406"/>
                                    </a:lnTo>
                                    <a:lnTo>
                                      <a:pt x="91" y="394"/>
                                    </a:lnTo>
                                    <a:lnTo>
                                      <a:pt x="56" y="394"/>
                                    </a:lnTo>
                                    <a:lnTo>
                                      <a:pt x="24" y="382"/>
                                    </a:lnTo>
                                    <a:lnTo>
                                      <a:pt x="0" y="370"/>
                                    </a:lnTo>
                                    <a:lnTo>
                                      <a:pt x="12" y="350"/>
                                    </a:lnTo>
                                    <a:lnTo>
                                      <a:pt x="24" y="338"/>
                                    </a:lnTo>
                                    <a:lnTo>
                                      <a:pt x="24" y="326"/>
                                    </a:lnTo>
                                    <a:lnTo>
                                      <a:pt x="36" y="303"/>
                                    </a:lnTo>
                                    <a:lnTo>
                                      <a:pt x="56" y="283"/>
                                    </a:lnTo>
                                    <a:lnTo>
                                      <a:pt x="111" y="259"/>
                                    </a:lnTo>
                                    <a:lnTo>
                                      <a:pt x="123" y="259"/>
                                    </a:lnTo>
                                    <a:lnTo>
                                      <a:pt x="135" y="215"/>
                                    </a:lnTo>
                                    <a:lnTo>
                                      <a:pt x="147" y="147"/>
                                    </a:lnTo>
                                    <a:lnTo>
                                      <a:pt x="123" y="124"/>
                                    </a:lnTo>
                                    <a:lnTo>
                                      <a:pt x="111" y="80"/>
                                    </a:lnTo>
                                    <a:lnTo>
                                      <a:pt x="123" y="68"/>
                                    </a:lnTo>
                                    <a:lnTo>
                                      <a:pt x="147" y="68"/>
                                    </a:lnTo>
                                    <a:lnTo>
                                      <a:pt x="147" y="56"/>
                                    </a:lnTo>
                                    <a:lnTo>
                                      <a:pt x="123" y="44"/>
                                    </a:lnTo>
                                    <a:lnTo>
                                      <a:pt x="123" y="32"/>
                                    </a:lnTo>
                                    <a:lnTo>
                                      <a:pt x="179" y="20"/>
                                    </a:lnTo>
                                    <a:lnTo>
                                      <a:pt x="215" y="20"/>
                                    </a:lnTo>
                                    <a:lnTo>
                                      <a:pt x="227" y="32"/>
                                    </a:lnTo>
                                    <a:lnTo>
                                      <a:pt x="239" y="56"/>
                                    </a:lnTo>
                                    <a:lnTo>
                                      <a:pt x="259" y="68"/>
                                    </a:lnTo>
                                    <a:lnTo>
                                      <a:pt x="306" y="56"/>
                                    </a:lnTo>
                                    <a:lnTo>
                                      <a:pt x="326" y="32"/>
                                    </a:lnTo>
                                    <a:lnTo>
                                      <a:pt x="362" y="12"/>
                                    </a:lnTo>
                                    <a:lnTo>
                                      <a:pt x="362" y="0"/>
                                    </a:lnTo>
                                    <a:close/>
                                  </a:path>
                                </a:pathLst>
                              </a:custGeom>
                              <a:solidFill>
                                <a:srgbClr val="FFFFFF"/>
                              </a:solidFill>
                              <a:ln w="9360">
                                <a:solidFill>
                                  <a:srgbClr val="969696"/>
                                </a:solidFill>
                                <a:round/>
                                <a:headEnd/>
                                <a:tailEnd/>
                              </a:ln>
                            </p:spPr>
                            <p:txBody>
                              <a:bodyPr wrap="none" anchor="ctr"/>
                              <a:lstStyle/>
                              <a:p>
                                <a:endParaRPr lang="pt-BR"/>
                              </a:p>
                            </p:txBody>
                          </p:sp>
                          <p:sp>
                            <p:nvSpPr>
                              <p:cNvPr id="662" name="Freeform 28"/>
                              <p:cNvSpPr>
                                <a:spLocks noChangeArrowheads="1"/>
                              </p:cNvSpPr>
                              <p:nvPr/>
                            </p:nvSpPr>
                            <p:spPr bwMode="auto">
                              <a:xfrm>
                                <a:off x="7333779" y="1343271"/>
                                <a:ext cx="190899" cy="132326"/>
                              </a:xfrm>
                              <a:custGeom>
                                <a:avLst/>
                                <a:gdLst>
                                  <a:gd name="T0" fmla="*/ 2147483647 w 100"/>
                                  <a:gd name="T1" fmla="*/ 2147483647 h 68"/>
                                  <a:gd name="T2" fmla="*/ 2147483647 w 100"/>
                                  <a:gd name="T3" fmla="*/ 2147483647 h 68"/>
                                  <a:gd name="T4" fmla="*/ 2147483647 w 100"/>
                                  <a:gd name="T5" fmla="*/ 2147483647 h 68"/>
                                  <a:gd name="T6" fmla="*/ 2147483647 w 100"/>
                                  <a:gd name="T7" fmla="*/ 2147483647 h 68"/>
                                  <a:gd name="T8" fmla="*/ 2147483647 w 100"/>
                                  <a:gd name="T9" fmla="*/ 2147483647 h 68"/>
                                  <a:gd name="T10" fmla="*/ 0 w 100"/>
                                  <a:gd name="T11" fmla="*/ 2147483647 h 68"/>
                                  <a:gd name="T12" fmla="*/ 2147483647 w 100"/>
                                  <a:gd name="T13" fmla="*/ 2147483647 h 68"/>
                                  <a:gd name="T14" fmla="*/ 2147483647 w 100"/>
                                  <a:gd name="T15" fmla="*/ 0 h 68"/>
                                  <a:gd name="T16" fmla="*/ 2147483647 w 100"/>
                                  <a:gd name="T17" fmla="*/ 0 h 68"/>
                                  <a:gd name="T18" fmla="*/ 2147483647 w 100"/>
                                  <a:gd name="T19" fmla="*/ 2147483647 h 68"/>
                                  <a:gd name="T20" fmla="*/ 2147483647 w 100"/>
                                  <a:gd name="T21" fmla="*/ 0 h 68"/>
                                  <a:gd name="T22" fmla="*/ 2147483647 w 100"/>
                                  <a:gd name="T23" fmla="*/ 2147483647 h 6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0"/>
                                  <a:gd name="T37" fmla="*/ 0 h 68"/>
                                  <a:gd name="T38" fmla="*/ 100 w 100"/>
                                  <a:gd name="T39" fmla="*/ 68 h 6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0" h="68">
                                    <a:moveTo>
                                      <a:pt x="100" y="12"/>
                                    </a:moveTo>
                                    <a:lnTo>
                                      <a:pt x="92" y="36"/>
                                    </a:lnTo>
                                    <a:lnTo>
                                      <a:pt x="68" y="56"/>
                                    </a:lnTo>
                                    <a:lnTo>
                                      <a:pt x="44" y="68"/>
                                    </a:lnTo>
                                    <a:lnTo>
                                      <a:pt x="24" y="56"/>
                                    </a:lnTo>
                                    <a:lnTo>
                                      <a:pt x="0" y="48"/>
                                    </a:lnTo>
                                    <a:lnTo>
                                      <a:pt x="12" y="12"/>
                                    </a:lnTo>
                                    <a:lnTo>
                                      <a:pt x="32" y="0"/>
                                    </a:lnTo>
                                    <a:lnTo>
                                      <a:pt x="44" y="0"/>
                                    </a:lnTo>
                                    <a:lnTo>
                                      <a:pt x="68" y="12"/>
                                    </a:lnTo>
                                    <a:lnTo>
                                      <a:pt x="92" y="0"/>
                                    </a:lnTo>
                                    <a:lnTo>
                                      <a:pt x="100" y="12"/>
                                    </a:lnTo>
                                    <a:close/>
                                  </a:path>
                                </a:pathLst>
                              </a:custGeom>
                              <a:solidFill>
                                <a:srgbClr val="FFFFFF"/>
                              </a:solidFill>
                              <a:ln w="9360">
                                <a:solidFill>
                                  <a:srgbClr val="969696"/>
                                </a:solidFill>
                                <a:round/>
                                <a:headEnd/>
                                <a:tailEnd/>
                              </a:ln>
                            </p:spPr>
                            <p:txBody>
                              <a:bodyPr wrap="none" anchor="ctr"/>
                              <a:lstStyle/>
                              <a:p>
                                <a:endParaRPr lang="pt-BR"/>
                              </a:p>
                            </p:txBody>
                          </p:sp>
                          <p:sp>
                            <p:nvSpPr>
                              <p:cNvPr id="663" name="Freeform 29"/>
                              <p:cNvSpPr>
                                <a:spLocks noChangeArrowheads="1"/>
                              </p:cNvSpPr>
                              <p:nvPr/>
                            </p:nvSpPr>
                            <p:spPr bwMode="auto">
                              <a:xfrm>
                                <a:off x="7380092" y="1305798"/>
                                <a:ext cx="60998" cy="15223"/>
                              </a:xfrm>
                              <a:custGeom>
                                <a:avLst/>
                                <a:gdLst>
                                  <a:gd name="T0" fmla="*/ 0 w 32"/>
                                  <a:gd name="T1" fmla="*/ 2147483647 h 8"/>
                                  <a:gd name="T2" fmla="*/ 2147483647 w 32"/>
                                  <a:gd name="T3" fmla="*/ 0 h 8"/>
                                  <a:gd name="T4" fmla="*/ 2147483647 w 32"/>
                                  <a:gd name="T5" fmla="*/ 0 h 8"/>
                                  <a:gd name="T6" fmla="*/ 2147483647 w 32"/>
                                  <a:gd name="T7" fmla="*/ 2147483647 h 8"/>
                                  <a:gd name="T8" fmla="*/ 0 w 32"/>
                                  <a:gd name="T9" fmla="*/ 2147483647 h 8"/>
                                  <a:gd name="T10" fmla="*/ 0 60000 65536"/>
                                  <a:gd name="T11" fmla="*/ 0 60000 65536"/>
                                  <a:gd name="T12" fmla="*/ 0 60000 65536"/>
                                  <a:gd name="T13" fmla="*/ 0 60000 65536"/>
                                  <a:gd name="T14" fmla="*/ 0 60000 65536"/>
                                  <a:gd name="T15" fmla="*/ 0 w 32"/>
                                  <a:gd name="T16" fmla="*/ 0 h 8"/>
                                  <a:gd name="T17" fmla="*/ 32 w 32"/>
                                  <a:gd name="T18" fmla="*/ 8 h 8"/>
                                </a:gdLst>
                                <a:ahLst/>
                                <a:cxnLst>
                                  <a:cxn ang="T10">
                                    <a:pos x="T0" y="T1"/>
                                  </a:cxn>
                                  <a:cxn ang="T11">
                                    <a:pos x="T2" y="T3"/>
                                  </a:cxn>
                                  <a:cxn ang="T12">
                                    <a:pos x="T4" y="T5"/>
                                  </a:cxn>
                                  <a:cxn ang="T13">
                                    <a:pos x="T6" y="T7"/>
                                  </a:cxn>
                                  <a:cxn ang="T14">
                                    <a:pos x="T8" y="T9"/>
                                  </a:cxn>
                                </a:cxnLst>
                                <a:rect l="T15" t="T16" r="T17" b="T18"/>
                                <a:pathLst>
                                  <a:path w="32" h="8">
                                    <a:moveTo>
                                      <a:pt x="0" y="8"/>
                                    </a:moveTo>
                                    <a:lnTo>
                                      <a:pt x="8" y="0"/>
                                    </a:lnTo>
                                    <a:lnTo>
                                      <a:pt x="20" y="0"/>
                                    </a:lnTo>
                                    <a:lnTo>
                                      <a:pt x="32" y="8"/>
                                    </a:lnTo>
                                    <a:lnTo>
                                      <a:pt x="0" y="8"/>
                                    </a:lnTo>
                                    <a:close/>
                                  </a:path>
                                </a:pathLst>
                              </a:custGeom>
                              <a:solidFill>
                                <a:srgbClr val="FFFFFF"/>
                              </a:solidFill>
                              <a:ln w="9360">
                                <a:solidFill>
                                  <a:srgbClr val="969696"/>
                                </a:solidFill>
                                <a:round/>
                                <a:headEnd/>
                                <a:tailEnd/>
                              </a:ln>
                            </p:spPr>
                            <p:txBody>
                              <a:bodyPr wrap="none" anchor="ctr"/>
                              <a:lstStyle/>
                              <a:p>
                                <a:endParaRPr lang="pt-BR"/>
                              </a:p>
                            </p:txBody>
                          </p:sp>
                          <p:pic>
                            <p:nvPicPr>
                              <p:cNvPr id="664" name="Picture 33"/>
                              <p:cNvPicPr>
                                <a:picLocks noChangeAspect="1" noChangeArrowheads="1"/>
                              </p:cNvPicPr>
                              <p:nvPr/>
                            </p:nvPicPr>
                            <p:blipFill>
                              <a:blip r:embed="rId5" cstate="email">
                                <a:extLst>
                                  <a:ext uri="{28A0092B-C50C-407E-A947-70E740481C1C}">
                                    <a14:useLocalDpi xmlns="" xmlns:a14="http://schemas.microsoft.com/office/drawing/2010/main"/>
                                  </a:ext>
                                </a:extLst>
                              </a:blip>
                              <a:srcRect/>
                              <a:stretch>
                                <a:fillRect/>
                              </a:stretch>
                            </p:blipFill>
                            <p:spPr bwMode="auto">
                              <a:xfrm>
                                <a:off x="6518220" y="1933469"/>
                                <a:ext cx="75682" cy="86656"/>
                              </a:xfrm>
                              <a:prstGeom prst="rect">
                                <a:avLst/>
                              </a:prstGeom>
                              <a:noFill/>
                              <a:ln w="9525">
                                <a:noFill/>
                                <a:round/>
                                <a:headEnd/>
                                <a:tailEnd/>
                              </a:ln>
                            </p:spPr>
                          </p:pic>
                          <p:pic>
                            <p:nvPicPr>
                              <p:cNvPr id="665" name="Picture 35"/>
                              <p:cNvPicPr>
                                <a:picLocks noChangeAspect="1" noChangeArrowheads="1"/>
                              </p:cNvPicPr>
                              <p:nvPr/>
                            </p:nvPicPr>
                            <p:blipFill>
                              <a:blip r:embed="rId6" cstate="email">
                                <a:extLst>
                                  <a:ext uri="{28A0092B-C50C-407E-A947-70E740481C1C}">
                                    <a14:useLocalDpi xmlns="" xmlns:a14="http://schemas.microsoft.com/office/drawing/2010/main"/>
                                  </a:ext>
                                </a:extLst>
                              </a:blip>
                              <a:srcRect/>
                              <a:stretch>
                                <a:fillRect/>
                              </a:stretch>
                            </p:blipFill>
                            <p:spPr bwMode="auto">
                              <a:xfrm>
                                <a:off x="6625531" y="1179327"/>
                                <a:ext cx="74552" cy="86656"/>
                              </a:xfrm>
                              <a:prstGeom prst="rect">
                                <a:avLst/>
                              </a:prstGeom>
                              <a:noFill/>
                              <a:ln w="9525">
                                <a:noFill/>
                                <a:round/>
                                <a:headEnd/>
                                <a:tailEnd/>
                              </a:ln>
                            </p:spPr>
                          </p:pic>
                          <p:pic>
                            <p:nvPicPr>
                              <p:cNvPr id="666" name="Picture 36"/>
                              <p:cNvPicPr>
                                <a:picLocks noChangeAspect="1" noChangeArrowheads="1"/>
                              </p:cNvPicPr>
                              <p:nvPr/>
                            </p:nvPicPr>
                            <p:blipFill>
                              <a:blip r:embed="rId7" cstate="email">
                                <a:extLst>
                                  <a:ext uri="{28A0092B-C50C-407E-A947-70E740481C1C}">
                                    <a14:useLocalDpi xmlns="" xmlns:a14="http://schemas.microsoft.com/office/drawing/2010/main"/>
                                  </a:ext>
                                </a:extLst>
                              </a:blip>
                              <a:srcRect/>
                              <a:stretch>
                                <a:fillRect/>
                              </a:stretch>
                            </p:blipFill>
                            <p:spPr bwMode="auto">
                              <a:xfrm>
                                <a:off x="7208395" y="1228510"/>
                                <a:ext cx="77942" cy="87827"/>
                              </a:xfrm>
                              <a:prstGeom prst="rect">
                                <a:avLst/>
                              </a:prstGeom>
                              <a:noFill/>
                              <a:ln w="9525">
                                <a:noFill/>
                                <a:round/>
                                <a:headEnd/>
                                <a:tailEnd/>
                              </a:ln>
                            </p:spPr>
                          </p:pic>
                          <p:sp>
                            <p:nvSpPr>
                              <p:cNvPr id="667" name="Freeform 59"/>
                              <p:cNvSpPr>
                                <a:spLocks noChangeArrowheads="1"/>
                              </p:cNvSpPr>
                              <p:nvPr/>
                            </p:nvSpPr>
                            <p:spPr bwMode="auto">
                              <a:xfrm>
                                <a:off x="7586805" y="2414763"/>
                                <a:ext cx="242861" cy="237720"/>
                              </a:xfrm>
                              <a:custGeom>
                                <a:avLst/>
                                <a:gdLst>
                                  <a:gd name="T0" fmla="*/ 2147483647 w 157"/>
                                  <a:gd name="T1" fmla="*/ 2147483647 h 150"/>
                                  <a:gd name="T2" fmla="*/ 2147483647 w 157"/>
                                  <a:gd name="T3" fmla="*/ 2147483647 h 150"/>
                                  <a:gd name="T4" fmla="*/ 0 w 157"/>
                                  <a:gd name="T5" fmla="*/ 0 h 150"/>
                                  <a:gd name="T6" fmla="*/ 0 60000 65536"/>
                                  <a:gd name="T7" fmla="*/ 0 60000 65536"/>
                                  <a:gd name="T8" fmla="*/ 0 60000 65536"/>
                                  <a:gd name="T9" fmla="*/ 0 w 157"/>
                                  <a:gd name="T10" fmla="*/ 0 h 150"/>
                                  <a:gd name="T11" fmla="*/ 157 w 157"/>
                                  <a:gd name="T12" fmla="*/ 150 h 150"/>
                                </a:gdLst>
                                <a:ahLst/>
                                <a:cxnLst>
                                  <a:cxn ang="T6">
                                    <a:pos x="T0" y="T1"/>
                                  </a:cxn>
                                  <a:cxn ang="T7">
                                    <a:pos x="T2" y="T3"/>
                                  </a:cxn>
                                  <a:cxn ang="T8">
                                    <a:pos x="T4" y="T5"/>
                                  </a:cxn>
                                </a:cxnLst>
                                <a:rect l="T9" t="T10" r="T11" b="T12"/>
                                <a:pathLst>
                                  <a:path w="157" h="150">
                                    <a:moveTo>
                                      <a:pt x="123" y="150"/>
                                    </a:moveTo>
                                    <a:cubicBezTo>
                                      <a:pt x="132" y="136"/>
                                      <a:pt x="157" y="89"/>
                                      <a:pt x="136" y="64"/>
                                    </a:cubicBezTo>
                                    <a:cubicBezTo>
                                      <a:pt x="115" y="39"/>
                                      <a:pt x="37" y="13"/>
                                      <a:pt x="0" y="0"/>
                                    </a:cubicBezTo>
                                  </a:path>
                                </a:pathLst>
                              </a:custGeom>
                              <a:noFill/>
                              <a:ln w="28575">
                                <a:solidFill>
                                  <a:srgbClr val="0070C0"/>
                                </a:solidFill>
                                <a:round/>
                                <a:headEnd/>
                                <a:tailEnd/>
                              </a:ln>
                            </p:spPr>
                            <p:txBody>
                              <a:bodyPr wrap="none" anchor="ctr"/>
                              <a:lstStyle/>
                              <a:p>
                                <a:endParaRPr lang="pt-BR"/>
                              </a:p>
                            </p:txBody>
                          </p:sp>
                          <p:sp>
                            <p:nvSpPr>
                              <p:cNvPr id="668" name="Freeform 60"/>
                              <p:cNvSpPr>
                                <a:spLocks noChangeArrowheads="1"/>
                              </p:cNvSpPr>
                              <p:nvPr/>
                            </p:nvSpPr>
                            <p:spPr bwMode="auto">
                              <a:xfrm>
                                <a:off x="7524678" y="3021355"/>
                                <a:ext cx="181864" cy="124128"/>
                              </a:xfrm>
                              <a:custGeom>
                                <a:avLst/>
                                <a:gdLst>
                                  <a:gd name="T0" fmla="*/ 2147483647 w 193"/>
                                  <a:gd name="T1" fmla="*/ 0 h 138"/>
                                  <a:gd name="T2" fmla="*/ 0 w 193"/>
                                  <a:gd name="T3" fmla="*/ 2147483647 h 138"/>
                                  <a:gd name="T4" fmla="*/ 0 60000 65536"/>
                                  <a:gd name="T5" fmla="*/ 0 60000 65536"/>
                                  <a:gd name="T6" fmla="*/ 0 w 193"/>
                                  <a:gd name="T7" fmla="*/ 0 h 138"/>
                                  <a:gd name="T8" fmla="*/ 193 w 193"/>
                                  <a:gd name="T9" fmla="*/ 138 h 138"/>
                                </a:gdLst>
                                <a:ahLst/>
                                <a:cxnLst>
                                  <a:cxn ang="T4">
                                    <a:pos x="T0" y="T1"/>
                                  </a:cxn>
                                  <a:cxn ang="T5">
                                    <a:pos x="T2" y="T3"/>
                                  </a:cxn>
                                </a:cxnLst>
                                <a:rect l="T6" t="T7" r="T8" b="T9"/>
                                <a:pathLst>
                                  <a:path w="193" h="138">
                                    <a:moveTo>
                                      <a:pt x="193" y="0"/>
                                    </a:moveTo>
                                    <a:lnTo>
                                      <a:pt x="0" y="138"/>
                                    </a:lnTo>
                                  </a:path>
                                </a:pathLst>
                              </a:custGeom>
                              <a:noFill/>
                              <a:ln w="28575">
                                <a:solidFill>
                                  <a:srgbClr val="0070C0"/>
                                </a:solidFill>
                                <a:round/>
                                <a:headEnd/>
                                <a:tailEnd/>
                              </a:ln>
                            </p:spPr>
                            <p:txBody>
                              <a:bodyPr wrap="none" anchor="ctr"/>
                              <a:lstStyle/>
                              <a:p>
                                <a:endParaRPr lang="pt-BR"/>
                              </a:p>
                            </p:txBody>
                          </p:sp>
                          <p:sp>
                            <p:nvSpPr>
                              <p:cNvPr id="669" name="Freeform 61"/>
                              <p:cNvSpPr>
                                <a:spLocks noChangeArrowheads="1"/>
                              </p:cNvSpPr>
                              <p:nvPr/>
                            </p:nvSpPr>
                            <p:spPr bwMode="auto">
                              <a:xfrm>
                                <a:off x="7502086" y="3151339"/>
                                <a:ext cx="14685" cy="221324"/>
                              </a:xfrm>
                              <a:custGeom>
                                <a:avLst/>
                                <a:gdLst>
                                  <a:gd name="T0" fmla="*/ 2147483647 w 16"/>
                                  <a:gd name="T1" fmla="*/ 0 h 247"/>
                                  <a:gd name="T2" fmla="*/ 2147483647 w 16"/>
                                  <a:gd name="T3" fmla="*/ 2147483647 h 247"/>
                                  <a:gd name="T4" fmla="*/ 0 w 16"/>
                                  <a:gd name="T5" fmla="*/ 2147483647 h 247"/>
                                  <a:gd name="T6" fmla="*/ 0 60000 65536"/>
                                  <a:gd name="T7" fmla="*/ 0 60000 65536"/>
                                  <a:gd name="T8" fmla="*/ 0 60000 65536"/>
                                  <a:gd name="T9" fmla="*/ 0 w 16"/>
                                  <a:gd name="T10" fmla="*/ 0 h 247"/>
                                  <a:gd name="T11" fmla="*/ 16 w 16"/>
                                  <a:gd name="T12" fmla="*/ 247 h 247"/>
                                </a:gdLst>
                                <a:ahLst/>
                                <a:cxnLst>
                                  <a:cxn ang="T6">
                                    <a:pos x="T0" y="T1"/>
                                  </a:cxn>
                                  <a:cxn ang="T7">
                                    <a:pos x="T2" y="T3"/>
                                  </a:cxn>
                                  <a:cxn ang="T8">
                                    <a:pos x="T4" y="T5"/>
                                  </a:cxn>
                                </a:cxnLst>
                                <a:rect l="T9" t="T10" r="T11" b="T12"/>
                                <a:pathLst>
                                  <a:path w="16" h="247">
                                    <a:moveTo>
                                      <a:pt x="6" y="0"/>
                                    </a:moveTo>
                                    <a:cubicBezTo>
                                      <a:pt x="5" y="43"/>
                                      <a:pt x="16" y="77"/>
                                      <a:pt x="15" y="120"/>
                                    </a:cubicBezTo>
                                    <a:cubicBezTo>
                                      <a:pt x="10" y="162"/>
                                      <a:pt x="5" y="205"/>
                                      <a:pt x="0" y="247"/>
                                    </a:cubicBezTo>
                                  </a:path>
                                </a:pathLst>
                              </a:custGeom>
                              <a:noFill/>
                              <a:ln w="28575">
                                <a:solidFill>
                                  <a:srgbClr val="0070C0"/>
                                </a:solidFill>
                                <a:round/>
                                <a:headEnd/>
                                <a:tailEnd/>
                              </a:ln>
                            </p:spPr>
                            <p:txBody>
                              <a:bodyPr wrap="none" anchor="ctr"/>
                              <a:lstStyle/>
                              <a:p>
                                <a:endParaRPr lang="pt-BR"/>
                              </a:p>
                            </p:txBody>
                          </p:sp>
                          <p:sp>
                            <p:nvSpPr>
                              <p:cNvPr id="670" name="Freeform 62"/>
                              <p:cNvSpPr>
                                <a:spLocks noChangeArrowheads="1"/>
                              </p:cNvSpPr>
                              <p:nvPr/>
                            </p:nvSpPr>
                            <p:spPr bwMode="auto">
                              <a:xfrm>
                                <a:off x="7386869" y="3367978"/>
                                <a:ext cx="116348" cy="94853"/>
                              </a:xfrm>
                              <a:custGeom>
                                <a:avLst/>
                                <a:gdLst>
                                  <a:gd name="T0" fmla="*/ 2147483647 w 65"/>
                                  <a:gd name="T1" fmla="*/ 0 h 60"/>
                                  <a:gd name="T2" fmla="*/ 2147483647 w 65"/>
                                  <a:gd name="T3" fmla="*/ 2147483647 h 60"/>
                                  <a:gd name="T4" fmla="*/ 0 w 65"/>
                                  <a:gd name="T5" fmla="*/ 2147483647 h 60"/>
                                  <a:gd name="T6" fmla="*/ 0 60000 65536"/>
                                  <a:gd name="T7" fmla="*/ 0 60000 65536"/>
                                  <a:gd name="T8" fmla="*/ 0 60000 65536"/>
                                  <a:gd name="T9" fmla="*/ 0 w 65"/>
                                  <a:gd name="T10" fmla="*/ 0 h 60"/>
                                  <a:gd name="T11" fmla="*/ 65 w 65"/>
                                  <a:gd name="T12" fmla="*/ 60 h 60"/>
                                </a:gdLst>
                                <a:ahLst/>
                                <a:cxnLst>
                                  <a:cxn ang="T6">
                                    <a:pos x="T0" y="T1"/>
                                  </a:cxn>
                                  <a:cxn ang="T7">
                                    <a:pos x="T2" y="T3"/>
                                  </a:cxn>
                                  <a:cxn ang="T8">
                                    <a:pos x="T4" y="T5"/>
                                  </a:cxn>
                                </a:cxnLst>
                                <a:rect l="T9" t="T10" r="T11" b="T12"/>
                                <a:pathLst>
                                  <a:path w="65" h="60">
                                    <a:moveTo>
                                      <a:pt x="65" y="0"/>
                                    </a:moveTo>
                                    <a:cubicBezTo>
                                      <a:pt x="61" y="5"/>
                                      <a:pt x="51" y="21"/>
                                      <a:pt x="40" y="31"/>
                                    </a:cubicBezTo>
                                    <a:cubicBezTo>
                                      <a:pt x="29" y="41"/>
                                      <a:pt x="8" y="54"/>
                                      <a:pt x="0" y="60"/>
                                    </a:cubicBezTo>
                                  </a:path>
                                </a:pathLst>
                              </a:custGeom>
                              <a:noFill/>
                              <a:ln w="28575">
                                <a:solidFill>
                                  <a:srgbClr val="0070C0"/>
                                </a:solidFill>
                                <a:round/>
                                <a:headEnd/>
                                <a:tailEnd/>
                              </a:ln>
                            </p:spPr>
                            <p:txBody>
                              <a:bodyPr wrap="none" anchor="ctr"/>
                              <a:lstStyle/>
                              <a:p>
                                <a:endParaRPr lang="pt-BR"/>
                              </a:p>
                            </p:txBody>
                          </p:sp>
                          <p:sp>
                            <p:nvSpPr>
                              <p:cNvPr id="671" name="Freeform 101"/>
                              <p:cNvSpPr>
                                <a:spLocks noChangeArrowheads="1"/>
                              </p:cNvSpPr>
                              <p:nvPr/>
                            </p:nvSpPr>
                            <p:spPr bwMode="auto">
                              <a:xfrm>
                                <a:off x="7591323" y="2652481"/>
                                <a:ext cx="181862" cy="63235"/>
                              </a:xfrm>
                              <a:custGeom>
                                <a:avLst/>
                                <a:gdLst>
                                  <a:gd name="T0" fmla="*/ 2147483647 w 117"/>
                                  <a:gd name="T1" fmla="*/ 2147483647 h 39"/>
                                  <a:gd name="T2" fmla="*/ 2147483647 w 117"/>
                                  <a:gd name="T3" fmla="*/ 2147483647 h 39"/>
                                  <a:gd name="T4" fmla="*/ 0 w 117"/>
                                  <a:gd name="T5" fmla="*/ 2147483647 h 39"/>
                                  <a:gd name="T6" fmla="*/ 0 60000 65536"/>
                                  <a:gd name="T7" fmla="*/ 0 60000 65536"/>
                                  <a:gd name="T8" fmla="*/ 0 60000 65536"/>
                                  <a:gd name="T9" fmla="*/ 0 w 117"/>
                                  <a:gd name="T10" fmla="*/ 0 h 39"/>
                                  <a:gd name="T11" fmla="*/ 117 w 117"/>
                                  <a:gd name="T12" fmla="*/ 39 h 39"/>
                                </a:gdLst>
                                <a:ahLst/>
                                <a:cxnLst>
                                  <a:cxn ang="T6">
                                    <a:pos x="T0" y="T1"/>
                                  </a:cxn>
                                  <a:cxn ang="T7">
                                    <a:pos x="T2" y="T3"/>
                                  </a:cxn>
                                  <a:cxn ang="T8">
                                    <a:pos x="T4" y="T5"/>
                                  </a:cxn>
                                </a:cxnLst>
                                <a:rect l="T9" t="T10" r="T11" b="T12"/>
                                <a:pathLst>
                                  <a:path w="117" h="39">
                                    <a:moveTo>
                                      <a:pt x="117" y="7"/>
                                    </a:moveTo>
                                    <a:cubicBezTo>
                                      <a:pt x="99" y="4"/>
                                      <a:pt x="85" y="0"/>
                                      <a:pt x="66" y="5"/>
                                    </a:cubicBezTo>
                                    <a:cubicBezTo>
                                      <a:pt x="47" y="10"/>
                                      <a:pt x="14" y="32"/>
                                      <a:pt x="0" y="39"/>
                                    </a:cubicBezTo>
                                  </a:path>
                                </a:pathLst>
                              </a:custGeom>
                              <a:noFill/>
                              <a:ln w="28575">
                                <a:solidFill>
                                  <a:srgbClr val="0070C0"/>
                                </a:solidFill>
                                <a:round/>
                                <a:headEnd/>
                                <a:tailEnd/>
                              </a:ln>
                            </p:spPr>
                            <p:txBody>
                              <a:bodyPr wrap="none" anchor="ctr"/>
                              <a:lstStyle/>
                              <a:p>
                                <a:endParaRPr lang="pt-BR"/>
                              </a:p>
                            </p:txBody>
                          </p:sp>
                          <p:sp>
                            <p:nvSpPr>
                              <p:cNvPr id="672" name="Freeform 105"/>
                              <p:cNvSpPr>
                                <a:spLocks noChangeArrowheads="1"/>
                              </p:cNvSpPr>
                              <p:nvPr/>
                            </p:nvSpPr>
                            <p:spPr bwMode="auto">
                              <a:xfrm>
                                <a:off x="7509993" y="2528351"/>
                                <a:ext cx="67775" cy="48012"/>
                              </a:xfrm>
                              <a:custGeom>
                                <a:avLst/>
                                <a:gdLst>
                                  <a:gd name="T0" fmla="*/ 2147483647 w 64"/>
                                  <a:gd name="T1" fmla="*/ 2147483647 h 12"/>
                                  <a:gd name="T2" fmla="*/ 0 w 64"/>
                                  <a:gd name="T3" fmla="*/ 0 h 12"/>
                                  <a:gd name="T4" fmla="*/ 0 60000 65536"/>
                                  <a:gd name="T5" fmla="*/ 0 60000 65536"/>
                                  <a:gd name="T6" fmla="*/ 0 w 64"/>
                                  <a:gd name="T7" fmla="*/ 0 h 12"/>
                                  <a:gd name="T8" fmla="*/ 64 w 64"/>
                                  <a:gd name="T9" fmla="*/ 12 h 12"/>
                                </a:gdLst>
                                <a:ahLst/>
                                <a:cxnLst>
                                  <a:cxn ang="T4">
                                    <a:pos x="T0" y="T1"/>
                                  </a:cxn>
                                  <a:cxn ang="T5">
                                    <a:pos x="T2" y="T3"/>
                                  </a:cxn>
                                </a:cxnLst>
                                <a:rect l="T6" t="T7" r="T8" b="T9"/>
                                <a:pathLst>
                                  <a:path w="64" h="12">
                                    <a:moveTo>
                                      <a:pt x="64" y="12"/>
                                    </a:moveTo>
                                    <a:cubicBezTo>
                                      <a:pt x="53" y="10"/>
                                      <a:pt x="13" y="2"/>
                                      <a:pt x="0" y="0"/>
                                    </a:cubicBezTo>
                                  </a:path>
                                </a:pathLst>
                              </a:custGeom>
                              <a:noFill/>
                              <a:ln w="28575">
                                <a:solidFill>
                                  <a:srgbClr val="0070C0"/>
                                </a:solidFill>
                                <a:round/>
                                <a:headEnd/>
                                <a:tailEnd/>
                              </a:ln>
                            </p:spPr>
                            <p:txBody>
                              <a:bodyPr wrap="none" anchor="ctr"/>
                              <a:lstStyle/>
                              <a:p>
                                <a:endParaRPr lang="pt-BR"/>
                              </a:p>
                            </p:txBody>
                          </p:sp>
                          <p:sp>
                            <p:nvSpPr>
                              <p:cNvPr id="673" name="Freeform 106"/>
                              <p:cNvSpPr>
                                <a:spLocks noChangeArrowheads="1"/>
                              </p:cNvSpPr>
                              <p:nvPr/>
                            </p:nvSpPr>
                            <p:spPr bwMode="auto">
                              <a:xfrm>
                                <a:off x="7791260" y="2244963"/>
                                <a:ext cx="452963" cy="412203"/>
                              </a:xfrm>
                              <a:custGeom>
                                <a:avLst/>
                                <a:gdLst>
                                  <a:gd name="T0" fmla="*/ 0 w 292"/>
                                  <a:gd name="T1" fmla="*/ 2147483647 h 262"/>
                                  <a:gd name="T2" fmla="*/ 2147483647 w 292"/>
                                  <a:gd name="T3" fmla="*/ 2147483647 h 262"/>
                                  <a:gd name="T4" fmla="*/ 2147483647 w 292"/>
                                  <a:gd name="T5" fmla="*/ 2147483647 h 262"/>
                                  <a:gd name="T6" fmla="*/ 2147483647 w 292"/>
                                  <a:gd name="T7" fmla="*/ 2147483647 h 262"/>
                                  <a:gd name="T8" fmla="*/ 2147483647 w 292"/>
                                  <a:gd name="T9" fmla="*/ 2147483647 h 262"/>
                                  <a:gd name="T10" fmla="*/ 2147483647 w 292"/>
                                  <a:gd name="T11" fmla="*/ 0 h 262"/>
                                  <a:gd name="T12" fmla="*/ 0 60000 65536"/>
                                  <a:gd name="T13" fmla="*/ 0 60000 65536"/>
                                  <a:gd name="T14" fmla="*/ 0 60000 65536"/>
                                  <a:gd name="T15" fmla="*/ 0 60000 65536"/>
                                  <a:gd name="T16" fmla="*/ 0 60000 65536"/>
                                  <a:gd name="T17" fmla="*/ 0 60000 65536"/>
                                  <a:gd name="T18" fmla="*/ 0 w 292"/>
                                  <a:gd name="T19" fmla="*/ 0 h 262"/>
                                  <a:gd name="T20" fmla="*/ 292 w 292"/>
                                  <a:gd name="T21" fmla="*/ 262 h 262"/>
                                </a:gdLst>
                                <a:ahLst/>
                                <a:cxnLst>
                                  <a:cxn ang="T12">
                                    <a:pos x="T0" y="T1"/>
                                  </a:cxn>
                                  <a:cxn ang="T13">
                                    <a:pos x="T2" y="T3"/>
                                  </a:cxn>
                                  <a:cxn ang="T14">
                                    <a:pos x="T4" y="T5"/>
                                  </a:cxn>
                                  <a:cxn ang="T15">
                                    <a:pos x="T6" y="T7"/>
                                  </a:cxn>
                                  <a:cxn ang="T16">
                                    <a:pos x="T8" y="T9"/>
                                  </a:cxn>
                                  <a:cxn ang="T17">
                                    <a:pos x="T10" y="T11"/>
                                  </a:cxn>
                                </a:cxnLst>
                                <a:rect l="T18" t="T19" r="T20" b="T21"/>
                                <a:pathLst>
                                  <a:path w="292" h="262">
                                    <a:moveTo>
                                      <a:pt x="0" y="262"/>
                                    </a:moveTo>
                                    <a:cubicBezTo>
                                      <a:pt x="12" y="247"/>
                                      <a:pt x="55" y="198"/>
                                      <a:pt x="70" y="174"/>
                                    </a:cubicBezTo>
                                    <a:cubicBezTo>
                                      <a:pt x="85" y="150"/>
                                      <a:pt x="70" y="134"/>
                                      <a:pt x="88" y="118"/>
                                    </a:cubicBezTo>
                                    <a:cubicBezTo>
                                      <a:pt x="106" y="102"/>
                                      <a:pt x="160" y="93"/>
                                      <a:pt x="178" y="80"/>
                                    </a:cubicBezTo>
                                    <a:cubicBezTo>
                                      <a:pt x="196" y="67"/>
                                      <a:pt x="179" y="51"/>
                                      <a:pt x="198" y="38"/>
                                    </a:cubicBezTo>
                                    <a:cubicBezTo>
                                      <a:pt x="217" y="25"/>
                                      <a:pt x="272" y="8"/>
                                      <a:pt x="292" y="0"/>
                                    </a:cubicBezTo>
                                  </a:path>
                                </a:pathLst>
                              </a:custGeom>
                              <a:noFill/>
                              <a:ln w="28575">
                                <a:solidFill>
                                  <a:srgbClr val="0070C0"/>
                                </a:solidFill>
                                <a:round/>
                                <a:headEnd/>
                                <a:tailEnd/>
                              </a:ln>
                            </p:spPr>
                            <p:txBody>
                              <a:bodyPr wrap="none" anchor="ctr"/>
                              <a:lstStyle/>
                              <a:p>
                                <a:endParaRPr lang="pt-BR"/>
                              </a:p>
                            </p:txBody>
                          </p:sp>
                          <p:sp>
                            <p:nvSpPr>
                              <p:cNvPr id="674" name="Text Box 112"/>
                              <p:cNvSpPr txBox="1">
                                <a:spLocks noChangeArrowheads="1"/>
                              </p:cNvSpPr>
                              <p:nvPr/>
                            </p:nvSpPr>
                            <p:spPr bwMode="auto">
                              <a:xfrm>
                                <a:off x="6337487" y="1692238"/>
                                <a:ext cx="190539" cy="59838"/>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FFC000"/>
                                    </a:solidFill>
                                    <a:latin typeface="Calibri" pitchFamily="34" charset="0"/>
                                  </a:rPr>
                                  <a:t>Manaus</a:t>
                                </a:r>
                              </a:p>
                            </p:txBody>
                          </p:sp>
                          <p:sp>
                            <p:nvSpPr>
                              <p:cNvPr id="675" name="Text Box 113"/>
                              <p:cNvSpPr txBox="1">
                                <a:spLocks noChangeArrowheads="1"/>
                              </p:cNvSpPr>
                              <p:nvPr/>
                            </p:nvSpPr>
                            <p:spPr bwMode="auto">
                              <a:xfrm>
                                <a:off x="6790306" y="2271529"/>
                                <a:ext cx="183975" cy="70851"/>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FF0000"/>
                                    </a:solidFill>
                                    <a:latin typeface="Calibri" pitchFamily="34" charset="0"/>
                                  </a:rPr>
                                  <a:t>Cuiabá</a:t>
                                </a:r>
                              </a:p>
                            </p:txBody>
                          </p:sp>
                          <p:sp>
                            <p:nvSpPr>
                              <p:cNvPr id="676" name="Text Box 115"/>
                              <p:cNvSpPr txBox="1">
                                <a:spLocks noChangeArrowheads="1"/>
                              </p:cNvSpPr>
                              <p:nvPr/>
                            </p:nvSpPr>
                            <p:spPr bwMode="auto">
                              <a:xfrm>
                                <a:off x="7506711" y="3338703"/>
                                <a:ext cx="424723" cy="80801"/>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Florianópolis</a:t>
                                </a:r>
                              </a:p>
                            </p:txBody>
                          </p:sp>
                          <p:sp>
                            <p:nvSpPr>
                              <p:cNvPr id="677" name="Text Box 116"/>
                              <p:cNvSpPr txBox="1">
                                <a:spLocks noChangeArrowheads="1"/>
                              </p:cNvSpPr>
                              <p:nvPr/>
                            </p:nvSpPr>
                            <p:spPr bwMode="auto">
                              <a:xfrm>
                                <a:off x="7723485" y="3079906"/>
                                <a:ext cx="325319" cy="80802"/>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São Paulo</a:t>
                                </a:r>
                              </a:p>
                            </p:txBody>
                          </p:sp>
                          <p:sp>
                            <p:nvSpPr>
                              <p:cNvPr id="678" name="Text Box 120"/>
                              <p:cNvSpPr txBox="1">
                                <a:spLocks noChangeArrowheads="1"/>
                              </p:cNvSpPr>
                              <p:nvPr/>
                            </p:nvSpPr>
                            <p:spPr bwMode="auto">
                              <a:xfrm>
                                <a:off x="7168860" y="1167617"/>
                                <a:ext cx="271099" cy="80801"/>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Macapá</a:t>
                                </a:r>
                              </a:p>
                            </p:txBody>
                          </p:sp>
                          <p:sp>
                            <p:nvSpPr>
                              <p:cNvPr id="679" name="Text Box 121"/>
                              <p:cNvSpPr txBox="1">
                                <a:spLocks noChangeArrowheads="1"/>
                              </p:cNvSpPr>
                              <p:nvPr/>
                            </p:nvSpPr>
                            <p:spPr bwMode="auto">
                              <a:xfrm>
                                <a:off x="6503535" y="1316338"/>
                                <a:ext cx="311764" cy="80802"/>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Boa Vista</a:t>
                                </a:r>
                              </a:p>
                            </p:txBody>
                          </p:sp>
                          <p:sp>
                            <p:nvSpPr>
                              <p:cNvPr id="680" name="Text Box 122"/>
                              <p:cNvSpPr txBox="1">
                                <a:spLocks noChangeArrowheads="1"/>
                              </p:cNvSpPr>
                              <p:nvPr/>
                            </p:nvSpPr>
                            <p:spPr bwMode="auto">
                              <a:xfrm>
                                <a:off x="6361207" y="2034178"/>
                                <a:ext cx="267711" cy="80801"/>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P. Velho</a:t>
                                </a:r>
                              </a:p>
                            </p:txBody>
                          </p:sp>
                          <p:sp>
                            <p:nvSpPr>
                              <p:cNvPr id="681" name="Text Box 123"/>
                              <p:cNvSpPr txBox="1">
                                <a:spLocks noChangeArrowheads="1"/>
                              </p:cNvSpPr>
                              <p:nvPr/>
                            </p:nvSpPr>
                            <p:spPr bwMode="auto">
                              <a:xfrm>
                                <a:off x="8274722" y="2288292"/>
                                <a:ext cx="233988" cy="70851"/>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FF0000"/>
                                    </a:solidFill>
                                    <a:latin typeface="Calibri" pitchFamily="34" charset="0"/>
                                  </a:rPr>
                                  <a:t>Salvador</a:t>
                                </a:r>
                              </a:p>
                            </p:txBody>
                          </p:sp>
                          <p:sp>
                            <p:nvSpPr>
                              <p:cNvPr id="682" name="Text Box 131"/>
                              <p:cNvSpPr txBox="1">
                                <a:spLocks noChangeArrowheads="1"/>
                              </p:cNvSpPr>
                              <p:nvPr/>
                            </p:nvSpPr>
                            <p:spPr bwMode="auto">
                              <a:xfrm>
                                <a:off x="7534806" y="3158963"/>
                                <a:ext cx="262064" cy="80801"/>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Curitiba</a:t>
                                </a:r>
                              </a:p>
                            </p:txBody>
                          </p:sp>
                          <p:sp>
                            <p:nvSpPr>
                              <p:cNvPr id="683" name="Text Box 133"/>
                              <p:cNvSpPr txBox="1">
                                <a:spLocks noChangeArrowheads="1"/>
                              </p:cNvSpPr>
                              <p:nvPr/>
                            </p:nvSpPr>
                            <p:spPr bwMode="auto">
                              <a:xfrm>
                                <a:off x="8418957" y="1981482"/>
                                <a:ext cx="245121" cy="80802"/>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Maceió</a:t>
                                </a:r>
                              </a:p>
                            </p:txBody>
                          </p:sp>
                          <p:sp>
                            <p:nvSpPr>
                              <p:cNvPr id="684" name="Text Box 134"/>
                              <p:cNvSpPr txBox="1">
                                <a:spLocks noChangeArrowheads="1"/>
                              </p:cNvSpPr>
                              <p:nvPr/>
                            </p:nvSpPr>
                            <p:spPr bwMode="auto">
                              <a:xfrm>
                                <a:off x="8471429" y="1866721"/>
                                <a:ext cx="198807" cy="80802"/>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Recife</a:t>
                                </a:r>
                              </a:p>
                            </p:txBody>
                          </p:sp>
                          <p:sp>
                            <p:nvSpPr>
                              <p:cNvPr id="685" name="Text Box 135"/>
                              <p:cNvSpPr txBox="1">
                                <a:spLocks noChangeArrowheads="1"/>
                              </p:cNvSpPr>
                              <p:nvPr/>
                            </p:nvSpPr>
                            <p:spPr bwMode="auto">
                              <a:xfrm>
                                <a:off x="8170800" y="1481453"/>
                                <a:ext cx="307246" cy="80801"/>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Fortaleza</a:t>
                                </a:r>
                              </a:p>
                            </p:txBody>
                          </p:sp>
                          <p:sp>
                            <p:nvSpPr>
                              <p:cNvPr id="686" name="Text Box 138"/>
                              <p:cNvSpPr txBox="1">
                                <a:spLocks noChangeArrowheads="1"/>
                              </p:cNvSpPr>
                              <p:nvPr/>
                            </p:nvSpPr>
                            <p:spPr bwMode="auto">
                              <a:xfrm>
                                <a:off x="7466911" y="2342600"/>
                                <a:ext cx="486850" cy="65972"/>
                              </a:xfrm>
                              <a:prstGeom prst="rect">
                                <a:avLst/>
                              </a:prstGeom>
                              <a:noFill/>
                              <a:ln w="9525">
                                <a:noFill/>
                                <a:round/>
                                <a:headEnd/>
                                <a:tailEnd/>
                              </a:ln>
                            </p:spPr>
                            <p:txBody>
                              <a:bodyPr lIns="0" tIns="0" rIns="0" bIns="0">
                                <a:spAutoFit/>
                              </a:bodyPr>
                              <a:lstStyle/>
                              <a:p>
                                <a:pPr defTabSz="457200">
                                  <a:lnSpc>
                                    <a:spcPct val="7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latin typeface="Calibri" pitchFamily="34" charset="0"/>
                                  </a:rPr>
                                  <a:t>Brasília</a:t>
                                </a:r>
                              </a:p>
                            </p:txBody>
                          </p:sp>
                          <p:sp>
                            <p:nvSpPr>
                              <p:cNvPr id="687" name="Text Box 139"/>
                              <p:cNvSpPr txBox="1">
                                <a:spLocks noChangeArrowheads="1"/>
                              </p:cNvSpPr>
                              <p:nvPr/>
                            </p:nvSpPr>
                            <p:spPr bwMode="auto">
                              <a:xfrm>
                                <a:off x="7944515" y="2995592"/>
                                <a:ext cx="377774" cy="72614"/>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B050"/>
                                    </a:solidFill>
                                    <a:latin typeface="Calibri" pitchFamily="34" charset="0"/>
                                  </a:rPr>
                                  <a:t>Rio de Janeiro</a:t>
                                </a:r>
                              </a:p>
                            </p:txBody>
                          </p:sp>
                          <p:sp>
                            <p:nvSpPr>
                              <p:cNvPr id="688" name="Text Box 140"/>
                              <p:cNvSpPr txBox="1">
                                <a:spLocks noChangeArrowheads="1"/>
                              </p:cNvSpPr>
                              <p:nvPr/>
                            </p:nvSpPr>
                            <p:spPr bwMode="auto">
                              <a:xfrm>
                                <a:off x="7267909" y="3500305"/>
                                <a:ext cx="543329" cy="80801"/>
                              </a:xfrm>
                              <a:prstGeom prst="rect">
                                <a:avLst/>
                              </a:prstGeom>
                              <a:noFill/>
                              <a:ln w="9525">
                                <a:noFill/>
                                <a:round/>
                                <a:headEnd/>
                                <a:tailEnd/>
                              </a:ln>
                            </p:spPr>
                            <p:txBody>
                              <a:bodyPr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Porto Alegre</a:t>
                                </a:r>
                              </a:p>
                            </p:txBody>
                          </p:sp>
                          <p:sp>
                            <p:nvSpPr>
                              <p:cNvPr id="689" name="Freeform 256"/>
                              <p:cNvSpPr>
                                <a:spLocks noChangeArrowheads="1"/>
                              </p:cNvSpPr>
                              <p:nvPr/>
                            </p:nvSpPr>
                            <p:spPr bwMode="auto">
                              <a:xfrm>
                                <a:off x="7385740" y="3139629"/>
                                <a:ext cx="143457" cy="332572"/>
                              </a:xfrm>
                              <a:custGeom>
                                <a:avLst/>
                                <a:gdLst>
                                  <a:gd name="T0" fmla="*/ 2147483647 w 153"/>
                                  <a:gd name="T1" fmla="*/ 0 h 372"/>
                                  <a:gd name="T2" fmla="*/ 2147483647 w 153"/>
                                  <a:gd name="T3" fmla="*/ 2147483647 h 372"/>
                                  <a:gd name="T4" fmla="*/ 2147483647 w 153"/>
                                  <a:gd name="T5" fmla="*/ 2147483647 h 372"/>
                                  <a:gd name="T6" fmla="*/ 0 w 153"/>
                                  <a:gd name="T7" fmla="*/ 2147483647 h 372"/>
                                  <a:gd name="T8" fmla="*/ 0 60000 65536"/>
                                  <a:gd name="T9" fmla="*/ 0 60000 65536"/>
                                  <a:gd name="T10" fmla="*/ 0 60000 65536"/>
                                  <a:gd name="T11" fmla="*/ 0 60000 65536"/>
                                  <a:gd name="T12" fmla="*/ 0 w 153"/>
                                  <a:gd name="T13" fmla="*/ 0 h 372"/>
                                  <a:gd name="T14" fmla="*/ 153 w 153"/>
                                  <a:gd name="T15" fmla="*/ 372 h 372"/>
                                </a:gdLst>
                                <a:ahLst/>
                                <a:cxnLst>
                                  <a:cxn ang="T8">
                                    <a:pos x="T0" y="T1"/>
                                  </a:cxn>
                                  <a:cxn ang="T9">
                                    <a:pos x="T2" y="T3"/>
                                  </a:cxn>
                                  <a:cxn ang="T10">
                                    <a:pos x="T4" y="T5"/>
                                  </a:cxn>
                                  <a:cxn ang="T11">
                                    <a:pos x="T6" y="T7"/>
                                  </a:cxn>
                                </a:cxnLst>
                                <a:rect l="T12" t="T13" r="T14" b="T15"/>
                                <a:pathLst>
                                  <a:path w="153" h="372">
                                    <a:moveTo>
                                      <a:pt x="153" y="0"/>
                                    </a:moveTo>
                                    <a:cubicBezTo>
                                      <a:pt x="144" y="5"/>
                                      <a:pt x="119" y="4"/>
                                      <a:pt x="96" y="33"/>
                                    </a:cubicBezTo>
                                    <a:cubicBezTo>
                                      <a:pt x="73" y="62"/>
                                      <a:pt x="32" y="116"/>
                                      <a:pt x="16" y="172"/>
                                    </a:cubicBezTo>
                                    <a:cubicBezTo>
                                      <a:pt x="0" y="228"/>
                                      <a:pt x="0" y="318"/>
                                      <a:pt x="0" y="372"/>
                                    </a:cubicBezTo>
                                  </a:path>
                                </a:pathLst>
                              </a:custGeom>
                              <a:noFill/>
                              <a:ln w="28575">
                                <a:solidFill>
                                  <a:srgbClr val="0070C0"/>
                                </a:solidFill>
                                <a:round/>
                                <a:headEnd/>
                                <a:tailEnd/>
                              </a:ln>
                            </p:spPr>
                            <p:txBody>
                              <a:bodyPr wrap="none" anchor="ctr"/>
                              <a:lstStyle/>
                              <a:p>
                                <a:endParaRPr lang="pt-BR"/>
                              </a:p>
                            </p:txBody>
                          </p:sp>
                          <p:graphicFrame>
                            <p:nvGraphicFramePr>
                              <p:cNvPr id="690" name="Object 2"/>
                              <p:cNvGraphicFramePr>
                                <a:graphicFrameLocks noChangeAspect="1"/>
                              </p:cNvGraphicFramePr>
                              <p:nvPr/>
                            </p:nvGraphicFramePr>
                            <p:xfrm>
                              <a:off x="7755113" y="2640772"/>
                              <a:ext cx="54220" cy="55038"/>
                            </p:xfrm>
                            <a:graphic>
                              <a:graphicData uri="http://schemas.openxmlformats.org/presentationml/2006/ole">
                                <p:oleObj spid="_x0000_s2102487" r:id="rId8" imgW="312983" imgH="312983" progId="">
                                  <p:embed/>
                                </p:oleObj>
                              </a:graphicData>
                            </a:graphic>
                          </p:graphicFrame>
                          <p:sp>
                            <p:nvSpPr>
                              <p:cNvPr id="691" name="Text Box 119"/>
                              <p:cNvSpPr txBox="1">
                                <a:spLocks noChangeArrowheads="1"/>
                              </p:cNvSpPr>
                              <p:nvPr/>
                            </p:nvSpPr>
                            <p:spPr bwMode="auto">
                              <a:xfrm>
                                <a:off x="7307710" y="2437012"/>
                                <a:ext cx="207195" cy="72614"/>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FF0000"/>
                                    </a:solidFill>
                                    <a:latin typeface="Calibri" pitchFamily="34" charset="0"/>
                                  </a:rPr>
                                  <a:t>Goiânia</a:t>
                                </a:r>
                              </a:p>
                            </p:txBody>
                          </p:sp>
                          <p:graphicFrame>
                            <p:nvGraphicFramePr>
                              <p:cNvPr id="692" name="Object 3"/>
                              <p:cNvGraphicFramePr>
                                <a:graphicFrameLocks noChangeAspect="1"/>
                              </p:cNvGraphicFramePr>
                              <p:nvPr/>
                            </p:nvGraphicFramePr>
                            <p:xfrm>
                              <a:off x="7477236" y="3126747"/>
                              <a:ext cx="56480" cy="56209"/>
                            </p:xfrm>
                            <a:graphic>
                              <a:graphicData uri="http://schemas.openxmlformats.org/presentationml/2006/ole">
                                <p:oleObj spid="_x0000_s2102488" r:id="rId9" imgW="312983" imgH="312983" progId="">
                                  <p:embed/>
                                </p:oleObj>
                              </a:graphicData>
                            </a:graphic>
                          </p:graphicFrame>
                          <p:graphicFrame>
                            <p:nvGraphicFramePr>
                              <p:cNvPr id="693" name="Object 4"/>
                              <p:cNvGraphicFramePr>
                                <a:graphicFrameLocks noChangeAspect="1"/>
                              </p:cNvGraphicFramePr>
                              <p:nvPr/>
                            </p:nvGraphicFramePr>
                            <p:xfrm>
                              <a:off x="7476107" y="2507274"/>
                              <a:ext cx="50831" cy="52696"/>
                            </p:xfrm>
                            <a:graphic>
                              <a:graphicData uri="http://schemas.openxmlformats.org/presentationml/2006/ole">
                                <p:oleObj spid="_x0000_s2102489" r:id="rId10" imgW="312983" imgH="312983" progId="">
                                  <p:embed/>
                                </p:oleObj>
                              </a:graphicData>
                            </a:graphic>
                          </p:graphicFrame>
                          <p:graphicFrame>
                            <p:nvGraphicFramePr>
                              <p:cNvPr id="694" name="Object 5"/>
                              <p:cNvGraphicFramePr>
                                <a:graphicFrameLocks noChangeAspect="1"/>
                              </p:cNvGraphicFramePr>
                              <p:nvPr/>
                            </p:nvGraphicFramePr>
                            <p:xfrm>
                              <a:off x="7576638" y="2686441"/>
                              <a:ext cx="50832" cy="52697"/>
                            </p:xfrm>
                            <a:graphic>
                              <a:graphicData uri="http://schemas.openxmlformats.org/presentationml/2006/ole">
                                <p:oleObj spid="_x0000_s2102490" r:id="rId11" imgW="312983" imgH="312983" progId="">
                                  <p:embed/>
                                </p:oleObj>
                              </a:graphicData>
                            </a:graphic>
                          </p:graphicFrame>
                          <p:graphicFrame>
                            <p:nvGraphicFramePr>
                              <p:cNvPr id="695" name="Object 6"/>
                              <p:cNvGraphicFramePr>
                                <a:graphicFrameLocks noChangeAspect="1"/>
                              </p:cNvGraphicFramePr>
                              <p:nvPr/>
                            </p:nvGraphicFramePr>
                            <p:xfrm>
                              <a:off x="8448678" y="1865551"/>
                              <a:ext cx="50832" cy="52696"/>
                            </p:xfrm>
                            <a:graphic>
                              <a:graphicData uri="http://schemas.openxmlformats.org/presentationml/2006/ole">
                                <p:oleObj spid="_x0000_s2102491" r:id="rId12" imgW="312983" imgH="312983" progId="">
                                  <p:embed/>
                                </p:oleObj>
                              </a:graphicData>
                            </a:graphic>
                          </p:graphicFrame>
                          <p:graphicFrame>
                            <p:nvGraphicFramePr>
                              <p:cNvPr id="696" name="Object 7"/>
                              <p:cNvGraphicFramePr>
                                <a:graphicFrameLocks noChangeAspect="1"/>
                              </p:cNvGraphicFramePr>
                              <p:nvPr/>
                            </p:nvGraphicFramePr>
                            <p:xfrm>
                              <a:off x="8398976" y="1967429"/>
                              <a:ext cx="51961" cy="52697"/>
                            </p:xfrm>
                            <a:graphic>
                              <a:graphicData uri="http://schemas.openxmlformats.org/presentationml/2006/ole">
                                <p:oleObj spid="_x0000_s2102492" r:id="rId13" imgW="312983" imgH="312983" progId="">
                                  <p:embed/>
                                </p:oleObj>
                              </a:graphicData>
                            </a:graphic>
                          </p:graphicFrame>
                          <p:graphicFrame>
                            <p:nvGraphicFramePr>
                              <p:cNvPr id="697" name="Object 8"/>
                              <p:cNvGraphicFramePr>
                                <a:graphicFrameLocks noChangeAspect="1"/>
                              </p:cNvGraphicFramePr>
                              <p:nvPr/>
                            </p:nvGraphicFramePr>
                            <p:xfrm>
                              <a:off x="7668135" y="3001448"/>
                              <a:ext cx="54220" cy="55038"/>
                            </p:xfrm>
                            <a:graphic>
                              <a:graphicData uri="http://schemas.openxmlformats.org/presentationml/2006/ole">
                                <p:oleObj spid="_x0000_s2102493" r:id="rId14" imgW="312983" imgH="312983" progId="">
                                  <p:embed/>
                                </p:oleObj>
                              </a:graphicData>
                            </a:graphic>
                          </p:graphicFrame>
                          <p:graphicFrame>
                            <p:nvGraphicFramePr>
                              <p:cNvPr id="698" name="Object 9"/>
                              <p:cNvGraphicFramePr>
                                <a:graphicFrameLocks noChangeAspect="1"/>
                              </p:cNvGraphicFramePr>
                              <p:nvPr/>
                            </p:nvGraphicFramePr>
                            <p:xfrm>
                              <a:off x="7474976" y="3337533"/>
                              <a:ext cx="55350" cy="56209"/>
                            </p:xfrm>
                            <a:graphic>
                              <a:graphicData uri="http://schemas.openxmlformats.org/presentationml/2006/ole">
                                <p:oleObj spid="_x0000_s2102494" r:id="rId15" imgW="312983" imgH="312983" progId="">
                                  <p:embed/>
                                </p:oleObj>
                              </a:graphicData>
                            </a:graphic>
                          </p:graphicFrame>
                          <p:sp>
                            <p:nvSpPr>
                              <p:cNvPr id="699" name="Text Box 136"/>
                              <p:cNvSpPr txBox="1">
                                <a:spLocks noChangeArrowheads="1"/>
                              </p:cNvSpPr>
                              <p:nvPr/>
                            </p:nvSpPr>
                            <p:spPr bwMode="auto">
                              <a:xfrm>
                                <a:off x="7515114" y="1350297"/>
                                <a:ext cx="169494" cy="74446"/>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dirty="0" err="1">
                                    <a:latin typeface="Calibri" pitchFamily="34" charset="0"/>
                                  </a:rPr>
                                  <a:t>Belém</a:t>
                                </a:r>
                                <a:endParaRPr lang="en-GB" sz="900" dirty="0">
                                  <a:latin typeface="Calibri" pitchFamily="34" charset="0"/>
                                </a:endParaRPr>
                              </a:p>
                            </p:txBody>
                          </p:sp>
                          <p:sp>
                            <p:nvSpPr>
                              <p:cNvPr id="700" name="Text Box 117"/>
                              <p:cNvSpPr txBox="1">
                                <a:spLocks noChangeArrowheads="1"/>
                              </p:cNvSpPr>
                              <p:nvPr/>
                            </p:nvSpPr>
                            <p:spPr bwMode="auto">
                              <a:xfrm>
                                <a:off x="7686630" y="2594903"/>
                                <a:ext cx="239699" cy="110800"/>
                              </a:xfrm>
                              <a:prstGeom prst="rect">
                                <a:avLst/>
                              </a:prstGeom>
                              <a:noFill/>
                              <a:ln w="9525">
                                <a:noFill/>
                                <a:round/>
                                <a:headEnd/>
                                <a:tailEnd/>
                              </a:ln>
                            </p:spPr>
                            <p:txBody>
                              <a:bodyPr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BHE</a:t>
                                </a:r>
                              </a:p>
                            </p:txBody>
                          </p:sp>
                          <p:graphicFrame>
                            <p:nvGraphicFramePr>
                              <p:cNvPr id="701" name="Object 10"/>
                              <p:cNvGraphicFramePr>
                                <a:graphicFrameLocks noChangeAspect="1"/>
                              </p:cNvGraphicFramePr>
                              <p:nvPr/>
                            </p:nvGraphicFramePr>
                            <p:xfrm>
                              <a:off x="6466259" y="1959232"/>
                              <a:ext cx="51961" cy="53867"/>
                            </p:xfrm>
                            <a:graphic>
                              <a:graphicData uri="http://schemas.openxmlformats.org/presentationml/2006/ole">
                                <p:oleObj spid="_x0000_s2102495" r:id="rId16" imgW="312983" imgH="312983" progId="">
                                  <p:embed/>
                                </p:oleObj>
                              </a:graphicData>
                            </a:graphic>
                          </p:graphicFrame>
                          <p:graphicFrame>
                            <p:nvGraphicFramePr>
                              <p:cNvPr id="702" name="Object 11"/>
                              <p:cNvGraphicFramePr>
                                <a:graphicFrameLocks noChangeAspect="1"/>
                              </p:cNvGraphicFramePr>
                              <p:nvPr/>
                            </p:nvGraphicFramePr>
                            <p:xfrm>
                              <a:off x="6578087" y="1638371"/>
                              <a:ext cx="50832" cy="52696"/>
                            </p:xfrm>
                            <a:graphic>
                              <a:graphicData uri="http://schemas.openxmlformats.org/presentationml/2006/ole">
                                <p:oleObj spid="_x0000_s2102496" r:id="rId17" imgW="312983" imgH="312983" progId="">
                                  <p:embed/>
                                </p:oleObj>
                              </a:graphicData>
                            </a:graphic>
                          </p:graphicFrame>
                          <p:graphicFrame>
                            <p:nvGraphicFramePr>
                              <p:cNvPr id="703" name="Object 12"/>
                              <p:cNvGraphicFramePr>
                                <a:graphicFrameLocks noChangeAspect="1"/>
                              </p:cNvGraphicFramePr>
                              <p:nvPr/>
                            </p:nvGraphicFramePr>
                            <p:xfrm>
                              <a:off x="6628919" y="1262471"/>
                              <a:ext cx="51961" cy="53867"/>
                            </p:xfrm>
                            <a:graphic>
                              <a:graphicData uri="http://schemas.openxmlformats.org/presentationml/2006/ole">
                                <p:oleObj spid="_x0000_s2102497" r:id="rId18" imgW="312983" imgH="312983" progId="">
                                  <p:embed/>
                                </p:oleObj>
                              </a:graphicData>
                            </a:graphic>
                          </p:graphicFrame>
                          <p:graphicFrame>
                            <p:nvGraphicFramePr>
                              <p:cNvPr id="704" name="Object 13"/>
                              <p:cNvGraphicFramePr>
                                <a:graphicFrameLocks noChangeAspect="1"/>
                              </p:cNvGraphicFramePr>
                              <p:nvPr/>
                            </p:nvGraphicFramePr>
                            <p:xfrm>
                              <a:off x="7294243" y="1247247"/>
                              <a:ext cx="51961" cy="52696"/>
                            </p:xfrm>
                            <a:graphic>
                              <a:graphicData uri="http://schemas.openxmlformats.org/presentationml/2006/ole">
                                <p:oleObj spid="_x0000_s2102498" r:id="rId19" imgW="312983" imgH="312983" progId="">
                                  <p:embed/>
                                </p:oleObj>
                              </a:graphicData>
                            </a:graphic>
                          </p:graphicFrame>
                          <p:graphicFrame>
                            <p:nvGraphicFramePr>
                              <p:cNvPr id="705" name="Object 14"/>
                              <p:cNvGraphicFramePr>
                                <a:graphicFrameLocks noChangeAspect="1"/>
                              </p:cNvGraphicFramePr>
                              <p:nvPr/>
                            </p:nvGraphicFramePr>
                            <p:xfrm>
                              <a:off x="7572121" y="2393683"/>
                              <a:ext cx="50832" cy="52697"/>
                            </p:xfrm>
                            <a:graphic>
                              <a:graphicData uri="http://schemas.openxmlformats.org/presentationml/2006/ole">
                                <p:oleObj spid="_x0000_s2102499" r:id="rId20" imgW="312983" imgH="312983" progId="">
                                  <p:embed/>
                                </p:oleObj>
                              </a:graphicData>
                            </a:graphic>
                          </p:graphicFrame>
                          <p:graphicFrame>
                            <p:nvGraphicFramePr>
                              <p:cNvPr id="706" name="Object 15"/>
                              <p:cNvGraphicFramePr>
                                <a:graphicFrameLocks noChangeAspect="1"/>
                              </p:cNvGraphicFramePr>
                              <p:nvPr/>
                            </p:nvGraphicFramePr>
                            <p:xfrm>
                              <a:off x="7502086" y="1433440"/>
                              <a:ext cx="51961" cy="56209"/>
                            </p:xfrm>
                            <a:graphic>
                              <a:graphicData uri="http://schemas.openxmlformats.org/presentationml/2006/ole">
                                <p:oleObj spid="_x0000_s2102500" r:id="rId21" imgW="312983" imgH="312983" progId="">
                                  <p:embed/>
                                </p:oleObj>
                              </a:graphicData>
                            </a:graphic>
                          </p:graphicFrame>
                          <p:graphicFrame>
                            <p:nvGraphicFramePr>
                              <p:cNvPr id="707" name="Object 16"/>
                              <p:cNvGraphicFramePr>
                                <a:graphicFrameLocks noChangeAspect="1"/>
                              </p:cNvGraphicFramePr>
                              <p:nvPr/>
                            </p:nvGraphicFramePr>
                            <p:xfrm>
                              <a:off x="7922291" y="2946409"/>
                              <a:ext cx="54220" cy="55039"/>
                            </p:xfrm>
                            <a:graphic>
                              <a:graphicData uri="http://schemas.openxmlformats.org/presentationml/2006/ole">
                                <p:oleObj spid="_x0000_s2102501" r:id="rId22" imgW="312983" imgH="312983" progId="">
                                  <p:embed/>
                                </p:oleObj>
                              </a:graphicData>
                            </a:graphic>
                          </p:graphicFrame>
                          <p:graphicFrame>
                            <p:nvGraphicFramePr>
                              <p:cNvPr id="708" name="Object 17"/>
                              <p:cNvGraphicFramePr>
                                <a:graphicFrameLocks noChangeAspect="1"/>
                              </p:cNvGraphicFramePr>
                              <p:nvPr/>
                            </p:nvGraphicFramePr>
                            <p:xfrm>
                              <a:off x="7547270" y="2809399"/>
                              <a:ext cx="51961" cy="52696"/>
                            </p:xfrm>
                            <a:graphic>
                              <a:graphicData uri="http://schemas.openxmlformats.org/presentationml/2006/ole">
                                <p:oleObj spid="_x0000_s2102502" r:id="rId23" imgW="312983" imgH="312983" progId="">
                                  <p:embed/>
                                </p:oleObj>
                              </a:graphicData>
                            </a:graphic>
                          </p:graphicFrame>
                          <p:graphicFrame>
                            <p:nvGraphicFramePr>
                              <p:cNvPr id="709" name="Object 18"/>
                              <p:cNvGraphicFramePr>
                                <a:graphicFrameLocks noChangeAspect="1"/>
                              </p:cNvGraphicFramePr>
                              <p:nvPr/>
                            </p:nvGraphicFramePr>
                            <p:xfrm>
                              <a:off x="7355241" y="3441755"/>
                              <a:ext cx="56480" cy="56209"/>
                            </p:xfrm>
                            <a:graphic>
                              <a:graphicData uri="http://schemas.openxmlformats.org/presentationml/2006/ole">
                                <p:oleObj spid="_x0000_s2102503" r:id="rId24" imgW="312983" imgH="312983" progId="">
                                  <p:embed/>
                                </p:oleObj>
                              </a:graphicData>
                            </a:graphic>
                          </p:graphicFrame>
                          <p:graphicFrame>
                            <p:nvGraphicFramePr>
                              <p:cNvPr id="710" name="Object 19"/>
                              <p:cNvGraphicFramePr>
                                <a:graphicFrameLocks noChangeAspect="1"/>
                              </p:cNvGraphicFramePr>
                              <p:nvPr/>
                            </p:nvGraphicFramePr>
                            <p:xfrm>
                              <a:off x="8153857" y="1565766"/>
                              <a:ext cx="51961" cy="52696"/>
                            </p:xfrm>
                            <a:graphic>
                              <a:graphicData uri="http://schemas.openxmlformats.org/presentationml/2006/ole">
                                <p:oleObj spid="_x0000_s2102504" r:id="rId25" imgW="312983" imgH="312983" progId="">
                                  <p:embed/>
                                </p:oleObj>
                              </a:graphicData>
                            </a:graphic>
                          </p:graphicFrame>
                          <p:sp>
                            <p:nvSpPr>
                              <p:cNvPr id="711" name="Oval 710"/>
                              <p:cNvSpPr/>
                              <p:nvPr/>
                            </p:nvSpPr>
                            <p:spPr bwMode="auto">
                              <a:xfrm>
                                <a:off x="8408418" y="1983165"/>
                                <a:ext cx="37370" cy="40810"/>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graphicFrame>
                            <p:nvGraphicFramePr>
                              <p:cNvPr id="712" name="Object 20"/>
                              <p:cNvGraphicFramePr>
                                <a:graphicFrameLocks noChangeAspect="1"/>
                              </p:cNvGraphicFramePr>
                              <p:nvPr/>
                            </p:nvGraphicFramePr>
                            <p:xfrm>
                              <a:off x="8300703" y="2119663"/>
                              <a:ext cx="51961" cy="52697"/>
                            </p:xfrm>
                            <a:graphic>
                              <a:graphicData uri="http://schemas.openxmlformats.org/presentationml/2006/ole">
                                <p:oleObj spid="_x0000_s2102505" r:id="rId26" imgW="312983" imgH="312983" progId="">
                                  <p:embed/>
                                </p:oleObj>
                              </a:graphicData>
                            </a:graphic>
                          </p:graphicFrame>
                          <p:sp>
                            <p:nvSpPr>
                              <p:cNvPr id="713" name="Oval 712"/>
                              <p:cNvSpPr/>
                              <p:nvPr/>
                            </p:nvSpPr>
                            <p:spPr bwMode="auto">
                              <a:xfrm>
                                <a:off x="8309866" y="2136283"/>
                                <a:ext cx="38865" cy="41116"/>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714" name="Text Box 132"/>
                              <p:cNvSpPr txBox="1">
                                <a:spLocks noChangeArrowheads="1"/>
                              </p:cNvSpPr>
                              <p:nvPr/>
                            </p:nvSpPr>
                            <p:spPr bwMode="auto">
                              <a:xfrm>
                                <a:off x="8370736" y="2125519"/>
                                <a:ext cx="254156" cy="80801"/>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Aracaju</a:t>
                                </a:r>
                              </a:p>
                            </p:txBody>
                          </p:sp>
                          <p:sp>
                            <p:nvSpPr>
                              <p:cNvPr id="715" name="Oval 714"/>
                              <p:cNvSpPr/>
                              <p:nvPr/>
                            </p:nvSpPr>
                            <p:spPr bwMode="auto">
                              <a:xfrm>
                                <a:off x="7304099" y="1263689"/>
                                <a:ext cx="37370" cy="42118"/>
                              </a:xfrm>
                              <a:prstGeom prst="ellipse">
                                <a:avLst/>
                              </a:prstGeom>
                              <a:solidFill>
                                <a:srgbClr val="FF0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716" name="Oval 715"/>
                              <p:cNvSpPr/>
                              <p:nvPr/>
                            </p:nvSpPr>
                            <p:spPr bwMode="auto">
                              <a:xfrm>
                                <a:off x="6639204" y="1277155"/>
                                <a:ext cx="37733" cy="40811"/>
                              </a:xfrm>
                              <a:prstGeom prst="ellipse">
                                <a:avLst/>
                              </a:prstGeom>
                              <a:solidFill>
                                <a:srgbClr val="FF0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717" name="Oval 716"/>
                              <p:cNvSpPr/>
                              <p:nvPr/>
                            </p:nvSpPr>
                            <p:spPr bwMode="auto">
                              <a:xfrm>
                                <a:off x="6585186" y="1648297"/>
                                <a:ext cx="37733" cy="42118"/>
                              </a:xfrm>
                              <a:prstGeom prst="ellipse">
                                <a:avLst/>
                              </a:prstGeom>
                              <a:solidFill>
                                <a:srgbClr val="FF0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718" name="Oval 717"/>
                              <p:cNvSpPr/>
                              <p:nvPr/>
                            </p:nvSpPr>
                            <p:spPr bwMode="auto">
                              <a:xfrm>
                                <a:off x="6473742" y="1978040"/>
                                <a:ext cx="38865" cy="41797"/>
                              </a:xfrm>
                              <a:prstGeom prst="ellipse">
                                <a:avLst/>
                              </a:prstGeom>
                              <a:solidFill>
                                <a:srgbClr val="FF0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719" name="Oval 718"/>
                              <p:cNvSpPr/>
                              <p:nvPr/>
                            </p:nvSpPr>
                            <p:spPr bwMode="auto">
                              <a:xfrm>
                                <a:off x="6990694" y="2294671"/>
                                <a:ext cx="37733" cy="41368"/>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720" name="Oval 719"/>
                              <p:cNvSpPr/>
                              <p:nvPr/>
                            </p:nvSpPr>
                            <p:spPr bwMode="auto">
                              <a:xfrm>
                                <a:off x="7582504" y="2413600"/>
                                <a:ext cx="37370" cy="41858"/>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721" name="Oval 720"/>
                              <p:cNvSpPr/>
                              <p:nvPr/>
                            </p:nvSpPr>
                            <p:spPr bwMode="auto">
                              <a:xfrm>
                                <a:off x="7587030" y="2703400"/>
                                <a:ext cx="37733" cy="41115"/>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722" name="Oval 721"/>
                              <p:cNvSpPr/>
                              <p:nvPr/>
                            </p:nvSpPr>
                            <p:spPr bwMode="auto">
                              <a:xfrm>
                                <a:off x="7485960" y="2524283"/>
                                <a:ext cx="37733" cy="41368"/>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723" name="Oval 722"/>
                              <p:cNvSpPr/>
                              <p:nvPr/>
                            </p:nvSpPr>
                            <p:spPr bwMode="auto">
                              <a:xfrm>
                                <a:off x="7632329" y="2980535"/>
                                <a:ext cx="37370" cy="41623"/>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724" name="Oval 723"/>
                              <p:cNvSpPr/>
                              <p:nvPr/>
                            </p:nvSpPr>
                            <p:spPr bwMode="auto">
                              <a:xfrm>
                                <a:off x="7486249" y="3355481"/>
                                <a:ext cx="37370" cy="41062"/>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725" name="Oval 724"/>
                              <p:cNvSpPr/>
                              <p:nvPr/>
                            </p:nvSpPr>
                            <p:spPr bwMode="auto">
                              <a:xfrm>
                                <a:off x="7370077" y="3458961"/>
                                <a:ext cx="37733" cy="41116"/>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726" name="Oval 725"/>
                              <p:cNvSpPr/>
                              <p:nvPr/>
                            </p:nvSpPr>
                            <p:spPr bwMode="auto">
                              <a:xfrm>
                                <a:off x="7863518" y="2972745"/>
                                <a:ext cx="37733" cy="41116"/>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727" name="Oval 726"/>
                              <p:cNvSpPr/>
                              <p:nvPr/>
                            </p:nvSpPr>
                            <p:spPr bwMode="auto">
                              <a:xfrm>
                                <a:off x="8175754" y="2246041"/>
                                <a:ext cx="38865" cy="41369"/>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728" name="Oval 727"/>
                              <p:cNvSpPr/>
                              <p:nvPr/>
                            </p:nvSpPr>
                            <p:spPr bwMode="auto">
                              <a:xfrm>
                                <a:off x="7957150" y="2612759"/>
                                <a:ext cx="37370" cy="41116"/>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729" name="Oval 728"/>
                              <p:cNvSpPr/>
                              <p:nvPr/>
                            </p:nvSpPr>
                            <p:spPr bwMode="auto">
                              <a:xfrm>
                                <a:off x="7883436" y="2503977"/>
                                <a:ext cx="38865" cy="41622"/>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730" name="Oval 729"/>
                              <p:cNvSpPr/>
                              <p:nvPr/>
                            </p:nvSpPr>
                            <p:spPr bwMode="auto">
                              <a:xfrm>
                                <a:off x="7868565" y="2837744"/>
                                <a:ext cx="37370" cy="41116"/>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731" name="Oval 730"/>
                              <p:cNvSpPr/>
                              <p:nvPr/>
                            </p:nvSpPr>
                            <p:spPr bwMode="auto">
                              <a:xfrm>
                                <a:off x="7465076" y="3275151"/>
                                <a:ext cx="37370" cy="41063"/>
                              </a:xfrm>
                              <a:prstGeom prst="ellipse">
                                <a:avLst/>
                              </a:prstGeom>
                              <a:solidFill>
                                <a:srgbClr val="FF0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732" name="Oval 731"/>
                              <p:cNvSpPr/>
                              <p:nvPr/>
                            </p:nvSpPr>
                            <p:spPr bwMode="auto">
                              <a:xfrm>
                                <a:off x="7700340" y="3044442"/>
                                <a:ext cx="37733" cy="40811"/>
                              </a:xfrm>
                              <a:prstGeom prst="ellipse">
                                <a:avLst/>
                              </a:prstGeom>
                              <a:solidFill>
                                <a:srgbClr val="FF0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733" name="Oval 732"/>
                              <p:cNvSpPr/>
                              <p:nvPr/>
                            </p:nvSpPr>
                            <p:spPr bwMode="auto">
                              <a:xfrm>
                                <a:off x="7728741" y="2998912"/>
                                <a:ext cx="37370" cy="41798"/>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734" name="Text Box 135"/>
                              <p:cNvSpPr txBox="1">
                                <a:spLocks noChangeArrowheads="1"/>
                              </p:cNvSpPr>
                              <p:nvPr/>
                            </p:nvSpPr>
                            <p:spPr bwMode="auto">
                              <a:xfrm>
                                <a:off x="7791260" y="1397140"/>
                                <a:ext cx="265453" cy="80801"/>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São Luis</a:t>
                                </a:r>
                              </a:p>
                            </p:txBody>
                          </p:sp>
                          <p:sp>
                            <p:nvSpPr>
                              <p:cNvPr id="735" name="Text Box 135"/>
                              <p:cNvSpPr txBox="1">
                                <a:spLocks noChangeArrowheads="1"/>
                              </p:cNvSpPr>
                              <p:nvPr/>
                            </p:nvSpPr>
                            <p:spPr bwMode="auto">
                              <a:xfrm>
                                <a:off x="8441899" y="1614950"/>
                                <a:ext cx="181864" cy="80801"/>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Natal</a:t>
                                </a:r>
                              </a:p>
                            </p:txBody>
                          </p:sp>
                          <p:sp>
                            <p:nvSpPr>
                              <p:cNvPr id="736" name="Text Box 135"/>
                              <p:cNvSpPr txBox="1">
                                <a:spLocks noChangeArrowheads="1"/>
                              </p:cNvSpPr>
                              <p:nvPr/>
                            </p:nvSpPr>
                            <p:spPr bwMode="auto">
                              <a:xfrm>
                                <a:off x="8461920" y="1743764"/>
                                <a:ext cx="396483" cy="80801"/>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João Pessoa</a:t>
                                </a:r>
                              </a:p>
                            </p:txBody>
                          </p:sp>
                          <p:sp>
                            <p:nvSpPr>
                              <p:cNvPr id="737" name="Text Box 135"/>
                              <p:cNvSpPr txBox="1">
                                <a:spLocks noChangeArrowheads="1"/>
                              </p:cNvSpPr>
                              <p:nvPr/>
                            </p:nvSpPr>
                            <p:spPr bwMode="auto">
                              <a:xfrm>
                                <a:off x="7309572" y="2079262"/>
                                <a:ext cx="240601" cy="80801"/>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Palmas</a:t>
                                </a:r>
                              </a:p>
                            </p:txBody>
                          </p:sp>
                          <p:sp>
                            <p:nvSpPr>
                              <p:cNvPr id="738" name="Text Box 123"/>
                              <p:cNvSpPr txBox="1">
                                <a:spLocks noChangeArrowheads="1"/>
                              </p:cNvSpPr>
                              <p:nvPr/>
                            </p:nvSpPr>
                            <p:spPr bwMode="auto">
                              <a:xfrm>
                                <a:off x="8086626" y="2791791"/>
                                <a:ext cx="183082" cy="72614"/>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FF0000"/>
                                    </a:solidFill>
                                    <a:latin typeface="Calibri" pitchFamily="34" charset="0"/>
                                  </a:rPr>
                                  <a:t>Vitoria</a:t>
                                </a:r>
                              </a:p>
                            </p:txBody>
                          </p:sp>
                          <p:sp>
                            <p:nvSpPr>
                              <p:cNvPr id="739" name="Text Box 135"/>
                              <p:cNvSpPr txBox="1">
                                <a:spLocks noChangeArrowheads="1"/>
                              </p:cNvSpPr>
                              <p:nvPr/>
                            </p:nvSpPr>
                            <p:spPr bwMode="auto">
                              <a:xfrm>
                                <a:off x="7740428" y="1750789"/>
                                <a:ext cx="279007" cy="80801"/>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Teresina</a:t>
                                </a:r>
                              </a:p>
                            </p:txBody>
                          </p:sp>
                          <p:sp>
                            <p:nvSpPr>
                              <p:cNvPr id="740" name="Text Box 122"/>
                              <p:cNvSpPr txBox="1">
                                <a:spLocks noChangeArrowheads="1"/>
                              </p:cNvSpPr>
                              <p:nvPr/>
                            </p:nvSpPr>
                            <p:spPr bwMode="auto">
                              <a:xfrm>
                                <a:off x="5994095" y="2162991"/>
                                <a:ext cx="354689" cy="80801"/>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Rio Branco</a:t>
                                </a:r>
                              </a:p>
                            </p:txBody>
                          </p:sp>
                          <p:sp>
                            <p:nvSpPr>
                              <p:cNvPr id="741" name="Freeform 63"/>
                              <p:cNvSpPr>
                                <a:spLocks noChangeArrowheads="1"/>
                              </p:cNvSpPr>
                              <p:nvPr/>
                            </p:nvSpPr>
                            <p:spPr bwMode="auto">
                              <a:xfrm>
                                <a:off x="7618507" y="2986616"/>
                                <a:ext cx="78827" cy="50996"/>
                              </a:xfrm>
                              <a:custGeom>
                                <a:avLst/>
                                <a:gdLst>
                                  <a:gd name="T0" fmla="*/ 190582785 w 51"/>
                                  <a:gd name="T1" fmla="*/ 0 h 31"/>
                                  <a:gd name="T2" fmla="*/ 0 w 51"/>
                                  <a:gd name="T3" fmla="*/ 216449299 h 31"/>
                                  <a:gd name="T4" fmla="*/ 462842688 w 51"/>
                                  <a:gd name="T5" fmla="*/ 248515327 h 31"/>
                                  <a:gd name="T6" fmla="*/ 0 60000 65536"/>
                                  <a:gd name="T7" fmla="*/ 0 60000 65536"/>
                                  <a:gd name="T8" fmla="*/ 0 60000 65536"/>
                                  <a:gd name="T9" fmla="*/ 0 w 51"/>
                                  <a:gd name="T10" fmla="*/ 0 h 31"/>
                                  <a:gd name="T11" fmla="*/ 51 w 51"/>
                                  <a:gd name="T12" fmla="*/ 31 h 31"/>
                                </a:gdLst>
                                <a:ahLst/>
                                <a:cxnLst>
                                  <a:cxn ang="T6">
                                    <a:pos x="T0" y="T1"/>
                                  </a:cxn>
                                  <a:cxn ang="T7">
                                    <a:pos x="T2" y="T3"/>
                                  </a:cxn>
                                  <a:cxn ang="T8">
                                    <a:pos x="T4" y="T5"/>
                                  </a:cxn>
                                </a:cxnLst>
                                <a:rect l="T9" t="T10" r="T11" b="T12"/>
                                <a:pathLst>
                                  <a:path w="51" h="31">
                                    <a:moveTo>
                                      <a:pt x="21" y="0"/>
                                    </a:moveTo>
                                    <a:cubicBezTo>
                                      <a:pt x="16" y="9"/>
                                      <a:pt x="5" y="18"/>
                                      <a:pt x="0" y="27"/>
                                    </a:cubicBezTo>
                                    <a:cubicBezTo>
                                      <a:pt x="17" y="28"/>
                                      <a:pt x="34" y="30"/>
                                      <a:pt x="51" y="31"/>
                                    </a:cubicBezTo>
                                  </a:path>
                                </a:pathLst>
                              </a:custGeom>
                              <a:noFill/>
                              <a:ln w="28575">
                                <a:solidFill>
                                  <a:schemeClr val="accent4">
                                    <a:lumMod val="65000"/>
                                    <a:lumOff val="35000"/>
                                  </a:schemeClr>
                                </a:solidFill>
                                <a:round/>
                                <a:headEnd/>
                                <a:tailEnd/>
                              </a:ln>
                            </p:spPr>
                            <p:txBody>
                              <a:bodyPr wrap="none" anchor="ctr"/>
                              <a:lstStyle/>
                              <a:p>
                                <a:pPr>
                                  <a:defRPr/>
                                </a:pPr>
                                <a:endParaRPr lang="pt-BR" sz="700">
                                  <a:latin typeface="Arial" charset="0"/>
                                </a:endParaRPr>
                              </a:p>
                            </p:txBody>
                          </p:sp>
                          <p:sp>
                            <p:nvSpPr>
                              <p:cNvPr id="742" name="Oval 741"/>
                              <p:cNvSpPr/>
                              <p:nvPr/>
                            </p:nvSpPr>
                            <p:spPr bwMode="auto">
                              <a:xfrm>
                                <a:off x="7676948" y="3018243"/>
                                <a:ext cx="38864" cy="41062"/>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743" name="Oval 742"/>
                              <p:cNvSpPr/>
                              <p:nvPr/>
                            </p:nvSpPr>
                            <p:spPr bwMode="auto">
                              <a:xfrm>
                                <a:off x="7252768" y="3041459"/>
                                <a:ext cx="36844" cy="39928"/>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p>
                            </p:txBody>
                          </p:sp>
                          <p:sp>
                            <p:nvSpPr>
                              <p:cNvPr id="744" name="Oval 743"/>
                              <p:cNvSpPr/>
                              <p:nvPr/>
                            </p:nvSpPr>
                            <p:spPr bwMode="auto">
                              <a:xfrm>
                                <a:off x="7434531" y="2833102"/>
                                <a:ext cx="37369" cy="41115"/>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745" name="Oval 744"/>
                              <p:cNvSpPr/>
                              <p:nvPr/>
                            </p:nvSpPr>
                            <p:spPr bwMode="auto">
                              <a:xfrm>
                                <a:off x="7330504" y="2913431"/>
                                <a:ext cx="37370" cy="41797"/>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746" name="Oval 745"/>
                              <p:cNvSpPr/>
                              <p:nvPr/>
                            </p:nvSpPr>
                            <p:spPr bwMode="auto">
                              <a:xfrm>
                                <a:off x="7480860" y="2955814"/>
                                <a:ext cx="37733" cy="41116"/>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747" name="Oval 746"/>
                              <p:cNvSpPr/>
                              <p:nvPr/>
                            </p:nvSpPr>
                            <p:spPr bwMode="auto">
                              <a:xfrm>
                                <a:off x="7615584" y="3017434"/>
                                <a:ext cx="37732" cy="40811"/>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748" name="Freeform 155"/>
                              <p:cNvSpPr>
                                <a:spLocks/>
                              </p:cNvSpPr>
                              <p:nvPr/>
                            </p:nvSpPr>
                            <p:spPr bwMode="auto">
                              <a:xfrm>
                                <a:off x="8182096" y="1589189"/>
                                <a:ext cx="290303" cy="266995"/>
                              </a:xfrm>
                              <a:custGeom>
                                <a:avLst/>
                                <a:gdLst>
                                  <a:gd name="T0" fmla="*/ 2147483647 w 274"/>
                                  <a:gd name="T1" fmla="*/ 2147483647 h 306"/>
                                  <a:gd name="T2" fmla="*/ 2147483647 w 274"/>
                                  <a:gd name="T3" fmla="*/ 2147483647 h 306"/>
                                  <a:gd name="T4" fmla="*/ 2147483647 w 274"/>
                                  <a:gd name="T5" fmla="*/ 2147483647 h 306"/>
                                  <a:gd name="T6" fmla="*/ 2147483647 w 274"/>
                                  <a:gd name="T7" fmla="*/ 2147483647 h 306"/>
                                  <a:gd name="T8" fmla="*/ 0 w 274"/>
                                  <a:gd name="T9" fmla="*/ 0 h 306"/>
                                  <a:gd name="T10" fmla="*/ 0 60000 65536"/>
                                  <a:gd name="T11" fmla="*/ 0 60000 65536"/>
                                  <a:gd name="T12" fmla="*/ 0 60000 65536"/>
                                  <a:gd name="T13" fmla="*/ 0 60000 65536"/>
                                  <a:gd name="T14" fmla="*/ 0 60000 65536"/>
                                  <a:gd name="T15" fmla="*/ 0 w 274"/>
                                  <a:gd name="T16" fmla="*/ 0 h 306"/>
                                  <a:gd name="T17" fmla="*/ 274 w 274"/>
                                  <a:gd name="T18" fmla="*/ 306 h 306"/>
                                </a:gdLst>
                                <a:ahLst/>
                                <a:cxnLst>
                                  <a:cxn ang="T10">
                                    <a:pos x="T0" y="T1"/>
                                  </a:cxn>
                                  <a:cxn ang="T11">
                                    <a:pos x="T2" y="T3"/>
                                  </a:cxn>
                                  <a:cxn ang="T12">
                                    <a:pos x="T4" y="T5"/>
                                  </a:cxn>
                                  <a:cxn ang="T13">
                                    <a:pos x="T6" y="T7"/>
                                  </a:cxn>
                                  <a:cxn ang="T14">
                                    <a:pos x="T8" y="T9"/>
                                  </a:cxn>
                                </a:cxnLst>
                                <a:rect l="T15" t="T16" r="T17" b="T18"/>
                                <a:pathLst>
                                  <a:path w="274" h="306">
                                    <a:moveTo>
                                      <a:pt x="270" y="306"/>
                                    </a:moveTo>
                                    <a:cubicBezTo>
                                      <a:pt x="266" y="284"/>
                                      <a:pt x="274" y="191"/>
                                      <a:pt x="262" y="160"/>
                                    </a:cubicBezTo>
                                    <a:cubicBezTo>
                                      <a:pt x="250" y="129"/>
                                      <a:pt x="218" y="132"/>
                                      <a:pt x="195" y="120"/>
                                    </a:cubicBezTo>
                                    <a:cubicBezTo>
                                      <a:pt x="172" y="108"/>
                                      <a:pt x="156" y="108"/>
                                      <a:pt x="124" y="88"/>
                                    </a:cubicBezTo>
                                    <a:lnTo>
                                      <a:pt x="0" y="0"/>
                                    </a:lnTo>
                                  </a:path>
                                </a:pathLst>
                              </a:custGeom>
                              <a:noFill/>
                              <a:ln w="28575">
                                <a:solidFill>
                                  <a:srgbClr val="0070C0"/>
                                </a:solidFill>
                                <a:round/>
                                <a:headEnd/>
                                <a:tailEnd/>
                              </a:ln>
                            </p:spPr>
                            <p:txBody>
                              <a:bodyPr wrap="none" anchor="ctr"/>
                              <a:lstStyle/>
                              <a:p>
                                <a:endParaRPr lang="pt-BR"/>
                              </a:p>
                            </p:txBody>
                          </p:sp>
                          <p:sp>
                            <p:nvSpPr>
                              <p:cNvPr id="749" name="Oval 748"/>
                              <p:cNvSpPr/>
                              <p:nvPr/>
                            </p:nvSpPr>
                            <p:spPr bwMode="auto">
                              <a:xfrm>
                                <a:off x="8457186" y="1881559"/>
                                <a:ext cx="37733" cy="41369"/>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750" name="Oval 749"/>
                              <p:cNvSpPr/>
                              <p:nvPr/>
                            </p:nvSpPr>
                            <p:spPr bwMode="auto">
                              <a:xfrm>
                                <a:off x="7488228" y="3143994"/>
                                <a:ext cx="37370" cy="41115"/>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751" name="Text Box 113"/>
                              <p:cNvSpPr txBox="1">
                                <a:spLocks noChangeArrowheads="1"/>
                              </p:cNvSpPr>
                              <p:nvPr/>
                            </p:nvSpPr>
                            <p:spPr bwMode="auto">
                              <a:xfrm>
                                <a:off x="6710704" y="2792771"/>
                                <a:ext cx="400994" cy="72614"/>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FF0000"/>
                                    </a:solidFill>
                                    <a:latin typeface="Calibri" pitchFamily="34" charset="0"/>
                                  </a:rPr>
                                  <a:t>Campo Grande</a:t>
                                </a:r>
                              </a:p>
                            </p:txBody>
                          </p:sp>
                          <p:sp>
                            <p:nvSpPr>
                              <p:cNvPr id="752" name="Oval 751"/>
                              <p:cNvSpPr/>
                              <p:nvPr/>
                            </p:nvSpPr>
                            <p:spPr bwMode="auto">
                              <a:xfrm>
                                <a:off x="8425089" y="1701316"/>
                                <a:ext cx="38865" cy="41063"/>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753" name="Oval 752"/>
                              <p:cNvSpPr/>
                              <p:nvPr/>
                            </p:nvSpPr>
                            <p:spPr bwMode="auto">
                              <a:xfrm>
                                <a:off x="8452149" y="1798162"/>
                                <a:ext cx="37733" cy="42118"/>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754" name="Oval 753"/>
                              <p:cNvSpPr/>
                              <p:nvPr/>
                            </p:nvSpPr>
                            <p:spPr bwMode="auto">
                              <a:xfrm>
                                <a:off x="8161248" y="1581865"/>
                                <a:ext cx="37370" cy="41798"/>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755" name="Oval 754"/>
                              <p:cNvSpPr/>
                              <p:nvPr/>
                            </p:nvSpPr>
                            <p:spPr bwMode="auto">
                              <a:xfrm>
                                <a:off x="7892150" y="1715268"/>
                                <a:ext cx="37370" cy="41369"/>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756" name="Oval 755"/>
                              <p:cNvSpPr/>
                              <p:nvPr/>
                            </p:nvSpPr>
                            <p:spPr bwMode="auto">
                              <a:xfrm>
                                <a:off x="7757374" y="1484585"/>
                                <a:ext cx="37370" cy="41115"/>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757" name="Oval 756"/>
                              <p:cNvSpPr/>
                              <p:nvPr/>
                            </p:nvSpPr>
                            <p:spPr bwMode="auto">
                              <a:xfrm>
                                <a:off x="7511636" y="1451327"/>
                                <a:ext cx="37733" cy="41314"/>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758" name="Oval 757"/>
                              <p:cNvSpPr/>
                              <p:nvPr/>
                            </p:nvSpPr>
                            <p:spPr bwMode="auto">
                              <a:xfrm>
                                <a:off x="7997050" y="2884497"/>
                                <a:ext cx="37733" cy="41063"/>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759" name="Oval 758"/>
                              <p:cNvSpPr/>
                              <p:nvPr/>
                            </p:nvSpPr>
                            <p:spPr bwMode="auto">
                              <a:xfrm>
                                <a:off x="7936026" y="2962858"/>
                                <a:ext cx="37370" cy="41797"/>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760" name="Oval 759"/>
                              <p:cNvSpPr/>
                              <p:nvPr/>
                            </p:nvSpPr>
                            <p:spPr bwMode="auto">
                              <a:xfrm>
                                <a:off x="7556208" y="2826431"/>
                                <a:ext cx="37370" cy="41314"/>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761" name="Freeform 354"/>
                              <p:cNvSpPr>
                                <a:spLocks noChangeArrowheads="1"/>
                              </p:cNvSpPr>
                              <p:nvPr/>
                            </p:nvSpPr>
                            <p:spPr bwMode="auto">
                              <a:xfrm>
                                <a:off x="7152203" y="2834782"/>
                                <a:ext cx="102183" cy="212120"/>
                              </a:xfrm>
                              <a:custGeom>
                                <a:avLst/>
                                <a:gdLst>
                                  <a:gd name="T0" fmla="*/ 44308 w 120770"/>
                                  <a:gd name="T1" fmla="*/ 132899 h 232913"/>
                                  <a:gd name="T2" fmla="*/ 25319 w 120770"/>
                                  <a:gd name="T3" fmla="*/ 113211 h 232913"/>
                                  <a:gd name="T4" fmla="*/ 12659 w 120770"/>
                                  <a:gd name="T5" fmla="*/ 83678 h 232913"/>
                                  <a:gd name="T6" fmla="*/ 9495 w 120770"/>
                                  <a:gd name="T7" fmla="*/ 29533 h 232913"/>
                                  <a:gd name="T8" fmla="*/ 3165 w 120770"/>
                                  <a:gd name="T9" fmla="*/ 14767 h 232913"/>
                                  <a:gd name="T10" fmla="*/ 0 w 120770"/>
                                  <a:gd name="T11" fmla="*/ 0 h 232913"/>
                                  <a:gd name="T12" fmla="*/ 0 60000 65536"/>
                                  <a:gd name="T13" fmla="*/ 0 60000 65536"/>
                                  <a:gd name="T14" fmla="*/ 0 60000 65536"/>
                                  <a:gd name="T15" fmla="*/ 0 60000 65536"/>
                                  <a:gd name="T16" fmla="*/ 0 60000 65536"/>
                                  <a:gd name="T17" fmla="*/ 0 60000 65536"/>
                                  <a:gd name="T18" fmla="*/ 0 w 120770"/>
                                  <a:gd name="T19" fmla="*/ 0 h 232913"/>
                                  <a:gd name="T20" fmla="*/ 120770 w 120770"/>
                                  <a:gd name="T21" fmla="*/ 232913 h 232913"/>
                                </a:gdLst>
                                <a:ahLst/>
                                <a:cxnLst>
                                  <a:cxn ang="T12">
                                    <a:pos x="T0" y="T1"/>
                                  </a:cxn>
                                  <a:cxn ang="T13">
                                    <a:pos x="T2" y="T3"/>
                                  </a:cxn>
                                  <a:cxn ang="T14">
                                    <a:pos x="T4" y="T5"/>
                                  </a:cxn>
                                  <a:cxn ang="T15">
                                    <a:pos x="T6" y="T7"/>
                                  </a:cxn>
                                  <a:cxn ang="T16">
                                    <a:pos x="T8" y="T9"/>
                                  </a:cxn>
                                  <a:cxn ang="T17">
                                    <a:pos x="T10" y="T11"/>
                                  </a:cxn>
                                </a:cxnLst>
                                <a:rect l="T18" t="T19" r="T20" b="T21"/>
                                <a:pathLst>
                                  <a:path w="120770" h="232913">
                                    <a:moveTo>
                                      <a:pt x="120770" y="232913"/>
                                    </a:moveTo>
                                    <a:cubicBezTo>
                                      <a:pt x="103517" y="221411"/>
                                      <a:pt x="80514" y="215661"/>
                                      <a:pt x="69012" y="198408"/>
                                    </a:cubicBezTo>
                                    <a:lnTo>
                                      <a:pt x="34506" y="146649"/>
                                    </a:lnTo>
                                    <a:cubicBezTo>
                                      <a:pt x="31630" y="115019"/>
                                      <a:pt x="32534" y="82814"/>
                                      <a:pt x="25879" y="51759"/>
                                    </a:cubicBezTo>
                                    <a:cubicBezTo>
                                      <a:pt x="23707" y="41621"/>
                                      <a:pt x="13264" y="35152"/>
                                      <a:pt x="8627" y="25879"/>
                                    </a:cubicBezTo>
                                    <a:cubicBezTo>
                                      <a:pt x="4561" y="17746"/>
                                      <a:pt x="0" y="0"/>
                                      <a:pt x="0" y="0"/>
                                    </a:cubicBezTo>
                                  </a:path>
                                </a:pathLst>
                              </a:custGeom>
                              <a:solidFill>
                                <a:schemeClr val="bg1"/>
                              </a:solidFill>
                              <a:ln w="28575" algn="ctr">
                                <a:solidFill>
                                  <a:srgbClr val="00B050"/>
                                </a:solidFill>
                                <a:round/>
                                <a:headEnd/>
                                <a:tailEnd/>
                              </a:ln>
                            </p:spPr>
                            <p:txBody>
                              <a:bodyPr wrap="none" lIns="0" tIns="0" rIns="0" bIns="0" anchor="ctr"/>
                              <a:lstStyle/>
                              <a:p>
                                <a:endParaRPr lang="pt-BR"/>
                              </a:p>
                            </p:txBody>
                          </p:sp>
                          <p:sp>
                            <p:nvSpPr>
                              <p:cNvPr id="762" name="Freeform 357"/>
                              <p:cNvSpPr>
                                <a:spLocks noChangeArrowheads="1"/>
                              </p:cNvSpPr>
                              <p:nvPr/>
                            </p:nvSpPr>
                            <p:spPr bwMode="auto">
                              <a:xfrm flipV="1">
                                <a:off x="7188694" y="2457677"/>
                                <a:ext cx="318018" cy="87938"/>
                              </a:xfrm>
                              <a:custGeom>
                                <a:avLst/>
                                <a:gdLst>
                                  <a:gd name="T0" fmla="*/ 0 w 467464"/>
                                  <a:gd name="T1" fmla="*/ 575988 h 60385"/>
                                  <a:gd name="T2" fmla="*/ 11118 w 467464"/>
                                  <a:gd name="T3" fmla="*/ 411425 h 60385"/>
                                  <a:gd name="T4" fmla="*/ 23090 w 467464"/>
                                  <a:gd name="T5" fmla="*/ 329140 h 60385"/>
                                  <a:gd name="T6" fmla="*/ 41903 w 467464"/>
                                  <a:gd name="T7" fmla="*/ 164566 h 60385"/>
                                  <a:gd name="T8" fmla="*/ 42759 w 467464"/>
                                  <a:gd name="T9" fmla="*/ 0 h 60385"/>
                                  <a:gd name="T10" fmla="*/ 0 60000 65536"/>
                                  <a:gd name="T11" fmla="*/ 0 60000 65536"/>
                                  <a:gd name="T12" fmla="*/ 0 60000 65536"/>
                                  <a:gd name="T13" fmla="*/ 0 60000 65536"/>
                                  <a:gd name="T14" fmla="*/ 0 60000 65536"/>
                                  <a:gd name="T15" fmla="*/ 0 w 467464"/>
                                  <a:gd name="T16" fmla="*/ 0 h 60385"/>
                                  <a:gd name="T17" fmla="*/ 467464 w 467464"/>
                                  <a:gd name="T18" fmla="*/ 60385 h 60385"/>
                                </a:gdLst>
                                <a:ahLst/>
                                <a:cxnLst>
                                  <a:cxn ang="T10">
                                    <a:pos x="T0" y="T1"/>
                                  </a:cxn>
                                  <a:cxn ang="T11">
                                    <a:pos x="T2" y="T3"/>
                                  </a:cxn>
                                  <a:cxn ang="T12">
                                    <a:pos x="T4" y="T5"/>
                                  </a:cxn>
                                  <a:cxn ang="T13">
                                    <a:pos x="T6" y="T7"/>
                                  </a:cxn>
                                  <a:cxn ang="T14">
                                    <a:pos x="T8" y="T9"/>
                                  </a:cxn>
                                </a:cxnLst>
                                <a:rect l="T15" t="T16" r="T17" b="T18"/>
                                <a:pathLst>
                                  <a:path w="467464" h="60385">
                                    <a:moveTo>
                                      <a:pt x="0" y="60385"/>
                                    </a:moveTo>
                                    <a:cubicBezTo>
                                      <a:pt x="51295" y="43288"/>
                                      <a:pt x="23189" y="50545"/>
                                      <a:pt x="112144" y="43132"/>
                                    </a:cubicBezTo>
                                    <a:cubicBezTo>
                                      <a:pt x="152364" y="39780"/>
                                      <a:pt x="192657" y="37381"/>
                                      <a:pt x="232914" y="34506"/>
                                    </a:cubicBezTo>
                                    <a:cubicBezTo>
                                      <a:pt x="327509" y="10858"/>
                                      <a:pt x="212733" y="37250"/>
                                      <a:pt x="422695" y="17253"/>
                                    </a:cubicBezTo>
                                    <a:cubicBezTo>
                                      <a:pt x="467464" y="12989"/>
                                      <a:pt x="447663" y="8171"/>
                                      <a:pt x="431321" y="0"/>
                                    </a:cubicBezTo>
                                  </a:path>
                                </a:pathLst>
                              </a:custGeom>
                              <a:solidFill>
                                <a:schemeClr val="bg1"/>
                              </a:solidFill>
                              <a:ln w="28575" algn="ctr">
                                <a:solidFill>
                                  <a:srgbClr val="00B050"/>
                                </a:solidFill>
                                <a:round/>
                                <a:headEnd/>
                                <a:tailEnd/>
                              </a:ln>
                            </p:spPr>
                            <p:txBody>
                              <a:bodyPr wrap="none" lIns="0" tIns="0" rIns="0" bIns="0" anchor="ctr"/>
                              <a:lstStyle/>
                              <a:p>
                                <a:endParaRPr lang="pt-BR"/>
                              </a:p>
                            </p:txBody>
                          </p:sp>
                          <p:sp>
                            <p:nvSpPr>
                              <p:cNvPr id="763" name="Freeform 358"/>
                              <p:cNvSpPr>
                                <a:spLocks noChangeArrowheads="1"/>
                              </p:cNvSpPr>
                              <p:nvPr/>
                            </p:nvSpPr>
                            <p:spPr bwMode="auto">
                              <a:xfrm>
                                <a:off x="8093744" y="2426254"/>
                                <a:ext cx="73149" cy="337822"/>
                              </a:xfrm>
                              <a:custGeom>
                                <a:avLst/>
                                <a:gdLst>
                                  <a:gd name="T0" fmla="*/ 0 w 86455"/>
                                  <a:gd name="T1" fmla="*/ 211660 h 370935"/>
                                  <a:gd name="T2" fmla="*/ 9495 w 86455"/>
                                  <a:gd name="T3" fmla="*/ 201815 h 370935"/>
                                  <a:gd name="T4" fmla="*/ 12658 w 86455"/>
                                  <a:gd name="T5" fmla="*/ 187049 h 370935"/>
                                  <a:gd name="T6" fmla="*/ 15824 w 86455"/>
                                  <a:gd name="T7" fmla="*/ 147670 h 370935"/>
                                  <a:gd name="T8" fmla="*/ 22153 w 86455"/>
                                  <a:gd name="T9" fmla="*/ 113213 h 370935"/>
                                  <a:gd name="T10" fmla="*/ 28483 w 86455"/>
                                  <a:gd name="T11" fmla="*/ 78757 h 370935"/>
                                  <a:gd name="T12" fmla="*/ 31647 w 86455"/>
                                  <a:gd name="T13" fmla="*/ 0 h 370935"/>
                                  <a:gd name="T14" fmla="*/ 0 60000 65536"/>
                                  <a:gd name="T15" fmla="*/ 0 60000 65536"/>
                                  <a:gd name="T16" fmla="*/ 0 60000 65536"/>
                                  <a:gd name="T17" fmla="*/ 0 60000 65536"/>
                                  <a:gd name="T18" fmla="*/ 0 60000 65536"/>
                                  <a:gd name="T19" fmla="*/ 0 60000 65536"/>
                                  <a:gd name="T20" fmla="*/ 0 60000 65536"/>
                                  <a:gd name="T21" fmla="*/ 0 w 86455"/>
                                  <a:gd name="T22" fmla="*/ 0 h 370935"/>
                                  <a:gd name="T23" fmla="*/ 86455 w 86455"/>
                                  <a:gd name="T24" fmla="*/ 370935 h 3709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6455" h="370935">
                                    <a:moveTo>
                                      <a:pt x="0" y="370935"/>
                                    </a:moveTo>
                                    <a:cubicBezTo>
                                      <a:pt x="8626" y="365184"/>
                                      <a:pt x="19403" y="361779"/>
                                      <a:pt x="25879" y="353683"/>
                                    </a:cubicBezTo>
                                    <a:cubicBezTo>
                                      <a:pt x="31559" y="346582"/>
                                      <a:pt x="32878" y="336750"/>
                                      <a:pt x="34505" y="327803"/>
                                    </a:cubicBezTo>
                                    <a:cubicBezTo>
                                      <a:pt x="38652" y="304994"/>
                                      <a:pt x="39321" y="281659"/>
                                      <a:pt x="43132" y="258792"/>
                                    </a:cubicBezTo>
                                    <a:cubicBezTo>
                                      <a:pt x="48528" y="226415"/>
                                      <a:pt x="52177" y="227135"/>
                                      <a:pt x="60385" y="198407"/>
                                    </a:cubicBezTo>
                                    <a:cubicBezTo>
                                      <a:pt x="82049" y="122584"/>
                                      <a:pt x="56953" y="200071"/>
                                      <a:pt x="77638" y="138022"/>
                                    </a:cubicBezTo>
                                    <a:cubicBezTo>
                                      <a:pt x="86455" y="5757"/>
                                      <a:pt x="86264" y="51854"/>
                                      <a:pt x="86264" y="0"/>
                                    </a:cubicBezTo>
                                  </a:path>
                                </a:pathLst>
                              </a:custGeom>
                              <a:solidFill>
                                <a:schemeClr val="bg1"/>
                              </a:solidFill>
                              <a:ln w="28575" algn="ctr">
                                <a:solidFill>
                                  <a:srgbClr val="00B050"/>
                                </a:solidFill>
                                <a:round/>
                                <a:headEnd/>
                                <a:tailEnd/>
                              </a:ln>
                            </p:spPr>
                            <p:txBody>
                              <a:bodyPr wrap="none" lIns="0" tIns="0" rIns="0" bIns="0" anchor="ctr"/>
                              <a:lstStyle/>
                              <a:p>
                                <a:endParaRPr lang="pt-BR"/>
                              </a:p>
                            </p:txBody>
                          </p:sp>
                          <p:sp>
                            <p:nvSpPr>
                              <p:cNvPr id="764" name="Freeform 360"/>
                              <p:cNvSpPr>
                                <a:spLocks noChangeArrowheads="1"/>
                              </p:cNvSpPr>
                              <p:nvPr/>
                            </p:nvSpPr>
                            <p:spPr bwMode="auto">
                              <a:xfrm>
                                <a:off x="8187562" y="2245338"/>
                                <a:ext cx="71002" cy="185127"/>
                              </a:xfrm>
                              <a:custGeom>
                                <a:avLst/>
                                <a:gdLst>
                                  <a:gd name="T0" fmla="*/ 1238 w 92199"/>
                                  <a:gd name="T1" fmla="*/ 593504 h 146649"/>
                                  <a:gd name="T2" fmla="*/ 3037 w 92199"/>
                                  <a:gd name="T3" fmla="*/ 244384 h 146649"/>
                                  <a:gd name="T4" fmla="*/ 13832 w 92199"/>
                                  <a:gd name="T5" fmla="*/ 174558 h 146649"/>
                                  <a:gd name="T6" fmla="*/ 19230 w 92199"/>
                                  <a:gd name="T7" fmla="*/ 0 h 146649"/>
                                  <a:gd name="T8" fmla="*/ 0 60000 65536"/>
                                  <a:gd name="T9" fmla="*/ 0 60000 65536"/>
                                  <a:gd name="T10" fmla="*/ 0 60000 65536"/>
                                  <a:gd name="T11" fmla="*/ 0 60000 65536"/>
                                  <a:gd name="T12" fmla="*/ 0 w 92199"/>
                                  <a:gd name="T13" fmla="*/ 0 h 146649"/>
                                  <a:gd name="T14" fmla="*/ 92199 w 92199"/>
                                  <a:gd name="T15" fmla="*/ 146649 h 146649"/>
                                </a:gdLst>
                                <a:ahLst/>
                                <a:cxnLst>
                                  <a:cxn ang="T8">
                                    <a:pos x="T0" y="T1"/>
                                  </a:cxn>
                                  <a:cxn ang="T9">
                                    <a:pos x="T2" y="T3"/>
                                  </a:cxn>
                                  <a:cxn ang="T10">
                                    <a:pos x="T4" y="T5"/>
                                  </a:cxn>
                                  <a:cxn ang="T11">
                                    <a:pos x="T6" y="T7"/>
                                  </a:cxn>
                                </a:cxnLst>
                                <a:rect l="T12" t="T13" r="T14" b="T15"/>
                                <a:pathLst>
                                  <a:path w="92199" h="146649">
                                    <a:moveTo>
                                      <a:pt x="5935" y="146649"/>
                                    </a:moveTo>
                                    <a:cubicBezTo>
                                      <a:pt x="8810" y="117894"/>
                                      <a:pt x="0" y="85347"/>
                                      <a:pt x="14561" y="60385"/>
                                    </a:cubicBezTo>
                                    <a:cubicBezTo>
                                      <a:pt x="23725" y="44676"/>
                                      <a:pt x="66320" y="43132"/>
                                      <a:pt x="66320" y="43132"/>
                                    </a:cubicBezTo>
                                    <a:cubicBezTo>
                                      <a:pt x="87139" y="11903"/>
                                      <a:pt x="78935" y="26526"/>
                                      <a:pt x="92199" y="0"/>
                                    </a:cubicBezTo>
                                  </a:path>
                                </a:pathLst>
                              </a:custGeom>
                              <a:solidFill>
                                <a:schemeClr val="bg1"/>
                              </a:solidFill>
                              <a:ln w="28575" algn="ctr">
                                <a:solidFill>
                                  <a:srgbClr val="FFC000"/>
                                </a:solidFill>
                                <a:round/>
                                <a:headEnd/>
                                <a:tailEnd/>
                              </a:ln>
                            </p:spPr>
                            <p:txBody>
                              <a:bodyPr wrap="none" lIns="0" tIns="0" rIns="0" bIns="0" anchor="ctr"/>
                              <a:lstStyle/>
                              <a:p>
                                <a:endParaRPr lang="pt-BR"/>
                              </a:p>
                            </p:txBody>
                          </p:sp>
                          <p:sp>
                            <p:nvSpPr>
                              <p:cNvPr id="765" name="Freeform 361"/>
                              <p:cNvSpPr>
                                <a:spLocks noChangeArrowheads="1"/>
                              </p:cNvSpPr>
                              <p:nvPr/>
                            </p:nvSpPr>
                            <p:spPr bwMode="auto">
                              <a:xfrm>
                                <a:off x="7447779" y="2825498"/>
                                <a:ext cx="123444" cy="35378"/>
                              </a:xfrm>
                              <a:custGeom>
                                <a:avLst/>
                                <a:gdLst>
                                  <a:gd name="T0" fmla="*/ 123444 w 123444"/>
                                  <a:gd name="T1" fmla="*/ 0 h 35378"/>
                                  <a:gd name="T2" fmla="*/ 96012 w 123444"/>
                                  <a:gd name="T3" fmla="*/ 9144 h 35378"/>
                                  <a:gd name="T4" fmla="*/ 82296 w 123444"/>
                                  <a:gd name="T5" fmla="*/ 13716 h 35378"/>
                                  <a:gd name="T6" fmla="*/ 59436 w 123444"/>
                                  <a:gd name="T7" fmla="*/ 18288 h 35378"/>
                                  <a:gd name="T8" fmla="*/ 45720 w 123444"/>
                                  <a:gd name="T9" fmla="*/ 27432 h 35378"/>
                                  <a:gd name="T10" fmla="*/ 0 w 123444"/>
                                  <a:gd name="T11" fmla="*/ 32004 h 35378"/>
                                  <a:gd name="T12" fmla="*/ 0 60000 65536"/>
                                  <a:gd name="T13" fmla="*/ 0 60000 65536"/>
                                  <a:gd name="T14" fmla="*/ 0 60000 65536"/>
                                  <a:gd name="T15" fmla="*/ 0 60000 65536"/>
                                  <a:gd name="T16" fmla="*/ 0 60000 65536"/>
                                  <a:gd name="T17" fmla="*/ 0 60000 65536"/>
                                  <a:gd name="T18" fmla="*/ 0 w 123444"/>
                                  <a:gd name="T19" fmla="*/ 0 h 35378"/>
                                  <a:gd name="T20" fmla="*/ 123444 w 123444"/>
                                  <a:gd name="T21" fmla="*/ 35378 h 35378"/>
                                </a:gdLst>
                                <a:ahLst/>
                                <a:cxnLst>
                                  <a:cxn ang="T12">
                                    <a:pos x="T0" y="T1"/>
                                  </a:cxn>
                                  <a:cxn ang="T13">
                                    <a:pos x="T2" y="T3"/>
                                  </a:cxn>
                                  <a:cxn ang="T14">
                                    <a:pos x="T4" y="T5"/>
                                  </a:cxn>
                                  <a:cxn ang="T15">
                                    <a:pos x="T6" y="T7"/>
                                  </a:cxn>
                                  <a:cxn ang="T16">
                                    <a:pos x="T8" y="T9"/>
                                  </a:cxn>
                                  <a:cxn ang="T17">
                                    <a:pos x="T10" y="T11"/>
                                  </a:cxn>
                                </a:cxnLst>
                                <a:rect l="T18" t="T19" r="T20" b="T21"/>
                                <a:pathLst>
                                  <a:path w="123444" h="35378">
                                    <a:moveTo>
                                      <a:pt x="123444" y="0"/>
                                    </a:moveTo>
                                    <a:lnTo>
                                      <a:pt x="96012" y="9144"/>
                                    </a:lnTo>
                                    <a:cubicBezTo>
                                      <a:pt x="91440" y="10668"/>
                                      <a:pt x="87022" y="12771"/>
                                      <a:pt x="82296" y="13716"/>
                                    </a:cubicBezTo>
                                    <a:lnTo>
                                      <a:pt x="59436" y="18288"/>
                                    </a:lnTo>
                                    <a:cubicBezTo>
                                      <a:pt x="54864" y="21336"/>
                                      <a:pt x="50635" y="24975"/>
                                      <a:pt x="45720" y="27432"/>
                                    </a:cubicBezTo>
                                    <a:cubicBezTo>
                                      <a:pt x="29829" y="35378"/>
                                      <a:pt x="19235" y="32004"/>
                                      <a:pt x="0" y="32004"/>
                                    </a:cubicBezTo>
                                  </a:path>
                                </a:pathLst>
                              </a:custGeom>
                              <a:solidFill>
                                <a:schemeClr val="bg1"/>
                              </a:solidFill>
                              <a:ln w="28575" algn="ctr">
                                <a:solidFill>
                                  <a:srgbClr val="7030A0"/>
                                </a:solidFill>
                                <a:round/>
                                <a:headEnd/>
                                <a:tailEnd/>
                              </a:ln>
                            </p:spPr>
                            <p:txBody>
                              <a:bodyPr wrap="none" lIns="0" tIns="0" rIns="0" bIns="0" anchor="ctr"/>
                              <a:lstStyle/>
                              <a:p>
                                <a:endParaRPr lang="pt-BR"/>
                              </a:p>
                            </p:txBody>
                          </p:sp>
                          <p:sp>
                            <p:nvSpPr>
                              <p:cNvPr id="766" name="Freeform 362"/>
                              <p:cNvSpPr>
                                <a:spLocks noChangeArrowheads="1"/>
                              </p:cNvSpPr>
                              <p:nvPr/>
                            </p:nvSpPr>
                            <p:spPr bwMode="auto">
                              <a:xfrm>
                                <a:off x="7351767" y="2857501"/>
                                <a:ext cx="91440" cy="74420"/>
                              </a:xfrm>
                              <a:custGeom>
                                <a:avLst/>
                                <a:gdLst>
                                  <a:gd name="T0" fmla="*/ 91440 w 91440"/>
                                  <a:gd name="T1" fmla="*/ 0 h 74420"/>
                                  <a:gd name="T2" fmla="*/ 73152 w 91440"/>
                                  <a:gd name="T3" fmla="*/ 4572 h 74420"/>
                                  <a:gd name="T4" fmla="*/ 45720 w 91440"/>
                                  <a:gd name="T5" fmla="*/ 22860 h 74420"/>
                                  <a:gd name="T6" fmla="*/ 13716 w 91440"/>
                                  <a:gd name="T7" fmla="*/ 59436 h 74420"/>
                                  <a:gd name="T8" fmla="*/ 0 w 91440"/>
                                  <a:gd name="T9" fmla="*/ 73152 h 74420"/>
                                  <a:gd name="T10" fmla="*/ 0 60000 65536"/>
                                  <a:gd name="T11" fmla="*/ 0 60000 65536"/>
                                  <a:gd name="T12" fmla="*/ 0 60000 65536"/>
                                  <a:gd name="T13" fmla="*/ 0 60000 65536"/>
                                  <a:gd name="T14" fmla="*/ 0 60000 65536"/>
                                  <a:gd name="T15" fmla="*/ 0 w 91440"/>
                                  <a:gd name="T16" fmla="*/ 0 h 74420"/>
                                  <a:gd name="T17" fmla="*/ 91440 w 91440"/>
                                  <a:gd name="T18" fmla="*/ 74420 h 74420"/>
                                </a:gdLst>
                                <a:ahLst/>
                                <a:cxnLst>
                                  <a:cxn ang="T10">
                                    <a:pos x="T0" y="T1"/>
                                  </a:cxn>
                                  <a:cxn ang="T11">
                                    <a:pos x="T2" y="T3"/>
                                  </a:cxn>
                                  <a:cxn ang="T12">
                                    <a:pos x="T4" y="T5"/>
                                  </a:cxn>
                                  <a:cxn ang="T13">
                                    <a:pos x="T6" y="T7"/>
                                  </a:cxn>
                                  <a:cxn ang="T14">
                                    <a:pos x="T8" y="T9"/>
                                  </a:cxn>
                                </a:cxnLst>
                                <a:rect l="T15" t="T16" r="T17" b="T18"/>
                                <a:pathLst>
                                  <a:path w="91440" h="74420">
                                    <a:moveTo>
                                      <a:pt x="91440" y="0"/>
                                    </a:moveTo>
                                    <a:cubicBezTo>
                                      <a:pt x="85344" y="1524"/>
                                      <a:pt x="78772" y="1762"/>
                                      <a:pt x="73152" y="4572"/>
                                    </a:cubicBezTo>
                                    <a:cubicBezTo>
                                      <a:pt x="63322" y="9487"/>
                                      <a:pt x="45720" y="22860"/>
                                      <a:pt x="45720" y="22860"/>
                                    </a:cubicBezTo>
                                    <a:cubicBezTo>
                                      <a:pt x="24384" y="54864"/>
                                      <a:pt x="36576" y="44196"/>
                                      <a:pt x="13716" y="59436"/>
                                    </a:cubicBezTo>
                                    <a:cubicBezTo>
                                      <a:pt x="3727" y="74420"/>
                                      <a:pt x="10067" y="73152"/>
                                      <a:pt x="0" y="73152"/>
                                    </a:cubicBezTo>
                                  </a:path>
                                </a:pathLst>
                              </a:custGeom>
                              <a:solidFill>
                                <a:schemeClr val="bg1"/>
                              </a:solidFill>
                              <a:ln w="28575" algn="ctr">
                                <a:solidFill>
                                  <a:srgbClr val="7030A0"/>
                                </a:solidFill>
                                <a:round/>
                                <a:headEnd/>
                                <a:tailEnd/>
                              </a:ln>
                            </p:spPr>
                            <p:txBody>
                              <a:bodyPr wrap="none" lIns="0" tIns="0" rIns="0" bIns="0" anchor="ctr"/>
                              <a:lstStyle/>
                              <a:p>
                                <a:endParaRPr lang="pt-BR"/>
                              </a:p>
                            </p:txBody>
                          </p:sp>
                          <p:sp>
                            <p:nvSpPr>
                              <p:cNvPr id="767" name="Freeform 363"/>
                              <p:cNvSpPr>
                                <a:spLocks noChangeArrowheads="1"/>
                              </p:cNvSpPr>
                              <p:nvPr/>
                            </p:nvSpPr>
                            <p:spPr bwMode="auto">
                              <a:xfrm>
                                <a:off x="7463180" y="2966456"/>
                                <a:ext cx="158334" cy="47461"/>
                              </a:xfrm>
                              <a:custGeom>
                                <a:avLst/>
                                <a:gdLst>
                                  <a:gd name="T0" fmla="*/ 25746 w 158334"/>
                                  <a:gd name="T1" fmla="*/ 9919 h 47461"/>
                                  <a:gd name="T2" fmla="*/ 53178 w 158334"/>
                                  <a:gd name="T3" fmla="*/ 23635 h 47461"/>
                                  <a:gd name="T4" fmla="*/ 80610 w 158334"/>
                                  <a:gd name="T5" fmla="*/ 32779 h 47461"/>
                                  <a:gd name="T6" fmla="*/ 94326 w 158334"/>
                                  <a:gd name="T7" fmla="*/ 37351 h 47461"/>
                                  <a:gd name="T8" fmla="*/ 108042 w 158334"/>
                                  <a:gd name="T9" fmla="*/ 41923 h 47461"/>
                                  <a:gd name="T10" fmla="*/ 126330 w 158334"/>
                                  <a:gd name="T11" fmla="*/ 46495 h 47461"/>
                                  <a:gd name="T12" fmla="*/ 158334 w 158334"/>
                                  <a:gd name="T13" fmla="*/ 46495 h 47461"/>
                                  <a:gd name="T14" fmla="*/ 0 60000 65536"/>
                                  <a:gd name="T15" fmla="*/ 0 60000 65536"/>
                                  <a:gd name="T16" fmla="*/ 0 60000 65536"/>
                                  <a:gd name="T17" fmla="*/ 0 60000 65536"/>
                                  <a:gd name="T18" fmla="*/ 0 60000 65536"/>
                                  <a:gd name="T19" fmla="*/ 0 60000 65536"/>
                                  <a:gd name="T20" fmla="*/ 0 60000 65536"/>
                                  <a:gd name="T21" fmla="*/ 0 w 158334"/>
                                  <a:gd name="T22" fmla="*/ 0 h 47461"/>
                                  <a:gd name="T23" fmla="*/ 158334 w 158334"/>
                                  <a:gd name="T24" fmla="*/ 47461 h 4746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334" h="47461">
                                    <a:moveTo>
                                      <a:pt x="25746" y="9919"/>
                                    </a:moveTo>
                                    <a:cubicBezTo>
                                      <a:pt x="75768" y="26593"/>
                                      <a:pt x="0" y="0"/>
                                      <a:pt x="53178" y="23635"/>
                                    </a:cubicBezTo>
                                    <a:cubicBezTo>
                                      <a:pt x="61986" y="27550"/>
                                      <a:pt x="71466" y="29731"/>
                                      <a:pt x="80610" y="32779"/>
                                    </a:cubicBezTo>
                                    <a:lnTo>
                                      <a:pt x="94326" y="37351"/>
                                    </a:lnTo>
                                    <a:cubicBezTo>
                                      <a:pt x="98898" y="38875"/>
                                      <a:pt x="103367" y="40754"/>
                                      <a:pt x="108042" y="41923"/>
                                    </a:cubicBezTo>
                                    <a:cubicBezTo>
                                      <a:pt x="114138" y="43447"/>
                                      <a:pt x="120072" y="45926"/>
                                      <a:pt x="126330" y="46495"/>
                                    </a:cubicBezTo>
                                    <a:cubicBezTo>
                                      <a:pt x="136954" y="47461"/>
                                      <a:pt x="147666" y="46495"/>
                                      <a:pt x="158334" y="46495"/>
                                    </a:cubicBezTo>
                                  </a:path>
                                </a:pathLst>
                              </a:custGeom>
                              <a:solidFill>
                                <a:schemeClr val="bg1"/>
                              </a:solidFill>
                              <a:ln w="28575" algn="ctr">
                                <a:solidFill>
                                  <a:schemeClr val="accent2"/>
                                </a:solidFill>
                                <a:round/>
                                <a:headEnd/>
                                <a:tailEnd/>
                              </a:ln>
                            </p:spPr>
                            <p:txBody>
                              <a:bodyPr wrap="none" lIns="0" tIns="0" rIns="0" bIns="0" anchor="ctr"/>
                              <a:lstStyle/>
                              <a:p>
                                <a:endParaRPr lang="pt-BR"/>
                              </a:p>
                            </p:txBody>
                          </p:sp>
                          <p:sp>
                            <p:nvSpPr>
                              <p:cNvPr id="768" name="Freeform 364"/>
                              <p:cNvSpPr>
                                <a:spLocks noChangeArrowheads="1"/>
                              </p:cNvSpPr>
                              <p:nvPr/>
                            </p:nvSpPr>
                            <p:spPr bwMode="auto">
                              <a:xfrm>
                                <a:off x="7342623" y="2930654"/>
                                <a:ext cx="137646" cy="42112"/>
                              </a:xfrm>
                              <a:custGeom>
                                <a:avLst/>
                                <a:gdLst>
                                  <a:gd name="T0" fmla="*/ 0 w 137646"/>
                                  <a:gd name="T1" fmla="*/ 0 h 42112"/>
                                  <a:gd name="T2" fmla="*/ 27432 w 137646"/>
                                  <a:gd name="T3" fmla="*/ 9144 h 42112"/>
                                  <a:gd name="T4" fmla="*/ 41148 w 137646"/>
                                  <a:gd name="T5" fmla="*/ 22860 h 42112"/>
                                  <a:gd name="T6" fmla="*/ 77724 w 137646"/>
                                  <a:gd name="T7" fmla="*/ 27432 h 42112"/>
                                  <a:gd name="T8" fmla="*/ 100584 w 137646"/>
                                  <a:gd name="T9" fmla="*/ 32004 h 42112"/>
                                  <a:gd name="T10" fmla="*/ 137160 w 137646"/>
                                  <a:gd name="T11" fmla="*/ 41148 h 42112"/>
                                  <a:gd name="T12" fmla="*/ 0 60000 65536"/>
                                  <a:gd name="T13" fmla="*/ 0 60000 65536"/>
                                  <a:gd name="T14" fmla="*/ 0 60000 65536"/>
                                  <a:gd name="T15" fmla="*/ 0 60000 65536"/>
                                  <a:gd name="T16" fmla="*/ 0 60000 65536"/>
                                  <a:gd name="T17" fmla="*/ 0 60000 65536"/>
                                  <a:gd name="T18" fmla="*/ 0 w 137646"/>
                                  <a:gd name="T19" fmla="*/ 0 h 42112"/>
                                  <a:gd name="T20" fmla="*/ 137646 w 137646"/>
                                  <a:gd name="T21" fmla="*/ 42112 h 42112"/>
                                </a:gdLst>
                                <a:ahLst/>
                                <a:cxnLst>
                                  <a:cxn ang="T12">
                                    <a:pos x="T0" y="T1"/>
                                  </a:cxn>
                                  <a:cxn ang="T13">
                                    <a:pos x="T2" y="T3"/>
                                  </a:cxn>
                                  <a:cxn ang="T14">
                                    <a:pos x="T4" y="T5"/>
                                  </a:cxn>
                                  <a:cxn ang="T15">
                                    <a:pos x="T6" y="T7"/>
                                  </a:cxn>
                                  <a:cxn ang="T16">
                                    <a:pos x="T8" y="T9"/>
                                  </a:cxn>
                                  <a:cxn ang="T17">
                                    <a:pos x="T10" y="T11"/>
                                  </a:cxn>
                                </a:cxnLst>
                                <a:rect l="T18" t="T19" r="T20" b="T21"/>
                                <a:pathLst>
                                  <a:path w="137646" h="42112">
                                    <a:moveTo>
                                      <a:pt x="0" y="0"/>
                                    </a:moveTo>
                                    <a:cubicBezTo>
                                      <a:pt x="9144" y="3048"/>
                                      <a:pt x="20616" y="2328"/>
                                      <a:pt x="27432" y="9144"/>
                                    </a:cubicBezTo>
                                    <a:cubicBezTo>
                                      <a:pt x="32004" y="13716"/>
                                      <a:pt x="35071" y="20650"/>
                                      <a:pt x="41148" y="22860"/>
                                    </a:cubicBezTo>
                                    <a:cubicBezTo>
                                      <a:pt x="52695" y="27059"/>
                                      <a:pt x="65580" y="25564"/>
                                      <a:pt x="77724" y="27432"/>
                                    </a:cubicBezTo>
                                    <a:cubicBezTo>
                                      <a:pt x="85405" y="28614"/>
                                      <a:pt x="93087" y="29959"/>
                                      <a:pt x="100584" y="32004"/>
                                    </a:cubicBezTo>
                                    <a:cubicBezTo>
                                      <a:pt x="137646" y="42112"/>
                                      <a:pt x="116246" y="41148"/>
                                      <a:pt x="137160" y="41148"/>
                                    </a:cubicBezTo>
                                  </a:path>
                                </a:pathLst>
                              </a:custGeom>
                              <a:solidFill>
                                <a:schemeClr val="bg1"/>
                              </a:solidFill>
                              <a:ln w="28575" algn="ctr">
                                <a:solidFill>
                                  <a:schemeClr val="accent2"/>
                                </a:solidFill>
                                <a:round/>
                                <a:headEnd/>
                                <a:tailEnd/>
                              </a:ln>
                            </p:spPr>
                            <p:txBody>
                              <a:bodyPr wrap="none" lIns="0" tIns="0" rIns="0" bIns="0" anchor="ctr"/>
                              <a:lstStyle/>
                              <a:p>
                                <a:endParaRPr lang="pt-BR"/>
                              </a:p>
                            </p:txBody>
                          </p:sp>
                          <p:sp>
                            <p:nvSpPr>
                              <p:cNvPr id="769" name="Oval 768"/>
                              <p:cNvSpPr/>
                              <p:nvPr/>
                            </p:nvSpPr>
                            <p:spPr bwMode="auto">
                              <a:xfrm>
                                <a:off x="8248181" y="2248989"/>
                                <a:ext cx="37370" cy="42118"/>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770" name="Oval 769"/>
                              <p:cNvSpPr/>
                              <p:nvPr/>
                            </p:nvSpPr>
                            <p:spPr bwMode="auto">
                              <a:xfrm>
                                <a:off x="8161898" y="2419939"/>
                                <a:ext cx="38865" cy="41116"/>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771" name="Oval 770"/>
                              <p:cNvSpPr/>
                              <p:nvPr/>
                            </p:nvSpPr>
                            <p:spPr bwMode="auto">
                              <a:xfrm>
                                <a:off x="8080697" y="2768987"/>
                                <a:ext cx="37370" cy="41314"/>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772" name="Oval 771"/>
                              <p:cNvSpPr/>
                              <p:nvPr/>
                            </p:nvSpPr>
                            <p:spPr bwMode="auto">
                              <a:xfrm>
                                <a:off x="7766070" y="2660476"/>
                                <a:ext cx="38865" cy="41314"/>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graphicFrame>
                            <p:nvGraphicFramePr>
                              <p:cNvPr id="773" name="Object 21"/>
                              <p:cNvGraphicFramePr>
                                <a:graphicFrameLocks noChangeAspect="1"/>
                              </p:cNvGraphicFramePr>
                              <p:nvPr/>
                            </p:nvGraphicFramePr>
                            <p:xfrm>
                              <a:off x="6983608" y="2275410"/>
                              <a:ext cx="51961" cy="52696"/>
                            </p:xfrm>
                            <a:graphic>
                              <a:graphicData uri="http://schemas.openxmlformats.org/presentationml/2006/ole">
                                <p:oleObj spid="_x0000_s2102506" r:id="rId27" imgW="312983" imgH="312983" progId="">
                                  <p:embed/>
                                </p:oleObj>
                              </a:graphicData>
                            </a:graphic>
                          </p:graphicFrame>
                          <p:sp>
                            <p:nvSpPr>
                              <p:cNvPr id="774" name="Oval 773"/>
                              <p:cNvSpPr/>
                              <p:nvPr/>
                            </p:nvSpPr>
                            <p:spPr bwMode="auto">
                              <a:xfrm>
                                <a:off x="7157688" y="2434528"/>
                                <a:ext cx="37733" cy="41062"/>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775" name="Oval 774"/>
                              <p:cNvSpPr/>
                              <p:nvPr/>
                            </p:nvSpPr>
                            <p:spPr bwMode="auto">
                              <a:xfrm>
                                <a:off x="7124825" y="2820013"/>
                                <a:ext cx="37733" cy="42056"/>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776" name="Oval 775"/>
                              <p:cNvSpPr/>
                              <p:nvPr/>
                            </p:nvSpPr>
                            <p:spPr bwMode="auto">
                              <a:xfrm>
                                <a:off x="7033804" y="1572803"/>
                                <a:ext cx="37370" cy="41623"/>
                              </a:xfrm>
                              <a:prstGeom prst="ellipse">
                                <a:avLst/>
                              </a:prstGeom>
                              <a:solidFill>
                                <a:srgbClr val="FF0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777" name="Oval 776"/>
                              <p:cNvSpPr/>
                              <p:nvPr/>
                            </p:nvSpPr>
                            <p:spPr bwMode="auto">
                              <a:xfrm>
                                <a:off x="6196327" y="2128531"/>
                                <a:ext cx="38864" cy="41369"/>
                              </a:xfrm>
                              <a:prstGeom prst="ellipse">
                                <a:avLst/>
                              </a:prstGeom>
                              <a:solidFill>
                                <a:srgbClr val="FF0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grpSp>
                      </p:grpSp>
                      <p:grpSp>
                        <p:nvGrpSpPr>
                          <p:cNvPr id="625" name="Group 244"/>
                          <p:cNvGrpSpPr>
                            <a:grpSpLocks/>
                          </p:cNvGrpSpPr>
                          <p:nvPr/>
                        </p:nvGrpSpPr>
                        <p:grpSpPr bwMode="auto">
                          <a:xfrm>
                            <a:off x="6217873" y="4423207"/>
                            <a:ext cx="1205853" cy="654090"/>
                            <a:chOff x="6704919" y="4366260"/>
                            <a:chExt cx="1231311" cy="642468"/>
                          </a:xfrm>
                        </p:grpSpPr>
                        <p:sp>
                          <p:nvSpPr>
                            <p:cNvPr id="630" name="Freeform 205"/>
                            <p:cNvSpPr>
                              <a:spLocks noChangeArrowheads="1"/>
                            </p:cNvSpPr>
                            <p:nvPr/>
                          </p:nvSpPr>
                          <p:spPr bwMode="auto">
                            <a:xfrm>
                              <a:off x="7799070" y="4366260"/>
                              <a:ext cx="137160" cy="202828"/>
                            </a:xfrm>
                            <a:custGeom>
                              <a:avLst/>
                              <a:gdLst>
                                <a:gd name="T0" fmla="*/ 137160 w 137160"/>
                                <a:gd name="T1" fmla="*/ 0 h 202828"/>
                                <a:gd name="T2" fmla="*/ 129540 w 137160"/>
                                <a:gd name="T3" fmla="*/ 11430 h 202828"/>
                                <a:gd name="T4" fmla="*/ 114300 w 137160"/>
                                <a:gd name="T5" fmla="*/ 22860 h 202828"/>
                                <a:gd name="T6" fmla="*/ 110490 w 137160"/>
                                <a:gd name="T7" fmla="*/ 34290 h 202828"/>
                                <a:gd name="T8" fmla="*/ 95250 w 137160"/>
                                <a:gd name="T9" fmla="*/ 64770 h 202828"/>
                                <a:gd name="T10" fmla="*/ 80010 w 137160"/>
                                <a:gd name="T11" fmla="*/ 87630 h 202828"/>
                                <a:gd name="T12" fmla="*/ 72390 w 137160"/>
                                <a:gd name="T13" fmla="*/ 99060 h 202828"/>
                                <a:gd name="T14" fmla="*/ 60960 w 137160"/>
                                <a:gd name="T15" fmla="*/ 118110 h 202828"/>
                                <a:gd name="T16" fmla="*/ 53340 w 137160"/>
                                <a:gd name="T17" fmla="*/ 140970 h 202828"/>
                                <a:gd name="T18" fmla="*/ 41910 w 137160"/>
                                <a:gd name="T19" fmla="*/ 156210 h 202828"/>
                                <a:gd name="T20" fmla="*/ 34290 w 137160"/>
                                <a:gd name="T21" fmla="*/ 167640 h 202828"/>
                                <a:gd name="T22" fmla="*/ 22860 w 137160"/>
                                <a:gd name="T23" fmla="*/ 175260 h 202828"/>
                                <a:gd name="T24" fmla="*/ 3810 w 137160"/>
                                <a:gd name="T25" fmla="*/ 201930 h 202828"/>
                                <a:gd name="T26" fmla="*/ 0 w 137160"/>
                                <a:gd name="T27" fmla="*/ 201930 h 20282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7160"/>
                                <a:gd name="T43" fmla="*/ 0 h 202828"/>
                                <a:gd name="T44" fmla="*/ 137160 w 137160"/>
                                <a:gd name="T45" fmla="*/ 202828 h 20282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7160" h="202828">
                                  <a:moveTo>
                                    <a:pt x="137160" y="0"/>
                                  </a:moveTo>
                                  <a:cubicBezTo>
                                    <a:pt x="134620" y="3810"/>
                                    <a:pt x="132778" y="8192"/>
                                    <a:pt x="129540" y="11430"/>
                                  </a:cubicBezTo>
                                  <a:cubicBezTo>
                                    <a:pt x="125050" y="15920"/>
                                    <a:pt x="118365" y="17982"/>
                                    <a:pt x="114300" y="22860"/>
                                  </a:cubicBezTo>
                                  <a:cubicBezTo>
                                    <a:pt x="111729" y="25945"/>
                                    <a:pt x="112152" y="30634"/>
                                    <a:pt x="110490" y="34290"/>
                                  </a:cubicBezTo>
                                  <a:cubicBezTo>
                                    <a:pt x="105790" y="44631"/>
                                    <a:pt x="101551" y="55319"/>
                                    <a:pt x="95250" y="64770"/>
                                  </a:cubicBezTo>
                                  <a:lnTo>
                                    <a:pt x="80010" y="87630"/>
                                  </a:lnTo>
                                  <a:cubicBezTo>
                                    <a:pt x="77470" y="91440"/>
                                    <a:pt x="74746" y="95133"/>
                                    <a:pt x="72390" y="99060"/>
                                  </a:cubicBezTo>
                                  <a:cubicBezTo>
                                    <a:pt x="68580" y="105410"/>
                                    <a:pt x="64024" y="111368"/>
                                    <a:pt x="60960" y="118110"/>
                                  </a:cubicBezTo>
                                  <a:cubicBezTo>
                                    <a:pt x="57636" y="125422"/>
                                    <a:pt x="58159" y="134544"/>
                                    <a:pt x="53340" y="140970"/>
                                  </a:cubicBezTo>
                                  <a:cubicBezTo>
                                    <a:pt x="49530" y="146050"/>
                                    <a:pt x="45601" y="151043"/>
                                    <a:pt x="41910" y="156210"/>
                                  </a:cubicBezTo>
                                  <a:cubicBezTo>
                                    <a:pt x="39248" y="159936"/>
                                    <a:pt x="37528" y="164402"/>
                                    <a:pt x="34290" y="167640"/>
                                  </a:cubicBezTo>
                                  <a:cubicBezTo>
                                    <a:pt x="31052" y="170878"/>
                                    <a:pt x="26670" y="172720"/>
                                    <a:pt x="22860" y="175260"/>
                                  </a:cubicBezTo>
                                  <a:cubicBezTo>
                                    <a:pt x="18533" y="181750"/>
                                    <a:pt x="8536" y="197204"/>
                                    <a:pt x="3810" y="201930"/>
                                  </a:cubicBezTo>
                                  <a:cubicBezTo>
                                    <a:pt x="2912" y="202828"/>
                                    <a:pt x="1270" y="201930"/>
                                    <a:pt x="0" y="201930"/>
                                  </a:cubicBezTo>
                                </a:path>
                              </a:pathLst>
                            </a:custGeom>
                            <a:solidFill>
                              <a:schemeClr val="bg1"/>
                            </a:solidFill>
                            <a:ln w="28575" algn="ctr">
                              <a:solidFill>
                                <a:srgbClr val="00B050"/>
                              </a:solidFill>
                              <a:round/>
                              <a:headEnd/>
                              <a:tailEnd/>
                            </a:ln>
                          </p:spPr>
                          <p:txBody>
                            <a:bodyPr wrap="none" lIns="0" tIns="0" rIns="0" bIns="0" anchor="ctr"/>
                            <a:lstStyle/>
                            <a:p>
                              <a:endParaRPr lang="pt-BR"/>
                            </a:p>
                          </p:txBody>
                        </p:sp>
                        <p:sp>
                          <p:nvSpPr>
                            <p:cNvPr id="631" name="Freeform 630"/>
                            <p:cNvSpPr>
                              <a:spLocks noChangeArrowheads="1"/>
                            </p:cNvSpPr>
                            <p:nvPr/>
                          </p:nvSpPr>
                          <p:spPr bwMode="auto">
                            <a:xfrm>
                              <a:off x="7680416" y="4590722"/>
                              <a:ext cx="67756" cy="106000"/>
                            </a:xfrm>
                            <a:custGeom>
                              <a:avLst/>
                              <a:gdLst>
                                <a:gd name="T0" fmla="*/ 68580 w 68580"/>
                                <a:gd name="T1" fmla="*/ 0 h 106680"/>
                                <a:gd name="T2" fmla="*/ 57150 w 68580"/>
                                <a:gd name="T3" fmla="*/ 3810 h 106680"/>
                                <a:gd name="T4" fmla="*/ 49530 w 68580"/>
                                <a:gd name="T5" fmla="*/ 15240 h 106680"/>
                                <a:gd name="T6" fmla="*/ 38100 w 68580"/>
                                <a:gd name="T7" fmla="*/ 22860 h 106680"/>
                                <a:gd name="T8" fmla="*/ 22860 w 68580"/>
                                <a:gd name="T9" fmla="*/ 45720 h 106680"/>
                                <a:gd name="T10" fmla="*/ 19050 w 68580"/>
                                <a:gd name="T11" fmla="*/ 57150 h 106680"/>
                                <a:gd name="T12" fmla="*/ 11430 w 68580"/>
                                <a:gd name="T13" fmla="*/ 87630 h 106680"/>
                                <a:gd name="T14" fmla="*/ 0 w 68580"/>
                                <a:gd name="T15" fmla="*/ 106680 h 106680"/>
                                <a:gd name="T16" fmla="*/ 0 60000 65536"/>
                                <a:gd name="T17" fmla="*/ 0 60000 65536"/>
                                <a:gd name="T18" fmla="*/ 0 60000 65536"/>
                                <a:gd name="T19" fmla="*/ 0 60000 65536"/>
                                <a:gd name="T20" fmla="*/ 0 60000 65536"/>
                                <a:gd name="T21" fmla="*/ 0 60000 65536"/>
                                <a:gd name="T22" fmla="*/ 0 60000 65536"/>
                                <a:gd name="T23" fmla="*/ 0 60000 65536"/>
                                <a:gd name="T24" fmla="*/ 0 w 68580"/>
                                <a:gd name="T25" fmla="*/ 0 h 106680"/>
                                <a:gd name="T26" fmla="*/ 68580 w 68580"/>
                                <a:gd name="T27" fmla="*/ 106680 h 1066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8580" h="106680">
                                  <a:moveTo>
                                    <a:pt x="68580" y="0"/>
                                  </a:moveTo>
                                  <a:cubicBezTo>
                                    <a:pt x="64770" y="1270"/>
                                    <a:pt x="60286" y="1301"/>
                                    <a:pt x="57150" y="3810"/>
                                  </a:cubicBezTo>
                                  <a:cubicBezTo>
                                    <a:pt x="53574" y="6671"/>
                                    <a:pt x="52768" y="12002"/>
                                    <a:pt x="49530" y="15240"/>
                                  </a:cubicBezTo>
                                  <a:cubicBezTo>
                                    <a:pt x="46292" y="18478"/>
                                    <a:pt x="41910" y="20320"/>
                                    <a:pt x="38100" y="22860"/>
                                  </a:cubicBezTo>
                                  <a:cubicBezTo>
                                    <a:pt x="29041" y="50038"/>
                                    <a:pt x="41886" y="17180"/>
                                    <a:pt x="22860" y="45720"/>
                                  </a:cubicBezTo>
                                  <a:cubicBezTo>
                                    <a:pt x="20632" y="49062"/>
                                    <a:pt x="20107" y="53275"/>
                                    <a:pt x="19050" y="57150"/>
                                  </a:cubicBezTo>
                                  <a:cubicBezTo>
                                    <a:pt x="16294" y="67254"/>
                                    <a:pt x="17239" y="78916"/>
                                    <a:pt x="11430" y="87630"/>
                                  </a:cubicBezTo>
                                  <a:cubicBezTo>
                                    <a:pt x="2235" y="101423"/>
                                    <a:pt x="5858" y="94964"/>
                                    <a:pt x="0" y="106680"/>
                                  </a:cubicBezTo>
                                </a:path>
                              </a:pathLst>
                            </a:custGeom>
                            <a:solidFill>
                              <a:schemeClr val="accent2">
                                <a:lumMod val="60000"/>
                                <a:lumOff val="40000"/>
                              </a:schemeClr>
                            </a:solidFill>
                            <a:ln w="28575" algn="ctr">
                              <a:solidFill>
                                <a:srgbClr val="00B050"/>
                              </a:solidFill>
                              <a:round/>
                              <a:headEnd/>
                              <a:tailEnd/>
                            </a:ln>
                          </p:spPr>
                          <p:txBody>
                            <a:bodyPr wrap="none" lIns="0" tIns="0" rIns="0" bIns="0" anchor="ctr"/>
                            <a:lstStyle/>
                            <a:p>
                              <a:pPr defTabSz="873125" eaLnBrk="0" hangingPunct="0">
                                <a:defRPr/>
                              </a:pPr>
                              <a:endParaRPr lang="pt-BR">
                                <a:latin typeface="Arial" charset="0"/>
                              </a:endParaRPr>
                            </a:p>
                          </p:txBody>
                        </p:sp>
                        <p:sp>
                          <p:nvSpPr>
                            <p:cNvPr id="632" name="Freeform 209"/>
                            <p:cNvSpPr>
                              <a:spLocks noChangeArrowheads="1"/>
                            </p:cNvSpPr>
                            <p:nvPr/>
                          </p:nvSpPr>
                          <p:spPr bwMode="auto">
                            <a:xfrm>
                              <a:off x="6704919" y="4817660"/>
                              <a:ext cx="248615" cy="191068"/>
                            </a:xfrm>
                            <a:custGeom>
                              <a:avLst/>
                              <a:gdLst>
                                <a:gd name="T0" fmla="*/ 2956 w 248615"/>
                                <a:gd name="T1" fmla="*/ 191068 h 191068"/>
                                <a:gd name="T2" fmla="*/ 23427 w 248615"/>
                                <a:gd name="T3" fmla="*/ 136477 h 191068"/>
                                <a:gd name="T4" fmla="*/ 30251 w 248615"/>
                                <a:gd name="T5" fmla="*/ 116006 h 191068"/>
                                <a:gd name="T6" fmla="*/ 50723 w 248615"/>
                                <a:gd name="T7" fmla="*/ 102358 h 191068"/>
                                <a:gd name="T8" fmla="*/ 64371 w 248615"/>
                                <a:gd name="T9" fmla="*/ 81886 h 191068"/>
                                <a:gd name="T10" fmla="*/ 105314 w 248615"/>
                                <a:gd name="T11" fmla="*/ 54591 h 191068"/>
                                <a:gd name="T12" fmla="*/ 125785 w 248615"/>
                                <a:gd name="T13" fmla="*/ 47767 h 191068"/>
                                <a:gd name="T14" fmla="*/ 173553 w 248615"/>
                                <a:gd name="T15" fmla="*/ 34119 h 191068"/>
                                <a:gd name="T16" fmla="*/ 194024 w 248615"/>
                                <a:gd name="T17" fmla="*/ 20471 h 191068"/>
                                <a:gd name="T18" fmla="*/ 234968 w 248615"/>
                                <a:gd name="T19" fmla="*/ 6824 h 191068"/>
                                <a:gd name="T20" fmla="*/ 248615 w 248615"/>
                                <a:gd name="T21" fmla="*/ 0 h 19106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48615"/>
                                <a:gd name="T34" fmla="*/ 0 h 191068"/>
                                <a:gd name="T35" fmla="*/ 248615 w 248615"/>
                                <a:gd name="T36" fmla="*/ 191068 h 19106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48615" h="191068">
                                  <a:moveTo>
                                    <a:pt x="2956" y="191068"/>
                                  </a:moveTo>
                                  <a:cubicBezTo>
                                    <a:pt x="16121" y="125244"/>
                                    <a:pt x="0" y="183332"/>
                                    <a:pt x="23427" y="136477"/>
                                  </a:cubicBezTo>
                                  <a:cubicBezTo>
                                    <a:pt x="26644" y="130044"/>
                                    <a:pt x="25758" y="121623"/>
                                    <a:pt x="30251" y="116006"/>
                                  </a:cubicBezTo>
                                  <a:cubicBezTo>
                                    <a:pt x="35374" y="109602"/>
                                    <a:pt x="43899" y="106907"/>
                                    <a:pt x="50723" y="102358"/>
                                  </a:cubicBezTo>
                                  <a:cubicBezTo>
                                    <a:pt x="55272" y="95534"/>
                                    <a:pt x="58199" y="87287"/>
                                    <a:pt x="64371" y="81886"/>
                                  </a:cubicBezTo>
                                  <a:cubicBezTo>
                                    <a:pt x="76715" y="71085"/>
                                    <a:pt x="89753" y="59778"/>
                                    <a:pt x="105314" y="54591"/>
                                  </a:cubicBezTo>
                                  <a:cubicBezTo>
                                    <a:pt x="112138" y="52316"/>
                                    <a:pt x="118869" y="49743"/>
                                    <a:pt x="125785" y="47767"/>
                                  </a:cubicBezTo>
                                  <a:cubicBezTo>
                                    <a:pt x="185773" y="30627"/>
                                    <a:pt x="124462" y="50483"/>
                                    <a:pt x="173553" y="34119"/>
                                  </a:cubicBezTo>
                                  <a:cubicBezTo>
                                    <a:pt x="180377" y="29570"/>
                                    <a:pt x="186530" y="23802"/>
                                    <a:pt x="194024" y="20471"/>
                                  </a:cubicBezTo>
                                  <a:cubicBezTo>
                                    <a:pt x="207170" y="14628"/>
                                    <a:pt x="222101" y="13258"/>
                                    <a:pt x="234968" y="6824"/>
                                  </a:cubicBezTo>
                                  <a:lnTo>
                                    <a:pt x="248615" y="0"/>
                                  </a:lnTo>
                                </a:path>
                              </a:pathLst>
                            </a:custGeom>
                            <a:solidFill>
                              <a:schemeClr val="bg1"/>
                            </a:solidFill>
                            <a:ln w="28575" algn="ctr">
                              <a:solidFill>
                                <a:srgbClr val="0070C0"/>
                              </a:solidFill>
                              <a:round/>
                              <a:headEnd/>
                              <a:tailEnd/>
                            </a:ln>
                          </p:spPr>
                          <p:txBody>
                            <a:bodyPr wrap="none" lIns="0" tIns="0" rIns="0" bIns="0" anchor="ctr"/>
                            <a:lstStyle/>
                            <a:p>
                              <a:endParaRPr lang="pt-BR"/>
                            </a:p>
                          </p:txBody>
                        </p:sp>
                      </p:grpSp>
                      <p:sp>
                        <p:nvSpPr>
                          <p:cNvPr id="626" name="Text Box 123"/>
                          <p:cNvSpPr txBox="1">
                            <a:spLocks noChangeArrowheads="1"/>
                          </p:cNvSpPr>
                          <p:nvPr/>
                        </p:nvSpPr>
                        <p:spPr bwMode="auto">
                          <a:xfrm>
                            <a:off x="7335403" y="4615961"/>
                            <a:ext cx="438188" cy="134458"/>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B050"/>
                                </a:solidFill>
                                <a:latin typeface="Calibri" pitchFamily="34" charset="0"/>
                              </a:rPr>
                              <a:t>Campos</a:t>
                            </a:r>
                          </a:p>
                        </p:txBody>
                      </p:sp>
                      <p:sp>
                        <p:nvSpPr>
                          <p:cNvPr id="627" name="Text Box 120"/>
                          <p:cNvSpPr txBox="1">
                            <a:spLocks noChangeArrowheads="1"/>
                          </p:cNvSpPr>
                          <p:nvPr/>
                        </p:nvSpPr>
                        <p:spPr bwMode="auto">
                          <a:xfrm>
                            <a:off x="5267315" y="2272923"/>
                            <a:ext cx="334587" cy="109267"/>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FFC000"/>
                                </a:solidFill>
                                <a:latin typeface="Calibri" pitchFamily="34" charset="0"/>
                              </a:rPr>
                              <a:t>Tucuruí</a:t>
                            </a:r>
                          </a:p>
                        </p:txBody>
                      </p:sp>
                      <p:pic>
                        <p:nvPicPr>
                          <p:cNvPr id="628" name="Picture 35"/>
                          <p:cNvPicPr>
                            <a:picLocks noChangeAspect="1" noChangeArrowheads="1"/>
                          </p:cNvPicPr>
                          <p:nvPr/>
                        </p:nvPicPr>
                        <p:blipFill>
                          <a:blip r:embed="rId6" cstate="email">
                            <a:extLst>
                              <a:ext uri="{28A0092B-C50C-407E-A947-70E740481C1C}">
                                <a14:useLocalDpi xmlns="" xmlns:a14="http://schemas.microsoft.com/office/drawing/2010/main"/>
                              </a:ext>
                            </a:extLst>
                          </a:blip>
                          <a:srcRect/>
                          <a:stretch>
                            <a:fillRect/>
                          </a:stretch>
                        </p:blipFill>
                        <p:spPr bwMode="auto">
                          <a:xfrm>
                            <a:off x="4244319" y="2123132"/>
                            <a:ext cx="152411" cy="160458"/>
                          </a:xfrm>
                          <a:prstGeom prst="rect">
                            <a:avLst/>
                          </a:prstGeom>
                          <a:noFill/>
                          <a:ln w="9525">
                            <a:noFill/>
                            <a:round/>
                            <a:headEnd/>
                            <a:tailEnd/>
                          </a:ln>
                        </p:spPr>
                      </p:pic>
                      <p:pic>
                        <p:nvPicPr>
                          <p:cNvPr id="629" name="Picture 35"/>
                          <p:cNvPicPr>
                            <a:picLocks noChangeAspect="1" noChangeArrowheads="1"/>
                          </p:cNvPicPr>
                          <p:nvPr/>
                        </p:nvPicPr>
                        <p:blipFill>
                          <a:blip r:embed="rId6" cstate="email">
                            <a:extLst>
                              <a:ext uri="{28A0092B-C50C-407E-A947-70E740481C1C}">
                                <a14:useLocalDpi xmlns="" xmlns:a14="http://schemas.microsoft.com/office/drawing/2010/main"/>
                              </a:ext>
                            </a:extLst>
                          </a:blip>
                          <a:srcRect/>
                          <a:stretch>
                            <a:fillRect/>
                          </a:stretch>
                        </p:blipFill>
                        <p:spPr bwMode="auto">
                          <a:xfrm>
                            <a:off x="6025099" y="1858140"/>
                            <a:ext cx="152411" cy="160458"/>
                          </a:xfrm>
                          <a:prstGeom prst="rect">
                            <a:avLst/>
                          </a:prstGeom>
                          <a:noFill/>
                          <a:ln w="9525">
                            <a:noFill/>
                            <a:round/>
                            <a:headEnd/>
                            <a:tailEnd/>
                          </a:ln>
                        </p:spPr>
                      </p:pic>
                    </p:grpSp>
                    <p:sp>
                      <p:nvSpPr>
                        <p:cNvPr id="622" name="Freeform 22"/>
                        <p:cNvSpPr/>
                        <p:nvPr/>
                      </p:nvSpPr>
                      <p:spPr>
                        <a:xfrm>
                          <a:off x="6455286" y="2016790"/>
                          <a:ext cx="185589" cy="1814714"/>
                        </a:xfrm>
                        <a:custGeom>
                          <a:avLst/>
                          <a:gdLst>
                            <a:gd name="connsiteX0" fmla="*/ 30637 w 186180"/>
                            <a:gd name="connsiteY0" fmla="*/ 0 h 1814660"/>
                            <a:gd name="connsiteX1" fmla="*/ 2357 w 186180"/>
                            <a:gd name="connsiteY1" fmla="*/ 325225 h 1814660"/>
                            <a:gd name="connsiteX2" fmla="*/ 44777 w 186180"/>
                            <a:gd name="connsiteY2" fmla="*/ 504334 h 1814660"/>
                            <a:gd name="connsiteX3" fmla="*/ 49491 w 186180"/>
                            <a:gd name="connsiteY3" fmla="*/ 768285 h 1814660"/>
                            <a:gd name="connsiteX4" fmla="*/ 49491 w 186180"/>
                            <a:gd name="connsiteY4" fmla="*/ 1008668 h 1814660"/>
                            <a:gd name="connsiteX5" fmla="*/ 73058 w 186180"/>
                            <a:gd name="connsiteY5" fmla="*/ 1197204 h 1814660"/>
                            <a:gd name="connsiteX6" fmla="*/ 82485 w 186180"/>
                            <a:gd name="connsiteY6" fmla="*/ 1437588 h 1814660"/>
                            <a:gd name="connsiteX7" fmla="*/ 110765 w 186180"/>
                            <a:gd name="connsiteY7" fmla="*/ 1659118 h 1814660"/>
                            <a:gd name="connsiteX8" fmla="*/ 186180 w 186180"/>
                            <a:gd name="connsiteY8" fmla="*/ 1814660 h 181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180" h="1814660">
                              <a:moveTo>
                                <a:pt x="30637" y="0"/>
                              </a:moveTo>
                              <a:cubicBezTo>
                                <a:pt x="15318" y="120584"/>
                                <a:pt x="0" y="241169"/>
                                <a:pt x="2357" y="325225"/>
                              </a:cubicBezTo>
                              <a:cubicBezTo>
                                <a:pt x="4714" y="409281"/>
                                <a:pt x="36921" y="430491"/>
                                <a:pt x="44777" y="504334"/>
                              </a:cubicBezTo>
                              <a:cubicBezTo>
                                <a:pt x="52633" y="578177"/>
                                <a:pt x="48705" y="684229"/>
                                <a:pt x="49491" y="768285"/>
                              </a:cubicBezTo>
                              <a:cubicBezTo>
                                <a:pt x="50277" y="852341"/>
                                <a:pt x="45563" y="937182"/>
                                <a:pt x="49491" y="1008668"/>
                              </a:cubicBezTo>
                              <a:cubicBezTo>
                                <a:pt x="53419" y="1080154"/>
                                <a:pt x="67559" y="1125717"/>
                                <a:pt x="73058" y="1197204"/>
                              </a:cubicBezTo>
                              <a:cubicBezTo>
                                <a:pt x="78557" y="1268691"/>
                                <a:pt x="76201" y="1360602"/>
                                <a:pt x="82485" y="1437588"/>
                              </a:cubicBezTo>
                              <a:cubicBezTo>
                                <a:pt x="88769" y="1514574"/>
                                <a:pt x="93483" y="1596273"/>
                                <a:pt x="110765" y="1659118"/>
                              </a:cubicBezTo>
                              <a:cubicBezTo>
                                <a:pt x="128047" y="1721963"/>
                                <a:pt x="172040" y="1789522"/>
                                <a:pt x="186180" y="1814660"/>
                              </a:cubicBezTo>
                            </a:path>
                          </a:pathLst>
                        </a:custGeom>
                        <a:ln w="28575">
                          <a:solidFill>
                            <a:srgbClr val="0070C0"/>
                          </a:solidFill>
                        </a:ln>
                      </p:spPr>
                      <p:style>
                        <a:lnRef idx="1">
                          <a:schemeClr val="accent1"/>
                        </a:lnRef>
                        <a:fillRef idx="0">
                          <a:schemeClr val="accent1"/>
                        </a:fillRef>
                        <a:effectRef idx="0">
                          <a:schemeClr val="accent1"/>
                        </a:effectRef>
                        <a:fontRef idx="minor">
                          <a:schemeClr val="tx1"/>
                        </a:fontRef>
                      </p:style>
                      <p:txBody>
                        <a:bodyPr anchor="ctr"/>
                        <a:lstStyle/>
                        <a:p>
                          <a:pPr>
                            <a:defRPr/>
                          </a:pPr>
                          <a:endParaRPr lang="pt-BR"/>
                        </a:p>
                      </p:txBody>
                    </p:sp>
                    <p:sp>
                      <p:nvSpPr>
                        <p:cNvPr id="623" name="Freeform 550"/>
                        <p:cNvSpPr>
                          <a:spLocks noChangeArrowheads="1"/>
                        </p:cNvSpPr>
                        <p:nvPr/>
                      </p:nvSpPr>
                      <p:spPr bwMode="auto">
                        <a:xfrm>
                          <a:off x="6882938" y="4932218"/>
                          <a:ext cx="548640" cy="124691"/>
                        </a:xfrm>
                        <a:custGeom>
                          <a:avLst/>
                          <a:gdLst>
                            <a:gd name="T0" fmla="*/ 0 w 548640"/>
                            <a:gd name="T1" fmla="*/ 99753 h 124691"/>
                            <a:gd name="T2" fmla="*/ 155171 w 548640"/>
                            <a:gd name="T3" fmla="*/ 121920 h 124691"/>
                            <a:gd name="T4" fmla="*/ 304800 w 548640"/>
                            <a:gd name="T5" fmla="*/ 83127 h 124691"/>
                            <a:gd name="T6" fmla="*/ 459971 w 548640"/>
                            <a:gd name="T7" fmla="*/ 72044 h 124691"/>
                            <a:gd name="T8" fmla="*/ 548640 w 548640"/>
                            <a:gd name="T9" fmla="*/ 0 h 124691"/>
                            <a:gd name="T10" fmla="*/ 0 60000 65536"/>
                            <a:gd name="T11" fmla="*/ 0 60000 65536"/>
                            <a:gd name="T12" fmla="*/ 0 60000 65536"/>
                            <a:gd name="T13" fmla="*/ 0 60000 65536"/>
                            <a:gd name="T14" fmla="*/ 0 60000 65536"/>
                            <a:gd name="T15" fmla="*/ 0 w 548640"/>
                            <a:gd name="T16" fmla="*/ 0 h 124691"/>
                            <a:gd name="T17" fmla="*/ 548640 w 548640"/>
                            <a:gd name="T18" fmla="*/ 124691 h 124691"/>
                          </a:gdLst>
                          <a:ahLst/>
                          <a:cxnLst>
                            <a:cxn ang="T10">
                              <a:pos x="T0" y="T1"/>
                            </a:cxn>
                            <a:cxn ang="T11">
                              <a:pos x="T2" y="T3"/>
                            </a:cxn>
                            <a:cxn ang="T12">
                              <a:pos x="T4" y="T5"/>
                            </a:cxn>
                            <a:cxn ang="T13">
                              <a:pos x="T6" y="T7"/>
                            </a:cxn>
                            <a:cxn ang="T14">
                              <a:pos x="T8" y="T9"/>
                            </a:cxn>
                          </a:cxnLst>
                          <a:rect l="T15" t="T16" r="T17" b="T18"/>
                          <a:pathLst>
                            <a:path w="548640" h="124691">
                              <a:moveTo>
                                <a:pt x="0" y="99753"/>
                              </a:moveTo>
                              <a:cubicBezTo>
                                <a:pt x="52185" y="112222"/>
                                <a:pt x="104371" y="124691"/>
                                <a:pt x="155171" y="121920"/>
                              </a:cubicBezTo>
                              <a:cubicBezTo>
                                <a:pt x="205971" y="119149"/>
                                <a:pt x="254000" y="91440"/>
                                <a:pt x="304800" y="83127"/>
                              </a:cubicBezTo>
                              <a:cubicBezTo>
                                <a:pt x="355600" y="74814"/>
                                <a:pt x="419331" y="85898"/>
                                <a:pt x="459971" y="72044"/>
                              </a:cubicBezTo>
                              <a:cubicBezTo>
                                <a:pt x="500611" y="58190"/>
                                <a:pt x="536633" y="12931"/>
                                <a:pt x="548640" y="0"/>
                              </a:cubicBezTo>
                            </a:path>
                          </a:pathLst>
                        </a:custGeom>
                        <a:noFill/>
                        <a:ln w="28575">
                          <a:solidFill>
                            <a:srgbClr val="0070C0"/>
                          </a:solidFill>
                          <a:round/>
                          <a:headEnd/>
                          <a:tailEnd/>
                        </a:ln>
                      </p:spPr>
                      <p:txBody>
                        <a:bodyPr wrap="none" anchor="ctr"/>
                        <a:lstStyle/>
                        <a:p>
                          <a:endParaRPr lang="pt-BR"/>
                        </a:p>
                      </p:txBody>
                    </p:sp>
                  </p:grpSp>
                  <p:sp>
                    <p:nvSpPr>
                      <p:cNvPr id="616" name="Freeform 63"/>
                      <p:cNvSpPr>
                        <a:spLocks noChangeArrowheads="1"/>
                      </p:cNvSpPr>
                      <p:nvPr/>
                    </p:nvSpPr>
                    <p:spPr bwMode="auto">
                      <a:xfrm>
                        <a:off x="5502988" y="5838298"/>
                        <a:ext cx="646654" cy="30352"/>
                      </a:xfrm>
                      <a:custGeom>
                        <a:avLst/>
                        <a:gdLst>
                          <a:gd name="T0" fmla="*/ 2147483647 w 203"/>
                          <a:gd name="T1" fmla="*/ 2147483647 h 11"/>
                          <a:gd name="T2" fmla="*/ 2147483647 w 203"/>
                          <a:gd name="T3" fmla="*/ 2147483647 h 11"/>
                          <a:gd name="T4" fmla="*/ 0 w 203"/>
                          <a:gd name="T5" fmla="*/ 0 h 11"/>
                          <a:gd name="T6" fmla="*/ 0 60000 65536"/>
                          <a:gd name="T7" fmla="*/ 0 60000 65536"/>
                          <a:gd name="T8" fmla="*/ 0 60000 65536"/>
                          <a:gd name="T9" fmla="*/ 0 w 203"/>
                          <a:gd name="T10" fmla="*/ 0 h 11"/>
                          <a:gd name="T11" fmla="*/ 203 w 203"/>
                          <a:gd name="T12" fmla="*/ 11 h 11"/>
                        </a:gdLst>
                        <a:ahLst/>
                        <a:cxnLst>
                          <a:cxn ang="T6">
                            <a:pos x="T0" y="T1"/>
                          </a:cxn>
                          <a:cxn ang="T7">
                            <a:pos x="T2" y="T3"/>
                          </a:cxn>
                          <a:cxn ang="T8">
                            <a:pos x="T4" y="T5"/>
                          </a:cxn>
                        </a:cxnLst>
                        <a:rect l="T9" t="T10" r="T11" b="T12"/>
                        <a:pathLst>
                          <a:path w="203" h="11">
                            <a:moveTo>
                              <a:pt x="203" y="3"/>
                            </a:moveTo>
                            <a:cubicBezTo>
                              <a:pt x="194" y="6"/>
                              <a:pt x="167" y="11"/>
                              <a:pt x="133" y="11"/>
                            </a:cubicBezTo>
                            <a:cubicBezTo>
                              <a:pt x="99" y="11"/>
                              <a:pt x="28" y="2"/>
                              <a:pt x="0" y="0"/>
                            </a:cubicBezTo>
                          </a:path>
                        </a:pathLst>
                      </a:custGeom>
                      <a:noFill/>
                      <a:ln w="28575">
                        <a:solidFill>
                          <a:srgbClr val="0070C0"/>
                        </a:solidFill>
                        <a:round/>
                        <a:headEnd/>
                        <a:tailEnd/>
                      </a:ln>
                    </p:spPr>
                    <p:txBody>
                      <a:bodyPr wrap="none" anchor="ctr"/>
                      <a:lstStyle/>
                      <a:p>
                        <a:endParaRPr lang="pt-BR"/>
                      </a:p>
                    </p:txBody>
                  </p:sp>
                  <p:sp>
                    <p:nvSpPr>
                      <p:cNvPr id="617" name="Freeform 58"/>
                      <p:cNvSpPr>
                        <a:spLocks/>
                      </p:cNvSpPr>
                      <p:nvPr/>
                    </p:nvSpPr>
                    <p:spPr bwMode="auto">
                      <a:xfrm>
                        <a:off x="7751149" y="2923947"/>
                        <a:ext cx="308344" cy="236423"/>
                      </a:xfrm>
                      <a:custGeom>
                        <a:avLst/>
                        <a:gdLst>
                          <a:gd name="T0" fmla="*/ 223284 w 308344"/>
                          <a:gd name="T1" fmla="*/ 0 h 236423"/>
                          <a:gd name="T2" fmla="*/ 53163 w 308344"/>
                          <a:gd name="T3" fmla="*/ 10633 h 236423"/>
                          <a:gd name="T4" fmla="*/ 21265 w 308344"/>
                          <a:gd name="T5" fmla="*/ 21265 h 236423"/>
                          <a:gd name="T6" fmla="*/ 0 w 308344"/>
                          <a:gd name="T7" fmla="*/ 42531 h 236423"/>
                          <a:gd name="T8" fmla="*/ 10633 w 308344"/>
                          <a:gd name="T9" fmla="*/ 74428 h 236423"/>
                          <a:gd name="T10" fmla="*/ 138223 w 308344"/>
                          <a:gd name="T11" fmla="*/ 138224 h 236423"/>
                          <a:gd name="T12" fmla="*/ 170121 w 308344"/>
                          <a:gd name="T13" fmla="*/ 159489 h 236423"/>
                          <a:gd name="T14" fmla="*/ 180754 w 308344"/>
                          <a:gd name="T15" fmla="*/ 191386 h 236423"/>
                          <a:gd name="T16" fmla="*/ 212651 w 308344"/>
                          <a:gd name="T17" fmla="*/ 202019 h 236423"/>
                          <a:gd name="T18" fmla="*/ 276447 w 308344"/>
                          <a:gd name="T19" fmla="*/ 212651 h 236423"/>
                          <a:gd name="T20" fmla="*/ 308344 w 308344"/>
                          <a:gd name="T21" fmla="*/ 233917 h 2364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08344"/>
                          <a:gd name="T34" fmla="*/ 0 h 236423"/>
                          <a:gd name="T35" fmla="*/ 308344 w 308344"/>
                          <a:gd name="T36" fmla="*/ 236423 h 2364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08344" h="236423">
                            <a:moveTo>
                              <a:pt x="223284" y="0"/>
                            </a:moveTo>
                            <a:cubicBezTo>
                              <a:pt x="166577" y="3544"/>
                              <a:pt x="109668" y="4685"/>
                              <a:pt x="53163" y="10633"/>
                            </a:cubicBezTo>
                            <a:cubicBezTo>
                              <a:pt x="42017" y="11806"/>
                              <a:pt x="30876" y="15499"/>
                              <a:pt x="21265" y="21265"/>
                            </a:cubicBezTo>
                            <a:cubicBezTo>
                              <a:pt x="12669" y="26423"/>
                              <a:pt x="7088" y="35442"/>
                              <a:pt x="0" y="42531"/>
                            </a:cubicBezTo>
                            <a:cubicBezTo>
                              <a:pt x="3544" y="53163"/>
                              <a:pt x="2708" y="66503"/>
                              <a:pt x="10633" y="74428"/>
                            </a:cubicBezTo>
                            <a:cubicBezTo>
                              <a:pt x="51856" y="115650"/>
                              <a:pt x="86337" y="120928"/>
                              <a:pt x="138223" y="138224"/>
                            </a:cubicBezTo>
                            <a:cubicBezTo>
                              <a:pt x="150346" y="142265"/>
                              <a:pt x="159488" y="152401"/>
                              <a:pt x="170121" y="159489"/>
                            </a:cubicBezTo>
                            <a:cubicBezTo>
                              <a:pt x="173665" y="170121"/>
                              <a:pt x="172829" y="183461"/>
                              <a:pt x="180754" y="191386"/>
                            </a:cubicBezTo>
                            <a:cubicBezTo>
                              <a:pt x="188679" y="199311"/>
                              <a:pt x="201710" y="199588"/>
                              <a:pt x="212651" y="202019"/>
                            </a:cubicBezTo>
                            <a:cubicBezTo>
                              <a:pt x="233696" y="206696"/>
                              <a:pt x="255182" y="209107"/>
                              <a:pt x="276447" y="212651"/>
                            </a:cubicBezTo>
                            <a:cubicBezTo>
                              <a:pt x="300218" y="236423"/>
                              <a:pt x="287687" y="233917"/>
                              <a:pt x="308344" y="233917"/>
                            </a:cubicBezTo>
                          </a:path>
                        </a:pathLst>
                      </a:custGeom>
                      <a:solidFill>
                        <a:schemeClr val="bg1"/>
                      </a:solidFill>
                      <a:ln w="28575" cap="flat" cmpd="sng" algn="ctr">
                        <a:solidFill>
                          <a:schemeClr val="accent6"/>
                        </a:solidFill>
                        <a:prstDash val="solid"/>
                        <a:round/>
                        <a:headEnd type="none" w="med" len="med"/>
                        <a:tailEnd type="none" w="med" len="med"/>
                      </a:ln>
                    </p:spPr>
                    <p:txBody>
                      <a:bodyPr anchor="ctr"/>
                      <a:lstStyle/>
                      <a:p>
                        <a:endParaRPr lang="pt-BR"/>
                      </a:p>
                    </p:txBody>
                  </p:sp>
                  <p:sp>
                    <p:nvSpPr>
                      <p:cNvPr id="618" name="Text Box 135"/>
                      <p:cNvSpPr txBox="1">
                        <a:spLocks noChangeArrowheads="1"/>
                      </p:cNvSpPr>
                      <p:nvPr/>
                    </p:nvSpPr>
                    <p:spPr bwMode="auto">
                      <a:xfrm>
                        <a:off x="7323829" y="3029608"/>
                        <a:ext cx="424796" cy="113557"/>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dirty="0" err="1">
                            <a:solidFill>
                              <a:srgbClr val="000000"/>
                            </a:solidFill>
                            <a:latin typeface="Calibri" pitchFamily="34" charset="0"/>
                          </a:rPr>
                          <a:t>Petrolina</a:t>
                        </a:r>
                        <a:endParaRPr lang="en-GB" sz="900" dirty="0">
                          <a:solidFill>
                            <a:srgbClr val="000000"/>
                          </a:solidFill>
                          <a:latin typeface="Calibri" pitchFamily="34" charset="0"/>
                        </a:endParaRPr>
                      </a:p>
                    </p:txBody>
                  </p:sp>
                  <p:sp>
                    <p:nvSpPr>
                      <p:cNvPr id="619" name="Oval 618"/>
                      <p:cNvSpPr/>
                      <p:nvPr/>
                    </p:nvSpPr>
                    <p:spPr bwMode="auto">
                      <a:xfrm>
                        <a:off x="7670379" y="2939692"/>
                        <a:ext cx="79461" cy="77386"/>
                      </a:xfrm>
                      <a:prstGeom prst="ellipse">
                        <a:avLst/>
                      </a:prstGeom>
                      <a:solidFill>
                        <a:srgbClr val="FF0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sz="1000">
                          <a:solidFill>
                            <a:srgbClr val="5F5F5F"/>
                          </a:solidFill>
                        </a:endParaRPr>
                      </a:p>
                    </p:txBody>
                  </p:sp>
                  <p:sp>
                    <p:nvSpPr>
                      <p:cNvPr id="620" name="Oval 619"/>
                      <p:cNvSpPr/>
                      <p:nvPr/>
                    </p:nvSpPr>
                    <p:spPr bwMode="auto">
                      <a:xfrm>
                        <a:off x="5788740" y="5846409"/>
                        <a:ext cx="76090" cy="72163"/>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sz="1000">
                          <a:solidFill>
                            <a:srgbClr val="FFFFFF"/>
                          </a:solidFill>
                        </a:endParaRPr>
                      </a:p>
                    </p:txBody>
                  </p:sp>
                </p:grpSp>
                <p:sp>
                  <p:nvSpPr>
                    <p:cNvPr id="599" name="Freeform 36"/>
                    <p:cNvSpPr>
                      <a:spLocks/>
                    </p:cNvSpPr>
                    <p:nvPr/>
                  </p:nvSpPr>
                  <p:spPr bwMode="auto">
                    <a:xfrm>
                      <a:off x="5935484" y="5029571"/>
                      <a:ext cx="483191" cy="162648"/>
                    </a:xfrm>
                    <a:custGeom>
                      <a:avLst/>
                      <a:gdLst>
                        <a:gd name="T0" fmla="*/ 0 w 435935"/>
                        <a:gd name="T1" fmla="*/ 0 h 148855"/>
                        <a:gd name="T2" fmla="*/ 176530 w 435935"/>
                        <a:gd name="T3" fmla="*/ 45468 h 148855"/>
                        <a:gd name="T4" fmla="*/ 224673 w 435935"/>
                        <a:gd name="T5" fmla="*/ 60623 h 148855"/>
                        <a:gd name="T6" fmla="*/ 385156 w 435935"/>
                        <a:gd name="T7" fmla="*/ 30310 h 148855"/>
                        <a:gd name="T8" fmla="*/ 433301 w 435935"/>
                        <a:gd name="T9" fmla="*/ 0 h 148855"/>
                        <a:gd name="T10" fmla="*/ 481445 w 435935"/>
                        <a:gd name="T11" fmla="*/ 15154 h 148855"/>
                        <a:gd name="T12" fmla="*/ 497493 w 435935"/>
                        <a:gd name="T13" fmla="*/ 60623 h 148855"/>
                        <a:gd name="T14" fmla="*/ 561685 w 435935"/>
                        <a:gd name="T15" fmla="*/ 136402 h 148855"/>
                        <a:gd name="T16" fmla="*/ 593782 w 435935"/>
                        <a:gd name="T17" fmla="*/ 181869 h 148855"/>
                        <a:gd name="T18" fmla="*/ 641926 w 435935"/>
                        <a:gd name="T19" fmla="*/ 197025 h 148855"/>
                        <a:gd name="T20" fmla="*/ 657977 w 435935"/>
                        <a:gd name="T21" fmla="*/ 212180 h 1488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35935"/>
                        <a:gd name="T34" fmla="*/ 0 h 148855"/>
                        <a:gd name="T35" fmla="*/ 435935 w 435935"/>
                        <a:gd name="T36" fmla="*/ 148855 h 1488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35935" h="148855">
                          <a:moveTo>
                            <a:pt x="0" y="0"/>
                          </a:moveTo>
                          <a:cubicBezTo>
                            <a:pt x="75138" y="15027"/>
                            <a:pt x="36023" y="4918"/>
                            <a:pt x="116958" y="31897"/>
                          </a:cubicBezTo>
                          <a:lnTo>
                            <a:pt x="148855" y="42530"/>
                          </a:lnTo>
                          <a:cubicBezTo>
                            <a:pt x="176278" y="38612"/>
                            <a:pt x="225491" y="36110"/>
                            <a:pt x="255181" y="21265"/>
                          </a:cubicBezTo>
                          <a:cubicBezTo>
                            <a:pt x="266611" y="15550"/>
                            <a:pt x="276446" y="7088"/>
                            <a:pt x="287079" y="0"/>
                          </a:cubicBezTo>
                          <a:cubicBezTo>
                            <a:pt x="297711" y="3544"/>
                            <a:pt x="311051" y="2707"/>
                            <a:pt x="318976" y="10632"/>
                          </a:cubicBezTo>
                          <a:cubicBezTo>
                            <a:pt x="326901" y="18557"/>
                            <a:pt x="324597" y="32505"/>
                            <a:pt x="329609" y="42530"/>
                          </a:cubicBezTo>
                          <a:cubicBezTo>
                            <a:pt x="351424" y="86159"/>
                            <a:pt x="345769" y="62731"/>
                            <a:pt x="372139" y="95693"/>
                          </a:cubicBezTo>
                          <a:cubicBezTo>
                            <a:pt x="380122" y="105671"/>
                            <a:pt x="383426" y="119607"/>
                            <a:pt x="393404" y="127590"/>
                          </a:cubicBezTo>
                          <a:cubicBezTo>
                            <a:pt x="402156" y="134591"/>
                            <a:pt x="415277" y="133211"/>
                            <a:pt x="425302" y="138223"/>
                          </a:cubicBezTo>
                          <a:cubicBezTo>
                            <a:pt x="429785" y="140464"/>
                            <a:pt x="432391" y="145311"/>
                            <a:pt x="435935" y="148855"/>
                          </a:cubicBezTo>
                        </a:path>
                      </a:pathLst>
                    </a:custGeom>
                    <a:solidFill>
                      <a:schemeClr val="bg1"/>
                    </a:solidFill>
                    <a:ln w="28575" cap="flat" cmpd="sng" algn="ctr">
                      <a:solidFill>
                        <a:srgbClr val="7030A0"/>
                      </a:solidFill>
                      <a:prstDash val="solid"/>
                      <a:round/>
                      <a:headEnd type="none" w="med" len="med"/>
                      <a:tailEnd type="none" w="med" len="med"/>
                    </a:ln>
                  </p:spPr>
                  <p:txBody>
                    <a:bodyPr anchor="ctr"/>
                    <a:lstStyle/>
                    <a:p>
                      <a:endParaRPr lang="pt-BR"/>
                    </a:p>
                  </p:txBody>
                </p:sp>
                <p:sp>
                  <p:nvSpPr>
                    <p:cNvPr id="600" name="Oval 599"/>
                    <p:cNvSpPr/>
                    <p:nvPr/>
                  </p:nvSpPr>
                  <p:spPr bwMode="auto">
                    <a:xfrm>
                      <a:off x="6256532" y="4961472"/>
                      <a:ext cx="76405" cy="76025"/>
                    </a:xfrm>
                    <a:prstGeom prst="ellipse">
                      <a:avLst/>
                    </a:prstGeom>
                    <a:solidFill>
                      <a:srgbClr val="FF0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sz="1000">
                        <a:solidFill>
                          <a:srgbClr val="5F5F5F"/>
                        </a:solidFill>
                      </a:endParaRPr>
                    </a:p>
                  </p:txBody>
                </p:sp>
                <p:sp>
                  <p:nvSpPr>
                    <p:cNvPr id="601" name="Text Box 135"/>
                    <p:cNvSpPr txBox="1">
                      <a:spLocks noChangeArrowheads="1"/>
                    </p:cNvSpPr>
                    <p:nvPr/>
                  </p:nvSpPr>
                  <p:spPr bwMode="auto">
                    <a:xfrm>
                      <a:off x="5963859" y="4880004"/>
                      <a:ext cx="314189" cy="88358"/>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700">
                          <a:solidFill>
                            <a:srgbClr val="000000"/>
                          </a:solidFill>
                          <a:latin typeface="Calibri" pitchFamily="34" charset="0"/>
                        </a:rPr>
                        <a:t>Maringa</a:t>
                      </a:r>
                    </a:p>
                  </p:txBody>
                </p:sp>
                <p:sp>
                  <p:nvSpPr>
                    <p:cNvPr id="602" name="Freeform 39"/>
                    <p:cNvSpPr>
                      <a:spLocks/>
                    </p:cNvSpPr>
                    <p:nvPr/>
                  </p:nvSpPr>
                  <p:spPr bwMode="auto">
                    <a:xfrm>
                      <a:off x="4209299" y="3029829"/>
                      <a:ext cx="1091685" cy="540000"/>
                    </a:xfrm>
                    <a:custGeom>
                      <a:avLst/>
                      <a:gdLst>
                        <a:gd name="T0" fmla="*/ 1422634 w 999460"/>
                        <a:gd name="T1" fmla="*/ 601277 h 520995"/>
                        <a:gd name="T2" fmla="*/ 1392366 w 999460"/>
                        <a:gd name="T3" fmla="*/ 564464 h 520995"/>
                        <a:gd name="T4" fmla="*/ 1301559 w 999460"/>
                        <a:gd name="T5" fmla="*/ 527651 h 520995"/>
                        <a:gd name="T6" fmla="*/ 1256157 w 999460"/>
                        <a:gd name="T7" fmla="*/ 503109 h 520995"/>
                        <a:gd name="T8" fmla="*/ 665914 w 999460"/>
                        <a:gd name="T9" fmla="*/ 466296 h 520995"/>
                        <a:gd name="T10" fmla="*/ 575107 w 999460"/>
                        <a:gd name="T11" fmla="*/ 454026 h 520995"/>
                        <a:gd name="T12" fmla="*/ 484302 w 999460"/>
                        <a:gd name="T13" fmla="*/ 429483 h 520995"/>
                        <a:gd name="T14" fmla="*/ 454034 w 999460"/>
                        <a:gd name="T15" fmla="*/ 404941 h 520995"/>
                        <a:gd name="T16" fmla="*/ 438898 w 999460"/>
                        <a:gd name="T17" fmla="*/ 368129 h 520995"/>
                        <a:gd name="T18" fmla="*/ 393494 w 999460"/>
                        <a:gd name="T19" fmla="*/ 343587 h 520995"/>
                        <a:gd name="T20" fmla="*/ 363226 w 999460"/>
                        <a:gd name="T21" fmla="*/ 306775 h 520995"/>
                        <a:gd name="T22" fmla="*/ 272420 w 999460"/>
                        <a:gd name="T23" fmla="*/ 257690 h 520995"/>
                        <a:gd name="T24" fmla="*/ 242151 w 999460"/>
                        <a:gd name="T25" fmla="*/ 220877 h 520995"/>
                        <a:gd name="T26" fmla="*/ 151342 w 999460"/>
                        <a:gd name="T27" fmla="*/ 159522 h 520995"/>
                        <a:gd name="T28" fmla="*/ 90806 w 999460"/>
                        <a:gd name="T29" fmla="*/ 98167 h 520995"/>
                        <a:gd name="T30" fmla="*/ 75673 w 999460"/>
                        <a:gd name="T31" fmla="*/ 61354 h 520995"/>
                        <a:gd name="T32" fmla="*/ 30268 w 999460"/>
                        <a:gd name="T33" fmla="*/ 24542 h 520995"/>
                        <a:gd name="T34" fmla="*/ 0 w 999460"/>
                        <a:gd name="T35" fmla="*/ 0 h 52099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99460"/>
                        <a:gd name="T55" fmla="*/ 0 h 520995"/>
                        <a:gd name="T56" fmla="*/ 999460 w 999460"/>
                        <a:gd name="T57" fmla="*/ 520995 h 52099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99460" h="520995">
                          <a:moveTo>
                            <a:pt x="999460" y="520995"/>
                          </a:moveTo>
                          <a:cubicBezTo>
                            <a:pt x="992372" y="510363"/>
                            <a:pt x="987231" y="498134"/>
                            <a:pt x="978195" y="489098"/>
                          </a:cubicBezTo>
                          <a:cubicBezTo>
                            <a:pt x="947724" y="458627"/>
                            <a:pt x="948990" y="474495"/>
                            <a:pt x="914400" y="457200"/>
                          </a:cubicBezTo>
                          <a:cubicBezTo>
                            <a:pt x="902970" y="451485"/>
                            <a:pt x="894179" y="441125"/>
                            <a:pt x="882502" y="435935"/>
                          </a:cubicBezTo>
                          <a:cubicBezTo>
                            <a:pt x="754597" y="379089"/>
                            <a:pt x="596298" y="407930"/>
                            <a:pt x="467832" y="404037"/>
                          </a:cubicBezTo>
                          <a:cubicBezTo>
                            <a:pt x="446567" y="400493"/>
                            <a:pt x="424952" y="398634"/>
                            <a:pt x="404037" y="393405"/>
                          </a:cubicBezTo>
                          <a:cubicBezTo>
                            <a:pt x="382291" y="387969"/>
                            <a:pt x="340242" y="372140"/>
                            <a:pt x="340242" y="372140"/>
                          </a:cubicBezTo>
                          <a:cubicBezTo>
                            <a:pt x="333154" y="365051"/>
                            <a:pt x="324135" y="359470"/>
                            <a:pt x="318977" y="350874"/>
                          </a:cubicBezTo>
                          <a:cubicBezTo>
                            <a:pt x="313211" y="341264"/>
                            <a:pt x="315345" y="327729"/>
                            <a:pt x="308344" y="318977"/>
                          </a:cubicBezTo>
                          <a:cubicBezTo>
                            <a:pt x="300361" y="308999"/>
                            <a:pt x="287079" y="304800"/>
                            <a:pt x="276446" y="297712"/>
                          </a:cubicBezTo>
                          <a:cubicBezTo>
                            <a:pt x="269358" y="287079"/>
                            <a:pt x="264798" y="274229"/>
                            <a:pt x="255181" y="265814"/>
                          </a:cubicBezTo>
                          <a:cubicBezTo>
                            <a:pt x="235947" y="248984"/>
                            <a:pt x="191386" y="223284"/>
                            <a:pt x="191386" y="223284"/>
                          </a:cubicBezTo>
                          <a:cubicBezTo>
                            <a:pt x="184298" y="212651"/>
                            <a:pt x="179157" y="200422"/>
                            <a:pt x="170121" y="191386"/>
                          </a:cubicBezTo>
                          <a:cubicBezTo>
                            <a:pt x="86476" y="107741"/>
                            <a:pt x="193427" y="242745"/>
                            <a:pt x="106325" y="138223"/>
                          </a:cubicBezTo>
                          <a:cubicBezTo>
                            <a:pt x="39251" y="57734"/>
                            <a:pt x="125670" y="146938"/>
                            <a:pt x="63795" y="85060"/>
                          </a:cubicBezTo>
                          <a:cubicBezTo>
                            <a:pt x="60251" y="74428"/>
                            <a:pt x="59380" y="62488"/>
                            <a:pt x="53163" y="53163"/>
                          </a:cubicBezTo>
                          <a:cubicBezTo>
                            <a:pt x="44822" y="40652"/>
                            <a:pt x="31898" y="31898"/>
                            <a:pt x="21265" y="21265"/>
                          </a:cubicBezTo>
                          <a:lnTo>
                            <a:pt x="0" y="0"/>
                          </a:lnTo>
                        </a:path>
                      </a:pathLst>
                    </a:custGeom>
                    <a:noFill/>
                    <a:ln w="28575" cap="flat" cmpd="sng" algn="ctr">
                      <a:solidFill>
                        <a:srgbClr val="7030A0"/>
                      </a:solidFill>
                      <a:prstDash val="solid"/>
                      <a:round/>
                      <a:headEnd type="none" w="med" len="med"/>
                      <a:tailEnd type="none" w="med" len="med"/>
                    </a:ln>
                  </p:spPr>
                  <p:txBody>
                    <a:bodyPr anchor="ctr"/>
                    <a:lstStyle/>
                    <a:p>
                      <a:endParaRPr lang="pt-BR"/>
                    </a:p>
                  </p:txBody>
                </p:sp>
                <p:sp>
                  <p:nvSpPr>
                    <p:cNvPr id="603" name="Freeform 41"/>
                    <p:cNvSpPr>
                      <a:spLocks/>
                    </p:cNvSpPr>
                    <p:nvPr/>
                  </p:nvSpPr>
                  <p:spPr bwMode="auto">
                    <a:xfrm>
                      <a:off x="6848294" y="4351666"/>
                      <a:ext cx="192442" cy="594334"/>
                    </a:xfrm>
                    <a:custGeom>
                      <a:avLst/>
                      <a:gdLst>
                        <a:gd name="T0" fmla="*/ 93779 w 244549"/>
                        <a:gd name="T1" fmla="*/ 0 h 533018"/>
                        <a:gd name="T2" fmla="*/ 89701 w 244549"/>
                        <a:gd name="T3" fmla="*/ 98616 h 533018"/>
                        <a:gd name="T4" fmla="*/ 81546 w 244549"/>
                        <a:gd name="T5" fmla="*/ 197231 h 533018"/>
                        <a:gd name="T6" fmla="*/ 77468 w 244549"/>
                        <a:gd name="T7" fmla="*/ 394462 h 533018"/>
                        <a:gd name="T8" fmla="*/ 73392 w 244549"/>
                        <a:gd name="T9" fmla="*/ 443767 h 533018"/>
                        <a:gd name="T10" fmla="*/ 61159 w 244549"/>
                        <a:gd name="T11" fmla="*/ 460204 h 533018"/>
                        <a:gd name="T12" fmla="*/ 48928 w 244549"/>
                        <a:gd name="T13" fmla="*/ 493076 h 533018"/>
                        <a:gd name="T14" fmla="*/ 44850 w 244549"/>
                        <a:gd name="T15" fmla="*/ 542384 h 533018"/>
                        <a:gd name="T16" fmla="*/ 32619 w 244549"/>
                        <a:gd name="T17" fmla="*/ 575256 h 533018"/>
                        <a:gd name="T18" fmla="*/ 24464 w 244549"/>
                        <a:gd name="T19" fmla="*/ 624564 h 533018"/>
                        <a:gd name="T20" fmla="*/ 8154 w 244549"/>
                        <a:gd name="T21" fmla="*/ 821793 h 533018"/>
                        <a:gd name="T22" fmla="*/ 0 w 244549"/>
                        <a:gd name="T23" fmla="*/ 821793 h 5330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44549"/>
                        <a:gd name="T37" fmla="*/ 0 h 533018"/>
                        <a:gd name="T38" fmla="*/ 244549 w 244549"/>
                        <a:gd name="T39" fmla="*/ 533018 h 5330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44549" h="533018">
                          <a:moveTo>
                            <a:pt x="244549" y="0"/>
                          </a:moveTo>
                          <a:cubicBezTo>
                            <a:pt x="241005" y="21265"/>
                            <a:pt x="239145" y="42881"/>
                            <a:pt x="233916" y="63796"/>
                          </a:cubicBezTo>
                          <a:cubicBezTo>
                            <a:pt x="228479" y="85542"/>
                            <a:pt x="212651" y="127591"/>
                            <a:pt x="212651" y="127591"/>
                          </a:cubicBezTo>
                          <a:cubicBezTo>
                            <a:pt x="209107" y="170121"/>
                            <a:pt x="207658" y="212879"/>
                            <a:pt x="202018" y="255182"/>
                          </a:cubicBezTo>
                          <a:cubicBezTo>
                            <a:pt x="200537" y="266291"/>
                            <a:pt x="199311" y="279154"/>
                            <a:pt x="191386" y="287079"/>
                          </a:cubicBezTo>
                          <a:cubicBezTo>
                            <a:pt x="183461" y="295004"/>
                            <a:pt x="169513" y="292700"/>
                            <a:pt x="159488" y="297712"/>
                          </a:cubicBezTo>
                          <a:cubicBezTo>
                            <a:pt x="148059" y="303427"/>
                            <a:pt x="138223" y="311889"/>
                            <a:pt x="127591" y="318977"/>
                          </a:cubicBezTo>
                          <a:cubicBezTo>
                            <a:pt x="124047" y="329610"/>
                            <a:pt x="123960" y="342123"/>
                            <a:pt x="116958" y="350875"/>
                          </a:cubicBezTo>
                          <a:cubicBezTo>
                            <a:pt x="108975" y="360854"/>
                            <a:pt x="94096" y="363104"/>
                            <a:pt x="85060" y="372140"/>
                          </a:cubicBezTo>
                          <a:cubicBezTo>
                            <a:pt x="76024" y="381176"/>
                            <a:pt x="70883" y="393405"/>
                            <a:pt x="63795" y="404038"/>
                          </a:cubicBezTo>
                          <a:cubicBezTo>
                            <a:pt x="55125" y="499414"/>
                            <a:pt x="89449" y="517992"/>
                            <a:pt x="21265" y="531628"/>
                          </a:cubicBezTo>
                          <a:cubicBezTo>
                            <a:pt x="14314" y="533018"/>
                            <a:pt x="7088" y="531628"/>
                            <a:pt x="0" y="531628"/>
                          </a:cubicBezTo>
                        </a:path>
                      </a:pathLst>
                    </a:custGeom>
                    <a:solidFill>
                      <a:schemeClr val="bg1"/>
                    </a:solidFill>
                    <a:ln w="28575" cap="flat" cmpd="sng" algn="ctr">
                      <a:solidFill>
                        <a:srgbClr val="00B050"/>
                      </a:solidFill>
                      <a:prstDash val="solid"/>
                      <a:round/>
                      <a:headEnd type="none" w="med" len="med"/>
                      <a:tailEnd type="none" w="med" len="med"/>
                    </a:ln>
                  </p:spPr>
                  <p:txBody>
                    <a:bodyPr anchor="ctr"/>
                    <a:lstStyle/>
                    <a:p>
                      <a:endParaRPr lang="pt-BR"/>
                    </a:p>
                  </p:txBody>
                </p:sp>
                <p:sp>
                  <p:nvSpPr>
                    <p:cNvPr id="604" name="Freeform 603"/>
                    <p:cNvSpPr/>
                    <p:nvPr/>
                  </p:nvSpPr>
                  <p:spPr>
                    <a:xfrm>
                      <a:off x="6507122" y="1945165"/>
                      <a:ext cx="1433005" cy="536742"/>
                    </a:xfrm>
                    <a:custGeom>
                      <a:avLst/>
                      <a:gdLst>
                        <a:gd name="connsiteX0" fmla="*/ 0 w 1432560"/>
                        <a:gd name="connsiteY0" fmla="*/ 29210 h 537210"/>
                        <a:gd name="connsiteX1" fmla="*/ 152400 w 1432560"/>
                        <a:gd name="connsiteY1" fmla="*/ 36830 h 537210"/>
                        <a:gd name="connsiteX2" fmla="*/ 365760 w 1432560"/>
                        <a:gd name="connsiteY2" fmla="*/ 250190 h 537210"/>
                        <a:gd name="connsiteX3" fmla="*/ 495300 w 1432560"/>
                        <a:gd name="connsiteY3" fmla="*/ 356870 h 537210"/>
                        <a:gd name="connsiteX4" fmla="*/ 632460 w 1432560"/>
                        <a:gd name="connsiteY4" fmla="*/ 356870 h 537210"/>
                        <a:gd name="connsiteX5" fmla="*/ 830580 w 1432560"/>
                        <a:gd name="connsiteY5" fmla="*/ 532130 h 537210"/>
                        <a:gd name="connsiteX6" fmla="*/ 1051560 w 1432560"/>
                        <a:gd name="connsiteY6" fmla="*/ 387350 h 537210"/>
                        <a:gd name="connsiteX7" fmla="*/ 1295400 w 1432560"/>
                        <a:gd name="connsiteY7" fmla="*/ 219710 h 537210"/>
                        <a:gd name="connsiteX8" fmla="*/ 1432560 w 1432560"/>
                        <a:gd name="connsiteY8" fmla="*/ 280670 h 537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2560" h="537210">
                          <a:moveTo>
                            <a:pt x="0" y="29210"/>
                          </a:moveTo>
                          <a:cubicBezTo>
                            <a:pt x="45720" y="14605"/>
                            <a:pt x="91440" y="0"/>
                            <a:pt x="152400" y="36830"/>
                          </a:cubicBezTo>
                          <a:cubicBezTo>
                            <a:pt x="213360" y="73660"/>
                            <a:pt x="308610" y="196850"/>
                            <a:pt x="365760" y="250190"/>
                          </a:cubicBezTo>
                          <a:cubicBezTo>
                            <a:pt x="422910" y="303530"/>
                            <a:pt x="450850" y="339090"/>
                            <a:pt x="495300" y="356870"/>
                          </a:cubicBezTo>
                          <a:cubicBezTo>
                            <a:pt x="539750" y="374650"/>
                            <a:pt x="576580" y="327660"/>
                            <a:pt x="632460" y="356870"/>
                          </a:cubicBezTo>
                          <a:cubicBezTo>
                            <a:pt x="688340" y="386080"/>
                            <a:pt x="760730" y="527050"/>
                            <a:pt x="830580" y="532130"/>
                          </a:cubicBezTo>
                          <a:cubicBezTo>
                            <a:pt x="900430" y="537210"/>
                            <a:pt x="974090" y="439420"/>
                            <a:pt x="1051560" y="387350"/>
                          </a:cubicBezTo>
                          <a:cubicBezTo>
                            <a:pt x="1129030" y="335280"/>
                            <a:pt x="1231900" y="237490"/>
                            <a:pt x="1295400" y="219710"/>
                          </a:cubicBezTo>
                          <a:cubicBezTo>
                            <a:pt x="1358900" y="201930"/>
                            <a:pt x="1427480" y="295910"/>
                            <a:pt x="1432560" y="280670"/>
                          </a:cubicBezTo>
                        </a:path>
                      </a:pathLst>
                    </a:custGeom>
                    <a:ln w="28575">
                      <a:solidFill>
                        <a:srgbClr val="00B050"/>
                      </a:solidFill>
                    </a:ln>
                  </p:spPr>
                  <p:style>
                    <a:lnRef idx="1">
                      <a:schemeClr val="accent1"/>
                    </a:lnRef>
                    <a:fillRef idx="0">
                      <a:schemeClr val="accent1"/>
                    </a:fillRef>
                    <a:effectRef idx="0">
                      <a:schemeClr val="accent1"/>
                    </a:effectRef>
                    <a:fontRef idx="minor">
                      <a:schemeClr val="tx1"/>
                    </a:fontRef>
                  </p:style>
                  <p:txBody>
                    <a:bodyPr anchor="ctr"/>
                    <a:lstStyle/>
                    <a:p>
                      <a:pPr>
                        <a:defRPr/>
                      </a:pPr>
                      <a:endParaRPr lang="pt-BR"/>
                    </a:p>
                  </p:txBody>
                </p:sp>
                <p:sp>
                  <p:nvSpPr>
                    <p:cNvPr id="605" name="Freeform 604"/>
                    <p:cNvSpPr/>
                    <p:nvPr/>
                  </p:nvSpPr>
                  <p:spPr>
                    <a:xfrm>
                      <a:off x="6896817" y="2073343"/>
                      <a:ext cx="169074" cy="152211"/>
                    </a:xfrm>
                    <a:custGeom>
                      <a:avLst/>
                      <a:gdLst>
                        <a:gd name="connsiteX0" fmla="*/ 144780 w 168910"/>
                        <a:gd name="connsiteY0" fmla="*/ 0 h 152400"/>
                        <a:gd name="connsiteX1" fmla="*/ 144780 w 168910"/>
                        <a:gd name="connsiteY1" fmla="*/ 76200 h 152400"/>
                        <a:gd name="connsiteX2" fmla="*/ 0 w 168910"/>
                        <a:gd name="connsiteY2" fmla="*/ 152400 h 152400"/>
                      </a:gdLst>
                      <a:ahLst/>
                      <a:cxnLst>
                        <a:cxn ang="0">
                          <a:pos x="connsiteX0" y="connsiteY0"/>
                        </a:cxn>
                        <a:cxn ang="0">
                          <a:pos x="connsiteX1" y="connsiteY1"/>
                        </a:cxn>
                        <a:cxn ang="0">
                          <a:pos x="connsiteX2" y="connsiteY2"/>
                        </a:cxn>
                      </a:cxnLst>
                      <a:rect l="l" t="t" r="r" b="b"/>
                      <a:pathLst>
                        <a:path w="168910" h="152400">
                          <a:moveTo>
                            <a:pt x="144780" y="0"/>
                          </a:moveTo>
                          <a:cubicBezTo>
                            <a:pt x="156845" y="25400"/>
                            <a:pt x="168910" y="50800"/>
                            <a:pt x="144780" y="76200"/>
                          </a:cubicBezTo>
                          <a:cubicBezTo>
                            <a:pt x="120650" y="101600"/>
                            <a:pt x="25400" y="140970"/>
                            <a:pt x="0" y="152400"/>
                          </a:cubicBezTo>
                        </a:path>
                      </a:pathLst>
                    </a:custGeom>
                    <a:ln w="28575">
                      <a:solidFill>
                        <a:srgbClr val="00B050"/>
                      </a:solidFill>
                    </a:ln>
                  </p:spPr>
                  <p:style>
                    <a:lnRef idx="1">
                      <a:schemeClr val="accent1"/>
                    </a:lnRef>
                    <a:fillRef idx="0">
                      <a:schemeClr val="accent1"/>
                    </a:fillRef>
                    <a:effectRef idx="0">
                      <a:schemeClr val="accent1"/>
                    </a:effectRef>
                    <a:fontRef idx="minor">
                      <a:schemeClr val="tx1"/>
                    </a:fontRef>
                  </p:style>
                  <p:txBody>
                    <a:bodyPr anchor="ctr"/>
                    <a:lstStyle/>
                    <a:p>
                      <a:pPr>
                        <a:defRPr/>
                      </a:pPr>
                      <a:endParaRPr lang="pt-BR"/>
                    </a:p>
                  </p:txBody>
                </p:sp>
                <p:sp>
                  <p:nvSpPr>
                    <p:cNvPr id="606" name="Freeform 605"/>
                    <p:cNvSpPr/>
                    <p:nvPr/>
                  </p:nvSpPr>
                  <p:spPr>
                    <a:xfrm>
                      <a:off x="5540103" y="3909883"/>
                      <a:ext cx="175259" cy="700970"/>
                    </a:xfrm>
                    <a:custGeom>
                      <a:avLst/>
                      <a:gdLst>
                        <a:gd name="connsiteX0" fmla="*/ 74930 w 173990"/>
                        <a:gd name="connsiteY0" fmla="*/ 701040 h 701040"/>
                        <a:gd name="connsiteX1" fmla="*/ 6350 w 173990"/>
                        <a:gd name="connsiteY1" fmla="*/ 441960 h 701040"/>
                        <a:gd name="connsiteX2" fmla="*/ 113030 w 173990"/>
                        <a:gd name="connsiteY2" fmla="*/ 304800 h 701040"/>
                        <a:gd name="connsiteX3" fmla="*/ 120650 w 173990"/>
                        <a:gd name="connsiteY3" fmla="*/ 68580 h 701040"/>
                        <a:gd name="connsiteX4" fmla="*/ 173990 w 173990"/>
                        <a:gd name="connsiteY4" fmla="*/ 0 h 701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90" h="701040">
                          <a:moveTo>
                            <a:pt x="74930" y="701040"/>
                          </a:moveTo>
                          <a:cubicBezTo>
                            <a:pt x="37465" y="604520"/>
                            <a:pt x="0" y="508000"/>
                            <a:pt x="6350" y="441960"/>
                          </a:cubicBezTo>
                          <a:cubicBezTo>
                            <a:pt x="12700" y="375920"/>
                            <a:pt x="93980" y="367030"/>
                            <a:pt x="113030" y="304800"/>
                          </a:cubicBezTo>
                          <a:cubicBezTo>
                            <a:pt x="132080" y="242570"/>
                            <a:pt x="110490" y="119380"/>
                            <a:pt x="120650" y="68580"/>
                          </a:cubicBezTo>
                          <a:cubicBezTo>
                            <a:pt x="130810" y="17780"/>
                            <a:pt x="152400" y="8890"/>
                            <a:pt x="173990" y="0"/>
                          </a:cubicBezTo>
                        </a:path>
                      </a:pathLst>
                    </a:custGeom>
                    <a:ln w="28575">
                      <a:solidFill>
                        <a:srgbClr val="FFC000"/>
                      </a:solidFill>
                    </a:ln>
                  </p:spPr>
                  <p:style>
                    <a:lnRef idx="1">
                      <a:schemeClr val="accent1"/>
                    </a:lnRef>
                    <a:fillRef idx="0">
                      <a:schemeClr val="accent1"/>
                    </a:fillRef>
                    <a:effectRef idx="0">
                      <a:schemeClr val="accent1"/>
                    </a:effectRef>
                    <a:fontRef idx="minor">
                      <a:schemeClr val="tx1"/>
                    </a:fontRef>
                  </p:style>
                  <p:txBody>
                    <a:bodyPr anchor="ctr"/>
                    <a:lstStyle/>
                    <a:p>
                      <a:pPr>
                        <a:defRPr/>
                      </a:pPr>
                      <a:endParaRPr lang="pt-BR"/>
                    </a:p>
                  </p:txBody>
                </p:sp>
                <p:sp>
                  <p:nvSpPr>
                    <p:cNvPr id="607" name="Freeform 606"/>
                    <p:cNvSpPr/>
                    <p:nvPr/>
                  </p:nvSpPr>
                  <p:spPr>
                    <a:xfrm>
                      <a:off x="5333915" y="3597451"/>
                      <a:ext cx="373199" cy="280388"/>
                    </a:xfrm>
                    <a:custGeom>
                      <a:avLst/>
                      <a:gdLst>
                        <a:gd name="connsiteX0" fmla="*/ 373380 w 373380"/>
                        <a:gd name="connsiteY0" fmla="*/ 281940 h 281940"/>
                        <a:gd name="connsiteX1" fmla="*/ 152400 w 373380"/>
                        <a:gd name="connsiteY1" fmla="*/ 106680 h 281940"/>
                        <a:gd name="connsiteX2" fmla="*/ 0 w 373380"/>
                        <a:gd name="connsiteY2" fmla="*/ 0 h 281940"/>
                      </a:gdLst>
                      <a:ahLst/>
                      <a:cxnLst>
                        <a:cxn ang="0">
                          <a:pos x="connsiteX0" y="connsiteY0"/>
                        </a:cxn>
                        <a:cxn ang="0">
                          <a:pos x="connsiteX1" y="connsiteY1"/>
                        </a:cxn>
                        <a:cxn ang="0">
                          <a:pos x="connsiteX2" y="connsiteY2"/>
                        </a:cxn>
                      </a:cxnLst>
                      <a:rect l="l" t="t" r="r" b="b"/>
                      <a:pathLst>
                        <a:path w="373380" h="281940">
                          <a:moveTo>
                            <a:pt x="373380" y="281940"/>
                          </a:moveTo>
                          <a:cubicBezTo>
                            <a:pt x="294005" y="217805"/>
                            <a:pt x="214630" y="153670"/>
                            <a:pt x="152400" y="106680"/>
                          </a:cubicBezTo>
                          <a:cubicBezTo>
                            <a:pt x="90170" y="59690"/>
                            <a:pt x="19050" y="20320"/>
                            <a:pt x="0" y="0"/>
                          </a:cubicBezTo>
                        </a:path>
                      </a:pathLst>
                    </a:custGeom>
                    <a:noFill/>
                    <a:ln w="28575">
                      <a:solidFill>
                        <a:srgbClr val="FFC000"/>
                      </a:solidFill>
                    </a:ln>
                  </p:spPr>
                  <p:style>
                    <a:lnRef idx="1">
                      <a:schemeClr val="accent1"/>
                    </a:lnRef>
                    <a:fillRef idx="0">
                      <a:schemeClr val="accent1"/>
                    </a:fillRef>
                    <a:effectRef idx="0">
                      <a:schemeClr val="accent1"/>
                    </a:effectRef>
                    <a:fontRef idx="minor">
                      <a:schemeClr val="tx1"/>
                    </a:fontRef>
                  </p:style>
                  <p:txBody>
                    <a:bodyPr anchor="ctr"/>
                    <a:lstStyle/>
                    <a:p>
                      <a:pPr>
                        <a:defRPr/>
                      </a:pPr>
                      <a:endParaRPr lang="pt-BR"/>
                    </a:p>
                  </p:txBody>
                </p:sp>
                <p:sp>
                  <p:nvSpPr>
                    <p:cNvPr id="608" name="Freeform 607"/>
                    <p:cNvSpPr/>
                    <p:nvPr/>
                  </p:nvSpPr>
                  <p:spPr>
                    <a:xfrm>
                      <a:off x="5874127" y="5059473"/>
                      <a:ext cx="527840" cy="258357"/>
                    </a:xfrm>
                    <a:custGeom>
                      <a:avLst/>
                      <a:gdLst>
                        <a:gd name="connsiteX0" fmla="*/ 46990 w 580390"/>
                        <a:gd name="connsiteY0" fmla="*/ 0 h 228600"/>
                        <a:gd name="connsiteX1" fmla="*/ 24130 w 580390"/>
                        <a:gd name="connsiteY1" fmla="*/ 68580 h 228600"/>
                        <a:gd name="connsiteX2" fmla="*/ 39370 w 580390"/>
                        <a:gd name="connsiteY2" fmla="*/ 167640 h 228600"/>
                        <a:gd name="connsiteX3" fmla="*/ 260350 w 580390"/>
                        <a:gd name="connsiteY3" fmla="*/ 228600 h 228600"/>
                        <a:gd name="connsiteX4" fmla="*/ 580390 w 580390"/>
                        <a:gd name="connsiteY4" fmla="*/ 16764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0390" h="228600">
                          <a:moveTo>
                            <a:pt x="46990" y="0"/>
                          </a:moveTo>
                          <a:cubicBezTo>
                            <a:pt x="36195" y="20320"/>
                            <a:pt x="25400" y="40640"/>
                            <a:pt x="24130" y="68580"/>
                          </a:cubicBezTo>
                          <a:cubicBezTo>
                            <a:pt x="22860" y="96520"/>
                            <a:pt x="0" y="140970"/>
                            <a:pt x="39370" y="167640"/>
                          </a:cubicBezTo>
                          <a:cubicBezTo>
                            <a:pt x="78740" y="194310"/>
                            <a:pt x="170180" y="228600"/>
                            <a:pt x="260350" y="228600"/>
                          </a:cubicBezTo>
                          <a:cubicBezTo>
                            <a:pt x="350520" y="228600"/>
                            <a:pt x="580390" y="167640"/>
                            <a:pt x="580390" y="167640"/>
                          </a:cubicBezTo>
                        </a:path>
                      </a:pathLst>
                    </a:custGeom>
                    <a:ln w="28575">
                      <a:solidFill>
                        <a:srgbClr val="7030A0"/>
                      </a:solidFill>
                    </a:ln>
                  </p:spPr>
                  <p:style>
                    <a:lnRef idx="1">
                      <a:schemeClr val="accent1"/>
                    </a:lnRef>
                    <a:fillRef idx="0">
                      <a:schemeClr val="accent1"/>
                    </a:fillRef>
                    <a:effectRef idx="0">
                      <a:schemeClr val="accent1"/>
                    </a:effectRef>
                    <a:fontRef idx="minor">
                      <a:schemeClr val="tx1"/>
                    </a:fontRef>
                  </p:style>
                  <p:txBody>
                    <a:bodyPr anchor="ctr"/>
                    <a:lstStyle/>
                    <a:p>
                      <a:pPr>
                        <a:defRPr/>
                      </a:pPr>
                      <a:endParaRPr lang="pt-BR"/>
                    </a:p>
                  </p:txBody>
                </p:sp>
                <p:sp>
                  <p:nvSpPr>
                    <p:cNvPr id="609" name="Freeform 608"/>
                    <p:cNvSpPr/>
                    <p:nvPr/>
                  </p:nvSpPr>
                  <p:spPr>
                    <a:xfrm>
                      <a:off x="5768970" y="5235717"/>
                      <a:ext cx="152579" cy="44061"/>
                    </a:xfrm>
                    <a:custGeom>
                      <a:avLst/>
                      <a:gdLst>
                        <a:gd name="connsiteX0" fmla="*/ 152400 w 152400"/>
                        <a:gd name="connsiteY0" fmla="*/ 0 h 45720"/>
                        <a:gd name="connsiteX1" fmla="*/ 0 w 152400"/>
                        <a:gd name="connsiteY1" fmla="*/ 45720 h 45720"/>
                      </a:gdLst>
                      <a:ahLst/>
                      <a:cxnLst>
                        <a:cxn ang="0">
                          <a:pos x="connsiteX0" y="connsiteY0"/>
                        </a:cxn>
                        <a:cxn ang="0">
                          <a:pos x="connsiteX1" y="connsiteY1"/>
                        </a:cxn>
                      </a:cxnLst>
                      <a:rect l="l" t="t" r="r" b="b"/>
                      <a:pathLst>
                        <a:path w="152400" h="45720">
                          <a:moveTo>
                            <a:pt x="152400" y="0"/>
                          </a:moveTo>
                          <a:lnTo>
                            <a:pt x="0" y="45720"/>
                          </a:lnTo>
                        </a:path>
                      </a:pathLst>
                    </a:custGeom>
                    <a:ln w="28575">
                      <a:solidFill>
                        <a:schemeClr val="accent2"/>
                      </a:solidFill>
                    </a:ln>
                  </p:spPr>
                  <p:style>
                    <a:lnRef idx="1">
                      <a:schemeClr val="accent1"/>
                    </a:lnRef>
                    <a:fillRef idx="0">
                      <a:schemeClr val="accent1"/>
                    </a:fillRef>
                    <a:effectRef idx="0">
                      <a:schemeClr val="accent1"/>
                    </a:effectRef>
                    <a:fontRef idx="minor">
                      <a:schemeClr val="tx1"/>
                    </a:fontRef>
                  </p:style>
                  <p:txBody>
                    <a:bodyPr anchor="ctr"/>
                    <a:lstStyle/>
                    <a:p>
                      <a:pPr>
                        <a:defRPr/>
                      </a:pPr>
                      <a:endParaRPr lang="pt-BR"/>
                    </a:p>
                  </p:txBody>
                </p:sp>
                <p:sp>
                  <p:nvSpPr>
                    <p:cNvPr id="610" name="Oval 609"/>
                    <p:cNvSpPr/>
                    <p:nvPr/>
                  </p:nvSpPr>
                  <p:spPr bwMode="auto">
                    <a:xfrm>
                      <a:off x="5889314" y="5207330"/>
                      <a:ext cx="81917" cy="76836"/>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p>
                  </p:txBody>
                </p:sp>
                <p:sp>
                  <p:nvSpPr>
                    <p:cNvPr id="611" name="Oval 610"/>
                    <p:cNvSpPr/>
                    <p:nvPr/>
                  </p:nvSpPr>
                  <p:spPr bwMode="auto">
                    <a:xfrm>
                      <a:off x="5738818" y="5250510"/>
                      <a:ext cx="81917" cy="76836"/>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p>
                  </p:txBody>
                </p:sp>
                <p:sp>
                  <p:nvSpPr>
                    <p:cNvPr id="612" name="Oval 611"/>
                    <p:cNvSpPr/>
                    <p:nvPr/>
                  </p:nvSpPr>
                  <p:spPr bwMode="auto">
                    <a:xfrm>
                      <a:off x="5292053" y="3547262"/>
                      <a:ext cx="83894" cy="80932"/>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613" name="Oval 612"/>
                    <p:cNvSpPr/>
                    <p:nvPr/>
                  </p:nvSpPr>
                  <p:spPr bwMode="auto">
                    <a:xfrm>
                      <a:off x="6051239" y="5311470"/>
                      <a:ext cx="81917" cy="76836"/>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p>
                  </p:txBody>
                </p:sp>
                <p:sp>
                  <p:nvSpPr>
                    <p:cNvPr id="614" name="Oval 613"/>
                    <p:cNvSpPr/>
                    <p:nvPr/>
                  </p:nvSpPr>
                  <p:spPr bwMode="auto">
                    <a:xfrm>
                      <a:off x="5396833" y="2176044"/>
                      <a:ext cx="83087" cy="81051"/>
                    </a:xfrm>
                    <a:prstGeom prst="ellipse">
                      <a:avLst/>
                    </a:prstGeom>
                    <a:solidFill>
                      <a:srgbClr val="FF0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grpSp>
              <p:sp>
                <p:nvSpPr>
                  <p:cNvPr id="596" name="Freeform 595"/>
                  <p:cNvSpPr/>
                  <p:nvPr/>
                </p:nvSpPr>
                <p:spPr>
                  <a:xfrm>
                    <a:off x="4625274" y="2256943"/>
                    <a:ext cx="1975278" cy="152211"/>
                  </a:xfrm>
                  <a:custGeom>
                    <a:avLst/>
                    <a:gdLst>
                      <a:gd name="connsiteX0" fmla="*/ 0 w 2047875"/>
                      <a:gd name="connsiteY0" fmla="*/ 200025 h 200025"/>
                      <a:gd name="connsiteX1" fmla="*/ 352425 w 2047875"/>
                      <a:gd name="connsiteY1" fmla="*/ 85725 h 200025"/>
                      <a:gd name="connsiteX2" fmla="*/ 676275 w 2047875"/>
                      <a:gd name="connsiteY2" fmla="*/ 19050 h 200025"/>
                      <a:gd name="connsiteX3" fmla="*/ 1019175 w 2047875"/>
                      <a:gd name="connsiteY3" fmla="*/ 28575 h 200025"/>
                      <a:gd name="connsiteX4" fmla="*/ 1495425 w 2047875"/>
                      <a:gd name="connsiteY4" fmla="*/ 190500 h 200025"/>
                      <a:gd name="connsiteX5" fmla="*/ 1704975 w 2047875"/>
                      <a:gd name="connsiteY5" fmla="*/ 57150 h 200025"/>
                      <a:gd name="connsiteX6" fmla="*/ 2047875 w 2047875"/>
                      <a:gd name="connsiteY6" fmla="*/ 9525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47875" h="200025">
                        <a:moveTo>
                          <a:pt x="0" y="200025"/>
                        </a:moveTo>
                        <a:cubicBezTo>
                          <a:pt x="119856" y="157956"/>
                          <a:pt x="239713" y="115887"/>
                          <a:pt x="352425" y="85725"/>
                        </a:cubicBezTo>
                        <a:cubicBezTo>
                          <a:pt x="465137" y="55563"/>
                          <a:pt x="565150" y="28575"/>
                          <a:pt x="676275" y="19050"/>
                        </a:cubicBezTo>
                        <a:cubicBezTo>
                          <a:pt x="787400" y="9525"/>
                          <a:pt x="882650" y="0"/>
                          <a:pt x="1019175" y="28575"/>
                        </a:cubicBezTo>
                        <a:cubicBezTo>
                          <a:pt x="1155700" y="57150"/>
                          <a:pt x="1381125" y="185737"/>
                          <a:pt x="1495425" y="190500"/>
                        </a:cubicBezTo>
                        <a:cubicBezTo>
                          <a:pt x="1609725" y="195263"/>
                          <a:pt x="1612900" y="73025"/>
                          <a:pt x="1704975" y="57150"/>
                        </a:cubicBezTo>
                        <a:cubicBezTo>
                          <a:pt x="1797050" y="41275"/>
                          <a:pt x="1990725" y="93663"/>
                          <a:pt x="2047875" y="95250"/>
                        </a:cubicBezTo>
                      </a:path>
                    </a:pathLst>
                  </a:custGeom>
                  <a:noFill/>
                  <a:ln w="28575">
                    <a:solidFill>
                      <a:srgbClr val="00B050"/>
                    </a:solidFill>
                  </a:ln>
                </p:spPr>
                <p:style>
                  <a:lnRef idx="1">
                    <a:schemeClr val="accent1"/>
                  </a:lnRef>
                  <a:fillRef idx="0">
                    <a:schemeClr val="accent1"/>
                  </a:fillRef>
                  <a:effectRef idx="0">
                    <a:schemeClr val="accent1"/>
                  </a:effectRef>
                  <a:fontRef idx="minor">
                    <a:schemeClr val="tx1"/>
                  </a:fontRef>
                </p:style>
                <p:txBody>
                  <a:bodyPr anchor="ctr"/>
                  <a:lstStyle/>
                  <a:p>
                    <a:pPr>
                      <a:defRPr/>
                    </a:pPr>
                    <a:endParaRPr lang="pt-BR"/>
                  </a:p>
                </p:txBody>
              </p:sp>
              <p:sp>
                <p:nvSpPr>
                  <p:cNvPr id="597" name="Oval 596"/>
                  <p:cNvSpPr/>
                  <p:nvPr/>
                </p:nvSpPr>
                <p:spPr bwMode="auto">
                  <a:xfrm>
                    <a:off x="5531905" y="2233604"/>
                    <a:ext cx="83087" cy="81051"/>
                  </a:xfrm>
                  <a:prstGeom prst="ellipse">
                    <a:avLst/>
                  </a:prstGeom>
                  <a:solidFill>
                    <a:srgbClr val="FF0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grpSp>
            <p:sp>
              <p:nvSpPr>
                <p:cNvPr id="594" name="Freeform 593"/>
                <p:cNvSpPr/>
                <p:nvPr/>
              </p:nvSpPr>
              <p:spPr>
                <a:xfrm>
                  <a:off x="7588499" y="4723814"/>
                  <a:ext cx="694852" cy="206285"/>
                </a:xfrm>
                <a:custGeom>
                  <a:avLst/>
                  <a:gdLst>
                    <a:gd name="connsiteX0" fmla="*/ 0 w 696036"/>
                    <a:gd name="connsiteY0" fmla="*/ 0 h 204717"/>
                    <a:gd name="connsiteX1" fmla="*/ 354842 w 696036"/>
                    <a:gd name="connsiteY1" fmla="*/ 163773 h 204717"/>
                    <a:gd name="connsiteX2" fmla="*/ 696036 w 696036"/>
                    <a:gd name="connsiteY2" fmla="*/ 204717 h 204717"/>
                  </a:gdLst>
                  <a:ahLst/>
                  <a:cxnLst>
                    <a:cxn ang="0">
                      <a:pos x="connsiteX0" y="connsiteY0"/>
                    </a:cxn>
                    <a:cxn ang="0">
                      <a:pos x="connsiteX1" y="connsiteY1"/>
                    </a:cxn>
                    <a:cxn ang="0">
                      <a:pos x="connsiteX2" y="connsiteY2"/>
                    </a:cxn>
                  </a:cxnLst>
                  <a:rect l="l" t="t" r="r" b="b"/>
                  <a:pathLst>
                    <a:path w="696036" h="204717">
                      <a:moveTo>
                        <a:pt x="0" y="0"/>
                      </a:moveTo>
                      <a:cubicBezTo>
                        <a:pt x="119418" y="64827"/>
                        <a:pt x="238836" y="129654"/>
                        <a:pt x="354842" y="163773"/>
                      </a:cubicBezTo>
                      <a:cubicBezTo>
                        <a:pt x="470848" y="197892"/>
                        <a:pt x="583442" y="201304"/>
                        <a:pt x="696036" y="204717"/>
                      </a:cubicBezTo>
                    </a:path>
                  </a:pathLst>
                </a:custGeom>
                <a:ln w="28575">
                  <a:solidFill>
                    <a:srgbClr val="7030A0"/>
                  </a:solidFill>
                </a:ln>
              </p:spPr>
              <p:style>
                <a:lnRef idx="1">
                  <a:schemeClr val="accent1"/>
                </a:lnRef>
                <a:fillRef idx="0">
                  <a:schemeClr val="accent1"/>
                </a:fillRef>
                <a:effectRef idx="0">
                  <a:schemeClr val="accent1"/>
                </a:effectRef>
                <a:fontRef idx="minor">
                  <a:schemeClr val="tx1"/>
                </a:fontRef>
              </p:style>
              <p:txBody>
                <a:bodyPr anchor="ctr"/>
                <a:lstStyle/>
                <a:p>
                  <a:pPr>
                    <a:defRPr/>
                  </a:pPr>
                  <a:endParaRPr lang="pt-BR"/>
                </a:p>
              </p:txBody>
            </p:sp>
          </p:grpSp>
          <p:sp>
            <p:nvSpPr>
              <p:cNvPr id="576" name="Freeform 575"/>
              <p:cNvSpPr/>
              <p:nvPr/>
            </p:nvSpPr>
            <p:spPr bwMode="auto">
              <a:xfrm>
                <a:off x="6769461" y="2679724"/>
                <a:ext cx="300786" cy="203200"/>
              </a:xfrm>
              <a:custGeom>
                <a:avLst/>
                <a:gdLst>
                  <a:gd name="connsiteX0" fmla="*/ 21386 w 300786"/>
                  <a:gd name="connsiteY0" fmla="*/ 203200 h 203200"/>
                  <a:gd name="connsiteX1" fmla="*/ 21386 w 300786"/>
                  <a:gd name="connsiteY1" fmla="*/ 57150 h 203200"/>
                  <a:gd name="connsiteX2" fmla="*/ 243636 w 300786"/>
                  <a:gd name="connsiteY2" fmla="*/ 44450 h 203200"/>
                  <a:gd name="connsiteX3" fmla="*/ 300786 w 300786"/>
                  <a:gd name="connsiteY3" fmla="*/ 0 h 203200"/>
                </a:gdLst>
                <a:ahLst/>
                <a:cxnLst>
                  <a:cxn ang="0">
                    <a:pos x="connsiteX0" y="connsiteY0"/>
                  </a:cxn>
                  <a:cxn ang="0">
                    <a:pos x="connsiteX1" y="connsiteY1"/>
                  </a:cxn>
                  <a:cxn ang="0">
                    <a:pos x="connsiteX2" y="connsiteY2"/>
                  </a:cxn>
                  <a:cxn ang="0">
                    <a:pos x="connsiteX3" y="connsiteY3"/>
                  </a:cxn>
                </a:cxnLst>
                <a:rect l="l" t="t" r="r" b="b"/>
                <a:pathLst>
                  <a:path w="300786" h="203200">
                    <a:moveTo>
                      <a:pt x="21386" y="203200"/>
                    </a:moveTo>
                    <a:cubicBezTo>
                      <a:pt x="2865" y="143404"/>
                      <a:pt x="-15656" y="83608"/>
                      <a:pt x="21386" y="57150"/>
                    </a:cubicBezTo>
                    <a:cubicBezTo>
                      <a:pt x="58428" y="30692"/>
                      <a:pt x="197069" y="53975"/>
                      <a:pt x="243636" y="44450"/>
                    </a:cubicBezTo>
                    <a:cubicBezTo>
                      <a:pt x="290203" y="34925"/>
                      <a:pt x="295494" y="17462"/>
                      <a:pt x="300786" y="0"/>
                    </a:cubicBezTo>
                  </a:path>
                </a:pathLst>
              </a:custGeom>
              <a:noFill/>
              <a:ln w="38100"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pt-BR" sz="1400" b="0" i="0" u="none" strike="noStrike" cap="none" normalizeH="0" baseline="0" smtClean="0">
                  <a:ln>
                    <a:noFill/>
                  </a:ln>
                  <a:solidFill>
                    <a:schemeClr val="tx2"/>
                  </a:solidFill>
                  <a:effectLst/>
                  <a:latin typeface="Tahoma" pitchFamily="34" charset="0"/>
                </a:endParaRPr>
              </a:p>
            </p:txBody>
          </p:sp>
          <p:sp>
            <p:nvSpPr>
              <p:cNvPr id="577" name="Freeform 576"/>
              <p:cNvSpPr/>
              <p:nvPr/>
            </p:nvSpPr>
            <p:spPr bwMode="auto">
              <a:xfrm>
                <a:off x="7070247" y="2438424"/>
                <a:ext cx="203200" cy="247650"/>
              </a:xfrm>
              <a:custGeom>
                <a:avLst/>
                <a:gdLst>
                  <a:gd name="connsiteX0" fmla="*/ 0 w 203200"/>
                  <a:gd name="connsiteY0" fmla="*/ 247650 h 247650"/>
                  <a:gd name="connsiteX1" fmla="*/ 82550 w 203200"/>
                  <a:gd name="connsiteY1" fmla="*/ 133350 h 247650"/>
                  <a:gd name="connsiteX2" fmla="*/ 203200 w 203200"/>
                  <a:gd name="connsiteY2" fmla="*/ 0 h 247650"/>
                </a:gdLst>
                <a:ahLst/>
                <a:cxnLst>
                  <a:cxn ang="0">
                    <a:pos x="connsiteX0" y="connsiteY0"/>
                  </a:cxn>
                  <a:cxn ang="0">
                    <a:pos x="connsiteX1" y="connsiteY1"/>
                  </a:cxn>
                  <a:cxn ang="0">
                    <a:pos x="connsiteX2" y="connsiteY2"/>
                  </a:cxn>
                </a:cxnLst>
                <a:rect l="l" t="t" r="r" b="b"/>
                <a:pathLst>
                  <a:path w="203200" h="247650">
                    <a:moveTo>
                      <a:pt x="0" y="247650"/>
                    </a:moveTo>
                    <a:cubicBezTo>
                      <a:pt x="24341" y="211137"/>
                      <a:pt x="48683" y="174625"/>
                      <a:pt x="82550" y="133350"/>
                    </a:cubicBezTo>
                    <a:cubicBezTo>
                      <a:pt x="116417" y="92075"/>
                      <a:pt x="203200" y="0"/>
                      <a:pt x="203200" y="0"/>
                    </a:cubicBezTo>
                  </a:path>
                </a:pathLst>
              </a:custGeom>
              <a:noFill/>
              <a:ln w="38100"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pt-BR" sz="1400" b="0" i="0" u="none" strike="noStrike" cap="none" normalizeH="0" baseline="0" smtClean="0">
                  <a:ln>
                    <a:noFill/>
                  </a:ln>
                  <a:solidFill>
                    <a:schemeClr val="tx2"/>
                  </a:solidFill>
                  <a:effectLst/>
                  <a:latin typeface="Tahoma" pitchFamily="34" charset="0"/>
                </a:endParaRPr>
              </a:p>
            </p:txBody>
          </p:sp>
          <p:sp>
            <p:nvSpPr>
              <p:cNvPr id="578" name="Freeform 577"/>
              <p:cNvSpPr/>
              <p:nvPr/>
            </p:nvSpPr>
            <p:spPr bwMode="auto">
              <a:xfrm>
                <a:off x="7654447" y="2696497"/>
                <a:ext cx="165100" cy="72127"/>
              </a:xfrm>
              <a:custGeom>
                <a:avLst/>
                <a:gdLst>
                  <a:gd name="connsiteX0" fmla="*/ 0 w 165100"/>
                  <a:gd name="connsiteY0" fmla="*/ 2277 h 72127"/>
                  <a:gd name="connsiteX1" fmla="*/ 76200 w 165100"/>
                  <a:gd name="connsiteY1" fmla="*/ 8627 h 72127"/>
                  <a:gd name="connsiteX2" fmla="*/ 165100 w 165100"/>
                  <a:gd name="connsiteY2" fmla="*/ 72127 h 72127"/>
                </a:gdLst>
                <a:ahLst/>
                <a:cxnLst>
                  <a:cxn ang="0">
                    <a:pos x="connsiteX0" y="connsiteY0"/>
                  </a:cxn>
                  <a:cxn ang="0">
                    <a:pos x="connsiteX1" y="connsiteY1"/>
                  </a:cxn>
                  <a:cxn ang="0">
                    <a:pos x="connsiteX2" y="connsiteY2"/>
                  </a:cxn>
                </a:cxnLst>
                <a:rect l="l" t="t" r="r" b="b"/>
                <a:pathLst>
                  <a:path w="165100" h="72127">
                    <a:moveTo>
                      <a:pt x="0" y="2277"/>
                    </a:moveTo>
                    <a:cubicBezTo>
                      <a:pt x="24341" y="-369"/>
                      <a:pt x="48683" y="-3015"/>
                      <a:pt x="76200" y="8627"/>
                    </a:cubicBezTo>
                    <a:cubicBezTo>
                      <a:pt x="103717" y="20269"/>
                      <a:pt x="134408" y="46198"/>
                      <a:pt x="165100" y="72127"/>
                    </a:cubicBezTo>
                  </a:path>
                </a:pathLst>
              </a:custGeom>
              <a:noFill/>
              <a:ln w="38100"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pt-BR" sz="1400" b="0" i="0" u="none" strike="noStrike" cap="none" normalizeH="0" baseline="0" smtClean="0">
                  <a:ln>
                    <a:noFill/>
                  </a:ln>
                  <a:solidFill>
                    <a:schemeClr val="tx2"/>
                  </a:solidFill>
                  <a:effectLst/>
                  <a:latin typeface="Tahoma" pitchFamily="34" charset="0"/>
                </a:endParaRPr>
              </a:p>
            </p:txBody>
          </p:sp>
          <p:sp>
            <p:nvSpPr>
              <p:cNvPr id="579" name="Freeform 578"/>
              <p:cNvSpPr/>
              <p:nvPr/>
            </p:nvSpPr>
            <p:spPr bwMode="auto">
              <a:xfrm>
                <a:off x="8583135" y="3467551"/>
                <a:ext cx="190500" cy="31324"/>
              </a:xfrm>
              <a:custGeom>
                <a:avLst/>
                <a:gdLst>
                  <a:gd name="connsiteX0" fmla="*/ 0 w 190500"/>
                  <a:gd name="connsiteY0" fmla="*/ 31324 h 31324"/>
                  <a:gd name="connsiteX1" fmla="*/ 61912 w 190500"/>
                  <a:gd name="connsiteY1" fmla="*/ 2749 h 31324"/>
                  <a:gd name="connsiteX2" fmla="*/ 190500 w 190500"/>
                  <a:gd name="connsiteY2" fmla="*/ 2749 h 31324"/>
                </a:gdLst>
                <a:ahLst/>
                <a:cxnLst>
                  <a:cxn ang="0">
                    <a:pos x="connsiteX0" y="connsiteY0"/>
                  </a:cxn>
                  <a:cxn ang="0">
                    <a:pos x="connsiteX1" y="connsiteY1"/>
                  </a:cxn>
                  <a:cxn ang="0">
                    <a:pos x="connsiteX2" y="connsiteY2"/>
                  </a:cxn>
                </a:cxnLst>
                <a:rect l="l" t="t" r="r" b="b"/>
                <a:pathLst>
                  <a:path w="190500" h="31324">
                    <a:moveTo>
                      <a:pt x="0" y="31324"/>
                    </a:moveTo>
                    <a:cubicBezTo>
                      <a:pt x="15081" y="19417"/>
                      <a:pt x="30162" y="7511"/>
                      <a:pt x="61912" y="2749"/>
                    </a:cubicBezTo>
                    <a:cubicBezTo>
                      <a:pt x="93662" y="-2013"/>
                      <a:pt x="142081" y="368"/>
                      <a:pt x="190500" y="2749"/>
                    </a:cubicBezTo>
                  </a:path>
                </a:pathLst>
              </a:custGeom>
              <a:noFill/>
              <a:ln w="38100" cap="flat" cmpd="sng" algn="ctr">
                <a:solidFill>
                  <a:srgbClr val="7030A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pt-BR" sz="1400" b="0" i="0" u="none" strike="noStrike" cap="none" normalizeH="0" baseline="0" smtClean="0">
                  <a:ln>
                    <a:noFill/>
                  </a:ln>
                  <a:solidFill>
                    <a:schemeClr val="tx2"/>
                  </a:solidFill>
                  <a:effectLst/>
                  <a:latin typeface="Tahoma" pitchFamily="34" charset="0"/>
                </a:endParaRPr>
              </a:p>
            </p:txBody>
          </p:sp>
          <p:sp>
            <p:nvSpPr>
              <p:cNvPr id="580" name="Freeform 579"/>
              <p:cNvSpPr/>
              <p:nvPr/>
            </p:nvSpPr>
            <p:spPr bwMode="auto">
              <a:xfrm>
                <a:off x="7399177" y="5472454"/>
                <a:ext cx="160020" cy="15240"/>
              </a:xfrm>
              <a:custGeom>
                <a:avLst/>
                <a:gdLst>
                  <a:gd name="connsiteX0" fmla="*/ 160020 w 160020"/>
                  <a:gd name="connsiteY0" fmla="*/ 0 h 15240"/>
                  <a:gd name="connsiteX1" fmla="*/ 0 w 160020"/>
                  <a:gd name="connsiteY1" fmla="*/ 15240 h 15240"/>
                </a:gdLst>
                <a:ahLst/>
                <a:cxnLst>
                  <a:cxn ang="0">
                    <a:pos x="connsiteX0" y="connsiteY0"/>
                  </a:cxn>
                  <a:cxn ang="0">
                    <a:pos x="connsiteX1" y="connsiteY1"/>
                  </a:cxn>
                </a:cxnLst>
                <a:rect l="l" t="t" r="r" b="b"/>
                <a:pathLst>
                  <a:path w="160020" h="15240">
                    <a:moveTo>
                      <a:pt x="160020" y="0"/>
                    </a:moveTo>
                    <a:lnTo>
                      <a:pt x="0" y="15240"/>
                    </a:lnTo>
                  </a:path>
                </a:pathLst>
              </a:cu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pt-BR" sz="1400" b="0" i="0" u="none" strike="noStrike" cap="none" normalizeH="0" baseline="0" smtClean="0">
                  <a:ln>
                    <a:noFill/>
                  </a:ln>
                  <a:solidFill>
                    <a:schemeClr val="tx2"/>
                  </a:solidFill>
                  <a:effectLst/>
                  <a:latin typeface="Tahoma" pitchFamily="34" charset="0"/>
                </a:endParaRPr>
              </a:p>
            </p:txBody>
          </p:sp>
          <p:sp>
            <p:nvSpPr>
              <p:cNvPr id="581" name="Freeform 580"/>
              <p:cNvSpPr/>
              <p:nvPr/>
            </p:nvSpPr>
            <p:spPr bwMode="auto">
              <a:xfrm>
                <a:off x="7207246" y="5467562"/>
                <a:ext cx="232275" cy="271592"/>
              </a:xfrm>
              <a:custGeom>
                <a:avLst/>
                <a:gdLst>
                  <a:gd name="connsiteX0" fmla="*/ 214791 w 232275"/>
                  <a:gd name="connsiteY0" fmla="*/ 65852 h 271592"/>
                  <a:gd name="connsiteX1" fmla="*/ 24291 w 232275"/>
                  <a:gd name="connsiteY1" fmla="*/ 4892 h 271592"/>
                  <a:gd name="connsiteX2" fmla="*/ 24291 w 232275"/>
                  <a:gd name="connsiteY2" fmla="*/ 180152 h 271592"/>
                  <a:gd name="connsiteX3" fmla="*/ 222411 w 232275"/>
                  <a:gd name="connsiteY3" fmla="*/ 187772 h 271592"/>
                  <a:gd name="connsiteX4" fmla="*/ 184311 w 232275"/>
                  <a:gd name="connsiteY4" fmla="*/ 271592 h 271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275" h="271592">
                    <a:moveTo>
                      <a:pt x="214791" y="65852"/>
                    </a:moveTo>
                    <a:cubicBezTo>
                      <a:pt x="135416" y="25847"/>
                      <a:pt x="56041" y="-14158"/>
                      <a:pt x="24291" y="4892"/>
                    </a:cubicBezTo>
                    <a:cubicBezTo>
                      <a:pt x="-7459" y="23942"/>
                      <a:pt x="-8729" y="149672"/>
                      <a:pt x="24291" y="180152"/>
                    </a:cubicBezTo>
                    <a:cubicBezTo>
                      <a:pt x="57311" y="210632"/>
                      <a:pt x="195741" y="172532"/>
                      <a:pt x="222411" y="187772"/>
                    </a:cubicBezTo>
                    <a:cubicBezTo>
                      <a:pt x="249081" y="203012"/>
                      <a:pt x="216696" y="237302"/>
                      <a:pt x="184311" y="271592"/>
                    </a:cubicBezTo>
                  </a:path>
                </a:pathLst>
              </a:custGeom>
              <a:noFill/>
              <a:ln w="38100" cap="flat" cmpd="sng" algn="ctr">
                <a:solidFill>
                  <a:srgbClr val="7030A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pt-BR" sz="1400" b="0" i="0" u="none" strike="noStrike" cap="none" normalizeH="0" baseline="0" smtClean="0">
                  <a:ln>
                    <a:noFill/>
                  </a:ln>
                  <a:solidFill>
                    <a:schemeClr val="tx2"/>
                  </a:solidFill>
                  <a:effectLst/>
                  <a:latin typeface="Tahoma" pitchFamily="34" charset="0"/>
                </a:endParaRPr>
              </a:p>
            </p:txBody>
          </p:sp>
          <p:sp>
            <p:nvSpPr>
              <p:cNvPr id="582" name="Oval 581"/>
              <p:cNvSpPr/>
              <p:nvPr/>
            </p:nvSpPr>
            <p:spPr bwMode="auto">
              <a:xfrm>
                <a:off x="7200461" y="5436899"/>
                <a:ext cx="63070" cy="60904"/>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p>
            </p:txBody>
          </p:sp>
          <p:sp>
            <p:nvSpPr>
              <p:cNvPr id="583" name="Oval 582"/>
              <p:cNvSpPr/>
              <p:nvPr/>
            </p:nvSpPr>
            <p:spPr bwMode="auto">
              <a:xfrm>
                <a:off x="7371926" y="5495929"/>
                <a:ext cx="66530" cy="62634"/>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584" name="Oval 583"/>
              <p:cNvSpPr/>
              <p:nvPr/>
            </p:nvSpPr>
            <p:spPr bwMode="auto">
              <a:xfrm>
                <a:off x="7981943" y="4776689"/>
                <a:ext cx="63971" cy="62717"/>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585" name="Oval 584"/>
              <p:cNvSpPr/>
              <p:nvPr/>
            </p:nvSpPr>
            <p:spPr bwMode="auto">
              <a:xfrm>
                <a:off x="7927497" y="4891285"/>
                <a:ext cx="63971" cy="62717"/>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586" name="Oval 585"/>
              <p:cNvSpPr/>
              <p:nvPr/>
            </p:nvSpPr>
            <p:spPr bwMode="auto">
              <a:xfrm>
                <a:off x="7831577" y="4783273"/>
                <a:ext cx="63971" cy="62717"/>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587" name="Freeform 586"/>
              <p:cNvSpPr/>
              <p:nvPr/>
            </p:nvSpPr>
            <p:spPr bwMode="auto">
              <a:xfrm>
                <a:off x="8595041" y="3265512"/>
                <a:ext cx="97631" cy="19050"/>
              </a:xfrm>
              <a:custGeom>
                <a:avLst/>
                <a:gdLst>
                  <a:gd name="connsiteX0" fmla="*/ 0 w 97631"/>
                  <a:gd name="connsiteY0" fmla="*/ 19050 h 19050"/>
                  <a:gd name="connsiteX1" fmla="*/ 97631 w 97631"/>
                  <a:gd name="connsiteY1" fmla="*/ 0 h 19050"/>
                </a:gdLst>
                <a:ahLst/>
                <a:cxnLst>
                  <a:cxn ang="0">
                    <a:pos x="connsiteX0" y="connsiteY0"/>
                  </a:cxn>
                  <a:cxn ang="0">
                    <a:pos x="connsiteX1" y="connsiteY1"/>
                  </a:cxn>
                </a:cxnLst>
                <a:rect l="l" t="t" r="r" b="b"/>
                <a:pathLst>
                  <a:path w="97631" h="19050">
                    <a:moveTo>
                      <a:pt x="0" y="19050"/>
                    </a:moveTo>
                    <a:lnTo>
                      <a:pt x="97631" y="0"/>
                    </a:lnTo>
                  </a:path>
                </a:pathLst>
              </a:custGeom>
              <a:noFill/>
              <a:ln w="38100"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pt-BR" sz="1400" b="0" i="0" u="none" strike="noStrike" cap="none" normalizeH="0" baseline="0" smtClean="0">
                  <a:ln>
                    <a:noFill/>
                  </a:ln>
                  <a:solidFill>
                    <a:schemeClr val="tx2"/>
                  </a:solidFill>
                  <a:effectLst/>
                  <a:latin typeface="Tahoma" pitchFamily="34" charset="0"/>
                </a:endParaRPr>
              </a:p>
            </p:txBody>
          </p:sp>
          <p:sp>
            <p:nvSpPr>
              <p:cNvPr id="588" name="Oval 587"/>
              <p:cNvSpPr/>
              <p:nvPr/>
            </p:nvSpPr>
            <p:spPr bwMode="auto">
              <a:xfrm>
                <a:off x="7615553" y="3623521"/>
                <a:ext cx="66530" cy="63757"/>
              </a:xfrm>
              <a:prstGeom prst="ellipse">
                <a:avLst/>
              </a:prstGeom>
              <a:solidFill>
                <a:srgbClr val="FF0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589" name="Oval 588"/>
              <p:cNvSpPr/>
              <p:nvPr/>
            </p:nvSpPr>
            <p:spPr bwMode="auto">
              <a:xfrm>
                <a:off x="8582696" y="4165626"/>
                <a:ext cx="64592" cy="63490"/>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590" name="Oval 589"/>
              <p:cNvSpPr/>
              <p:nvPr/>
            </p:nvSpPr>
            <p:spPr bwMode="auto">
              <a:xfrm>
                <a:off x="7592008" y="3077859"/>
                <a:ext cx="64592" cy="64151"/>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591" name="Oval 590"/>
              <p:cNvSpPr/>
              <p:nvPr/>
            </p:nvSpPr>
            <p:spPr bwMode="auto">
              <a:xfrm>
                <a:off x="8242905" y="3084759"/>
                <a:ext cx="64592" cy="64151"/>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592" name="Oval 591"/>
              <p:cNvSpPr/>
              <p:nvPr/>
            </p:nvSpPr>
            <p:spPr bwMode="auto">
              <a:xfrm>
                <a:off x="8554110" y="3252161"/>
                <a:ext cx="64592" cy="64151"/>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grpSp>
        <p:sp>
          <p:nvSpPr>
            <p:cNvPr id="574" name="Freeform 573"/>
            <p:cNvSpPr/>
            <p:nvPr/>
          </p:nvSpPr>
          <p:spPr>
            <a:xfrm>
              <a:off x="7145867" y="5395536"/>
              <a:ext cx="112183" cy="167064"/>
            </a:xfrm>
            <a:custGeom>
              <a:avLst/>
              <a:gdLst>
                <a:gd name="connsiteX0" fmla="*/ 112183 w 112183"/>
                <a:gd name="connsiteY0" fmla="*/ 14664 h 167064"/>
                <a:gd name="connsiteX1" fmla="*/ 7408 w 112183"/>
                <a:gd name="connsiteY1" fmla="*/ 14664 h 167064"/>
                <a:gd name="connsiteX2" fmla="*/ 16933 w 112183"/>
                <a:gd name="connsiteY2" fmla="*/ 167064 h 167064"/>
              </a:gdLst>
              <a:ahLst/>
              <a:cxnLst>
                <a:cxn ang="0">
                  <a:pos x="connsiteX0" y="connsiteY0"/>
                </a:cxn>
                <a:cxn ang="0">
                  <a:pos x="connsiteX1" y="connsiteY1"/>
                </a:cxn>
                <a:cxn ang="0">
                  <a:pos x="connsiteX2" y="connsiteY2"/>
                </a:cxn>
              </a:cxnLst>
              <a:rect l="l" t="t" r="r" b="b"/>
              <a:pathLst>
                <a:path w="112183" h="167064">
                  <a:moveTo>
                    <a:pt x="112183" y="14664"/>
                  </a:moveTo>
                  <a:cubicBezTo>
                    <a:pt x="67733" y="1964"/>
                    <a:pt x="23283" y="-10736"/>
                    <a:pt x="7408" y="14664"/>
                  </a:cubicBezTo>
                  <a:cubicBezTo>
                    <a:pt x="-8467" y="40064"/>
                    <a:pt x="4233" y="103564"/>
                    <a:pt x="16933" y="167064"/>
                  </a:cubicBezTo>
                </a:path>
              </a:pathLst>
            </a:custGeom>
            <a:noFill/>
            <a:ln w="381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sp>
        <p:nvSpPr>
          <p:cNvPr id="778" name="Rounded Rectangle 379"/>
          <p:cNvSpPr>
            <a:spLocks noChangeArrowheads="1"/>
          </p:cNvSpPr>
          <p:nvPr/>
        </p:nvSpPr>
        <p:spPr bwMode="auto">
          <a:xfrm>
            <a:off x="473646" y="3485008"/>
            <a:ext cx="4845050" cy="1711287"/>
          </a:xfrm>
          <a:prstGeom prst="roundRect">
            <a:avLst>
              <a:gd name="adj" fmla="val 3081"/>
            </a:avLst>
          </a:prstGeom>
          <a:solidFill>
            <a:schemeClr val="bg1">
              <a:lumMod val="95000"/>
            </a:schemeClr>
          </a:solidFill>
          <a:ln w="9525" algn="ctr">
            <a:noFill/>
            <a:round/>
            <a:headEnd/>
            <a:tailEnd/>
          </a:ln>
        </p:spPr>
        <p:txBody>
          <a:bodyPr wrap="none" lIns="0" tIns="0" rIns="0" bIns="0" anchor="ctr"/>
          <a:lstStyle/>
          <a:p>
            <a:pPr defTabSz="873125" eaLnBrk="0" hangingPunct="0">
              <a:defRPr/>
            </a:pPr>
            <a:endParaRPr lang="pt-BR" sz="900" b="0" dirty="0">
              <a:latin typeface="Calibri" pitchFamily="34" charset="0"/>
            </a:endParaRPr>
          </a:p>
        </p:txBody>
      </p:sp>
      <p:cxnSp>
        <p:nvCxnSpPr>
          <p:cNvPr id="779" name="Straight Connector 234"/>
          <p:cNvCxnSpPr/>
          <p:nvPr/>
        </p:nvCxnSpPr>
        <p:spPr>
          <a:xfrm>
            <a:off x="699071" y="3967076"/>
            <a:ext cx="323850" cy="1588"/>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780" name="Straight Connector 235"/>
          <p:cNvCxnSpPr/>
          <p:nvPr/>
        </p:nvCxnSpPr>
        <p:spPr>
          <a:xfrm>
            <a:off x="699071" y="4215990"/>
            <a:ext cx="323850" cy="1587"/>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781" name="Straight Connector 236"/>
          <p:cNvCxnSpPr/>
          <p:nvPr/>
        </p:nvCxnSpPr>
        <p:spPr>
          <a:xfrm>
            <a:off x="699071" y="4448463"/>
            <a:ext cx="323850" cy="1588"/>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782" name="Straight Connector 237"/>
          <p:cNvCxnSpPr/>
          <p:nvPr/>
        </p:nvCxnSpPr>
        <p:spPr>
          <a:xfrm>
            <a:off x="699071" y="4728055"/>
            <a:ext cx="323850" cy="1588"/>
          </a:xfrm>
          <a:prstGeom prst="line">
            <a:avLst/>
          </a:prstGeom>
          <a:ln w="28575">
            <a:solidFill>
              <a:srgbClr val="7030A0"/>
            </a:solidFill>
          </a:ln>
        </p:spPr>
        <p:style>
          <a:lnRef idx="1">
            <a:schemeClr val="accent1"/>
          </a:lnRef>
          <a:fillRef idx="0">
            <a:schemeClr val="accent1"/>
          </a:fillRef>
          <a:effectRef idx="0">
            <a:schemeClr val="accent1"/>
          </a:effectRef>
          <a:fontRef idx="minor">
            <a:schemeClr val="tx1"/>
          </a:fontRef>
        </p:style>
      </p:cxnSp>
      <p:sp>
        <p:nvSpPr>
          <p:cNvPr id="783" name="TextBox 238"/>
          <p:cNvSpPr txBox="1"/>
          <p:nvPr/>
        </p:nvSpPr>
        <p:spPr>
          <a:xfrm>
            <a:off x="1030858" y="3852776"/>
            <a:ext cx="1392238" cy="230188"/>
          </a:xfrm>
          <a:prstGeom prst="rect">
            <a:avLst/>
          </a:prstGeom>
          <a:noFill/>
        </p:spPr>
        <p:txBody>
          <a:bodyPr wrap="none">
            <a:spAutoFit/>
          </a:bodyPr>
          <a:lstStyle/>
          <a:p>
            <a:pPr>
              <a:defRPr/>
            </a:pPr>
            <a:r>
              <a:rPr lang="pt-BR" sz="900" b="0" i="0" dirty="0">
                <a:latin typeface="Calibri" pitchFamily="34" charset="0"/>
              </a:rPr>
              <a:t>LD NETWORK  2010/2011</a:t>
            </a:r>
          </a:p>
        </p:txBody>
      </p:sp>
      <p:sp>
        <p:nvSpPr>
          <p:cNvPr id="784" name="TextBox 373"/>
          <p:cNvSpPr txBox="1">
            <a:spLocks noChangeArrowheads="1"/>
          </p:cNvSpPr>
          <p:nvPr/>
        </p:nvSpPr>
        <p:spPr bwMode="auto">
          <a:xfrm>
            <a:off x="1030858" y="4101690"/>
            <a:ext cx="1214438" cy="230187"/>
          </a:xfrm>
          <a:prstGeom prst="rect">
            <a:avLst/>
          </a:prstGeom>
          <a:noFill/>
          <a:ln w="9525">
            <a:noFill/>
            <a:miter lim="800000"/>
            <a:headEnd/>
            <a:tailEnd/>
          </a:ln>
        </p:spPr>
        <p:txBody>
          <a:bodyPr wrap="none">
            <a:spAutoFit/>
          </a:bodyPr>
          <a:lstStyle/>
          <a:p>
            <a:pPr>
              <a:defRPr/>
            </a:pPr>
            <a:r>
              <a:rPr lang="pt-BR" sz="900" b="0" i="0" dirty="0">
                <a:latin typeface="Calibri" pitchFamily="34" charset="0"/>
              </a:rPr>
              <a:t>BUILDING LD IN 2012 </a:t>
            </a:r>
          </a:p>
        </p:txBody>
      </p:sp>
      <p:sp>
        <p:nvSpPr>
          <p:cNvPr id="785" name="TextBox 374"/>
          <p:cNvSpPr txBox="1">
            <a:spLocks noChangeArrowheads="1"/>
          </p:cNvSpPr>
          <p:nvPr/>
        </p:nvSpPr>
        <p:spPr bwMode="auto">
          <a:xfrm>
            <a:off x="1030858" y="4333841"/>
            <a:ext cx="1172116" cy="230832"/>
          </a:xfrm>
          <a:prstGeom prst="rect">
            <a:avLst/>
          </a:prstGeom>
          <a:noFill/>
          <a:ln w="9525">
            <a:noFill/>
            <a:miter lim="800000"/>
            <a:headEnd/>
            <a:tailEnd/>
          </a:ln>
        </p:spPr>
        <p:txBody>
          <a:bodyPr wrap="none">
            <a:spAutoFit/>
          </a:bodyPr>
          <a:lstStyle/>
          <a:p>
            <a:pPr>
              <a:defRPr/>
            </a:pPr>
            <a:r>
              <a:rPr lang="pt-BR" sz="900" b="0" i="0" dirty="0">
                <a:latin typeface="Calibri" pitchFamily="34" charset="0"/>
              </a:rPr>
              <a:t>BUILDING LD IN </a:t>
            </a:r>
            <a:r>
              <a:rPr lang="pt-BR" sz="900" b="0" i="0" dirty="0" smtClean="0">
                <a:latin typeface="Calibri" pitchFamily="34" charset="0"/>
              </a:rPr>
              <a:t>2013</a:t>
            </a:r>
            <a:endParaRPr lang="pt-BR" sz="900" b="0" i="0" dirty="0">
              <a:latin typeface="Calibri" pitchFamily="34" charset="0"/>
            </a:endParaRPr>
          </a:p>
        </p:txBody>
      </p:sp>
      <p:sp>
        <p:nvSpPr>
          <p:cNvPr id="786" name="TextBox 375"/>
          <p:cNvSpPr txBox="1">
            <a:spLocks noChangeArrowheads="1"/>
          </p:cNvSpPr>
          <p:nvPr/>
        </p:nvSpPr>
        <p:spPr bwMode="auto">
          <a:xfrm>
            <a:off x="1030858" y="4612962"/>
            <a:ext cx="1189038" cy="231775"/>
          </a:xfrm>
          <a:prstGeom prst="rect">
            <a:avLst/>
          </a:prstGeom>
          <a:noFill/>
          <a:ln w="9525">
            <a:noFill/>
            <a:miter lim="800000"/>
            <a:headEnd/>
            <a:tailEnd/>
          </a:ln>
        </p:spPr>
        <p:txBody>
          <a:bodyPr wrap="none">
            <a:spAutoFit/>
          </a:bodyPr>
          <a:lstStyle/>
          <a:p>
            <a:pPr>
              <a:defRPr/>
            </a:pPr>
            <a:r>
              <a:rPr lang="pt-BR" sz="900" b="0" i="0" dirty="0">
                <a:latin typeface="Calibri" pitchFamily="34" charset="0"/>
              </a:rPr>
              <a:t>BUILDING LD IN 2014</a:t>
            </a:r>
          </a:p>
        </p:txBody>
      </p:sp>
      <p:sp>
        <p:nvSpPr>
          <p:cNvPr id="787" name="TextBox 242"/>
          <p:cNvSpPr txBox="1"/>
          <p:nvPr/>
        </p:nvSpPr>
        <p:spPr>
          <a:xfrm>
            <a:off x="2459609" y="3844760"/>
            <a:ext cx="712054" cy="230832"/>
          </a:xfrm>
          <a:prstGeom prst="rect">
            <a:avLst/>
          </a:prstGeom>
          <a:noFill/>
        </p:spPr>
        <p:txBody>
          <a:bodyPr wrap="none">
            <a:spAutoFit/>
          </a:bodyPr>
          <a:lstStyle/>
          <a:p>
            <a:pPr>
              <a:defRPr/>
            </a:pPr>
            <a:r>
              <a:rPr lang="pt-BR" sz="900" b="0" i="0" dirty="0">
                <a:latin typeface="Calibri" pitchFamily="34" charset="0"/>
              </a:rPr>
              <a:t>KM  </a:t>
            </a:r>
            <a:r>
              <a:rPr lang="pt-BR" sz="900" b="0" i="0" dirty="0" smtClean="0">
                <a:latin typeface="Calibri" pitchFamily="34" charset="0"/>
              </a:rPr>
              <a:t>17.440</a:t>
            </a:r>
            <a:endParaRPr lang="pt-BR" sz="900" b="0" i="0" dirty="0">
              <a:latin typeface="Calibri" pitchFamily="34" charset="0"/>
            </a:endParaRPr>
          </a:p>
        </p:txBody>
      </p:sp>
      <p:sp>
        <p:nvSpPr>
          <p:cNvPr id="788" name="TextBox 243"/>
          <p:cNvSpPr txBox="1"/>
          <p:nvPr/>
        </p:nvSpPr>
        <p:spPr>
          <a:xfrm>
            <a:off x="2452131" y="4101367"/>
            <a:ext cx="705642" cy="230832"/>
          </a:xfrm>
          <a:prstGeom prst="rect">
            <a:avLst/>
          </a:prstGeom>
          <a:noFill/>
        </p:spPr>
        <p:txBody>
          <a:bodyPr wrap="none">
            <a:spAutoFit/>
          </a:bodyPr>
          <a:lstStyle>
            <a:defPPr>
              <a:defRPr lang="en-US"/>
            </a:defPPr>
            <a:lvl1pPr>
              <a:defRPr sz="1000" b="0" i="0">
                <a:latin typeface="Calibri" pitchFamily="34" charset="0"/>
              </a:defRPr>
            </a:lvl1pPr>
          </a:lstStyle>
          <a:p>
            <a:r>
              <a:rPr lang="pt-BR" sz="900" dirty="0"/>
              <a:t>KM </a:t>
            </a:r>
            <a:r>
              <a:rPr lang="pt-BR" sz="900" dirty="0" smtClean="0"/>
              <a:t>   1.738</a:t>
            </a:r>
            <a:endParaRPr lang="pt-BR" sz="900" dirty="0"/>
          </a:p>
        </p:txBody>
      </p:sp>
      <p:sp>
        <p:nvSpPr>
          <p:cNvPr id="789" name="TextBox 246"/>
          <p:cNvSpPr txBox="1"/>
          <p:nvPr/>
        </p:nvSpPr>
        <p:spPr>
          <a:xfrm>
            <a:off x="4467938" y="4101367"/>
            <a:ext cx="686406" cy="230832"/>
          </a:xfrm>
          <a:prstGeom prst="rect">
            <a:avLst/>
          </a:prstGeom>
          <a:noFill/>
        </p:spPr>
        <p:txBody>
          <a:bodyPr wrap="none">
            <a:spAutoFit/>
          </a:bodyPr>
          <a:lstStyle>
            <a:defPPr>
              <a:defRPr lang="en-US"/>
            </a:defPPr>
            <a:lvl1pPr>
              <a:defRPr sz="1000" b="1" i="0">
                <a:solidFill>
                  <a:schemeClr val="accent6"/>
                </a:solidFill>
                <a:latin typeface="Calibri" pitchFamily="34" charset="0"/>
              </a:defRPr>
            </a:lvl1pPr>
          </a:lstStyle>
          <a:p>
            <a:r>
              <a:rPr lang="pt-BR" sz="900" b="0" dirty="0">
                <a:solidFill>
                  <a:schemeClr val="tx1"/>
                </a:solidFill>
              </a:rPr>
              <a:t>KM </a:t>
            </a:r>
            <a:r>
              <a:rPr lang="pt-BR" sz="900" b="0" dirty="0" smtClean="0">
                <a:solidFill>
                  <a:schemeClr val="tx1"/>
                </a:solidFill>
              </a:rPr>
              <a:t>27.422</a:t>
            </a:r>
            <a:endParaRPr lang="pt-BR" sz="900" b="0" dirty="0">
              <a:solidFill>
                <a:schemeClr val="tx1"/>
              </a:solidFill>
            </a:endParaRPr>
          </a:p>
        </p:txBody>
      </p:sp>
      <p:sp>
        <p:nvSpPr>
          <p:cNvPr id="790" name="TextBox 247"/>
          <p:cNvSpPr txBox="1"/>
          <p:nvPr/>
        </p:nvSpPr>
        <p:spPr>
          <a:xfrm>
            <a:off x="4467939" y="4333841"/>
            <a:ext cx="686406" cy="230832"/>
          </a:xfrm>
          <a:prstGeom prst="rect">
            <a:avLst/>
          </a:prstGeom>
          <a:noFill/>
        </p:spPr>
        <p:txBody>
          <a:bodyPr wrap="none">
            <a:spAutoFit/>
          </a:bodyPr>
          <a:lstStyle>
            <a:defPPr>
              <a:defRPr lang="en-US"/>
            </a:defPPr>
            <a:lvl1pPr>
              <a:defRPr sz="1000" b="0" i="0">
                <a:latin typeface="Calibri" pitchFamily="34" charset="0"/>
              </a:defRPr>
            </a:lvl1pPr>
          </a:lstStyle>
          <a:p>
            <a:r>
              <a:rPr lang="pt-BR" sz="900" dirty="0"/>
              <a:t>KM </a:t>
            </a:r>
            <a:r>
              <a:rPr lang="pt-BR" sz="900" dirty="0" smtClean="0"/>
              <a:t>29.638</a:t>
            </a:r>
            <a:endParaRPr lang="pt-BR" sz="900" dirty="0"/>
          </a:p>
        </p:txBody>
      </p:sp>
      <p:sp>
        <p:nvSpPr>
          <p:cNvPr id="791" name="TextBox 248"/>
          <p:cNvSpPr txBox="1"/>
          <p:nvPr/>
        </p:nvSpPr>
        <p:spPr>
          <a:xfrm>
            <a:off x="4467939" y="4613433"/>
            <a:ext cx="686406" cy="230832"/>
          </a:xfrm>
          <a:prstGeom prst="rect">
            <a:avLst/>
          </a:prstGeom>
          <a:noFill/>
        </p:spPr>
        <p:txBody>
          <a:bodyPr wrap="none">
            <a:spAutoFit/>
          </a:bodyPr>
          <a:lstStyle>
            <a:defPPr>
              <a:defRPr lang="en-US"/>
            </a:defPPr>
            <a:lvl1pPr>
              <a:defRPr sz="1000" b="0" i="0">
                <a:latin typeface="Calibri" pitchFamily="34" charset="0"/>
              </a:defRPr>
            </a:lvl1pPr>
          </a:lstStyle>
          <a:p>
            <a:r>
              <a:rPr lang="pt-BR" sz="900" dirty="0"/>
              <a:t>KM </a:t>
            </a:r>
            <a:r>
              <a:rPr lang="pt-BR" sz="900" dirty="0" smtClean="0"/>
              <a:t>35.977</a:t>
            </a:r>
            <a:endParaRPr lang="pt-BR" sz="900" dirty="0"/>
          </a:p>
        </p:txBody>
      </p:sp>
      <p:sp>
        <p:nvSpPr>
          <p:cNvPr id="792" name="Text Box 5"/>
          <p:cNvSpPr txBox="1">
            <a:spLocks noChangeArrowheads="1"/>
          </p:cNvSpPr>
          <p:nvPr/>
        </p:nvSpPr>
        <p:spPr bwMode="auto">
          <a:xfrm>
            <a:off x="416496" y="3284984"/>
            <a:ext cx="4956175" cy="246062"/>
          </a:xfrm>
          <a:prstGeom prst="rect">
            <a:avLst/>
          </a:prstGeom>
          <a:solidFill>
            <a:srgbClr val="3E628A"/>
          </a:solidFill>
        </p:spPr>
        <p:style>
          <a:lnRef idx="1">
            <a:schemeClr val="accent3"/>
          </a:lnRef>
          <a:fillRef idx="3">
            <a:schemeClr val="accent3"/>
          </a:fillRef>
          <a:effectRef idx="2">
            <a:schemeClr val="accent3"/>
          </a:effectRef>
          <a:fontRef idx="minor">
            <a:schemeClr val="lt1"/>
          </a:fontRef>
        </p:style>
        <p:txBody>
          <a:bodyPr>
            <a:spAutoFit/>
          </a:bodyPr>
          <a:lstStyle/>
          <a:p>
            <a:pPr marL="342900" indent="-342900" defTabSz="873125" eaLnBrk="0" hangingPunct="0">
              <a:buClr>
                <a:schemeClr val="accent1"/>
              </a:buClr>
              <a:defRPr/>
            </a:pPr>
            <a:r>
              <a:rPr lang="en-US" sz="1000" b="0" dirty="0">
                <a:solidFill>
                  <a:schemeClr val="bg1"/>
                </a:solidFill>
                <a:latin typeface="Calibri" pitchFamily="34" charset="0"/>
              </a:rPr>
              <a:t>Network Expansion Plan [ with </a:t>
            </a:r>
            <a:r>
              <a:rPr lang="en-US" sz="1000" b="0" dirty="0" smtClean="0">
                <a:solidFill>
                  <a:schemeClr val="bg1"/>
                </a:solidFill>
                <a:latin typeface="Calibri" pitchFamily="34" charset="0"/>
              </a:rPr>
              <a:t>SWAP]*</a:t>
            </a:r>
            <a:endParaRPr lang="en-US" sz="1000" b="0" dirty="0">
              <a:solidFill>
                <a:schemeClr val="bg1"/>
              </a:solidFill>
              <a:latin typeface="Calibri" pitchFamily="34" charset="0"/>
            </a:endParaRPr>
          </a:p>
        </p:txBody>
      </p:sp>
      <p:sp>
        <p:nvSpPr>
          <p:cNvPr id="793" name="TextBox 243"/>
          <p:cNvSpPr txBox="1"/>
          <p:nvPr/>
        </p:nvSpPr>
        <p:spPr>
          <a:xfrm>
            <a:off x="3482418" y="4101367"/>
            <a:ext cx="654346" cy="230832"/>
          </a:xfrm>
          <a:prstGeom prst="rect">
            <a:avLst/>
          </a:prstGeom>
          <a:noFill/>
        </p:spPr>
        <p:txBody>
          <a:bodyPr wrap="none">
            <a:spAutoFit/>
          </a:bodyPr>
          <a:lstStyle/>
          <a:p>
            <a:pPr>
              <a:defRPr/>
            </a:pPr>
            <a:r>
              <a:rPr lang="pt-BR" sz="900" b="0" i="0" dirty="0">
                <a:latin typeface="Calibri" pitchFamily="34" charset="0"/>
              </a:rPr>
              <a:t>KM </a:t>
            </a:r>
            <a:r>
              <a:rPr lang="pt-BR" sz="900" b="0" i="0" dirty="0" smtClean="0">
                <a:latin typeface="Calibri" pitchFamily="34" charset="0"/>
              </a:rPr>
              <a:t> 4.320</a:t>
            </a:r>
            <a:endParaRPr lang="pt-BR" sz="900" b="0" i="0" dirty="0">
              <a:latin typeface="Calibri" pitchFamily="34" charset="0"/>
            </a:endParaRPr>
          </a:p>
        </p:txBody>
      </p:sp>
      <p:sp>
        <p:nvSpPr>
          <p:cNvPr id="794" name="TextBox 244"/>
          <p:cNvSpPr txBox="1"/>
          <p:nvPr/>
        </p:nvSpPr>
        <p:spPr>
          <a:xfrm>
            <a:off x="3482420" y="4333841"/>
            <a:ext cx="644728" cy="230832"/>
          </a:xfrm>
          <a:prstGeom prst="rect">
            <a:avLst/>
          </a:prstGeom>
          <a:noFill/>
        </p:spPr>
        <p:txBody>
          <a:bodyPr wrap="none">
            <a:spAutoFit/>
          </a:bodyPr>
          <a:lstStyle/>
          <a:p>
            <a:pPr>
              <a:defRPr/>
            </a:pPr>
            <a:r>
              <a:rPr lang="pt-BR" sz="900" b="0" i="0" dirty="0" smtClean="0">
                <a:latin typeface="Calibri" pitchFamily="34" charset="0"/>
              </a:rPr>
              <a:t>KM     </a:t>
            </a:r>
            <a:r>
              <a:rPr lang="pt-BR" sz="900" b="0" dirty="0" smtClean="0">
                <a:latin typeface="Calibri" pitchFamily="34" charset="0"/>
              </a:rPr>
              <a:t>983</a:t>
            </a:r>
            <a:endParaRPr lang="pt-BR" sz="900" b="0" i="0" dirty="0">
              <a:latin typeface="Calibri" pitchFamily="34" charset="0"/>
            </a:endParaRPr>
          </a:p>
        </p:txBody>
      </p:sp>
      <p:sp>
        <p:nvSpPr>
          <p:cNvPr id="795" name="TextBox 245"/>
          <p:cNvSpPr txBox="1"/>
          <p:nvPr/>
        </p:nvSpPr>
        <p:spPr>
          <a:xfrm>
            <a:off x="3482420" y="4613755"/>
            <a:ext cx="654346" cy="230832"/>
          </a:xfrm>
          <a:prstGeom prst="rect">
            <a:avLst/>
          </a:prstGeom>
          <a:noFill/>
        </p:spPr>
        <p:txBody>
          <a:bodyPr wrap="none">
            <a:spAutoFit/>
          </a:bodyPr>
          <a:lstStyle/>
          <a:p>
            <a:pPr>
              <a:defRPr/>
            </a:pPr>
            <a:r>
              <a:rPr lang="pt-BR" sz="900" b="0" i="0" dirty="0" smtClean="0">
                <a:latin typeface="Calibri" pitchFamily="34" charset="0"/>
              </a:rPr>
              <a:t>KM  </a:t>
            </a:r>
            <a:r>
              <a:rPr lang="pt-BR" sz="900" b="0" dirty="0" smtClean="0">
                <a:latin typeface="Calibri" pitchFamily="34" charset="0"/>
              </a:rPr>
              <a:t>3.771</a:t>
            </a:r>
            <a:endParaRPr lang="pt-BR" sz="900" b="0" i="0" dirty="0">
              <a:latin typeface="Calibri" pitchFamily="34" charset="0"/>
            </a:endParaRPr>
          </a:p>
        </p:txBody>
      </p:sp>
      <p:sp>
        <p:nvSpPr>
          <p:cNvPr id="796" name="TextBox 242"/>
          <p:cNvSpPr txBox="1"/>
          <p:nvPr/>
        </p:nvSpPr>
        <p:spPr>
          <a:xfrm>
            <a:off x="3476697" y="3844760"/>
            <a:ext cx="654346" cy="230832"/>
          </a:xfrm>
          <a:prstGeom prst="rect">
            <a:avLst/>
          </a:prstGeom>
          <a:noFill/>
        </p:spPr>
        <p:txBody>
          <a:bodyPr wrap="none">
            <a:spAutoFit/>
          </a:bodyPr>
          <a:lstStyle/>
          <a:p>
            <a:pPr>
              <a:defRPr/>
            </a:pPr>
            <a:r>
              <a:rPr lang="pt-BR" sz="900" b="0" i="0" dirty="0">
                <a:latin typeface="Calibri" pitchFamily="34" charset="0"/>
              </a:rPr>
              <a:t>KM  </a:t>
            </a:r>
            <a:r>
              <a:rPr lang="pt-BR" sz="900" b="0" i="0" dirty="0" smtClean="0">
                <a:latin typeface="Calibri" pitchFamily="34" charset="0"/>
              </a:rPr>
              <a:t>3.924</a:t>
            </a:r>
            <a:endParaRPr lang="pt-BR" sz="900" b="0" i="0" dirty="0">
              <a:latin typeface="Calibri" pitchFamily="34" charset="0"/>
            </a:endParaRPr>
          </a:p>
        </p:txBody>
      </p:sp>
      <p:sp>
        <p:nvSpPr>
          <p:cNvPr id="797" name="TextBox 242"/>
          <p:cNvSpPr txBox="1"/>
          <p:nvPr/>
        </p:nvSpPr>
        <p:spPr>
          <a:xfrm>
            <a:off x="2650207" y="3591310"/>
            <a:ext cx="434735" cy="246221"/>
          </a:xfrm>
          <a:prstGeom prst="rect">
            <a:avLst/>
          </a:prstGeom>
          <a:noFill/>
        </p:spPr>
        <p:txBody>
          <a:bodyPr wrap="none">
            <a:spAutoFit/>
          </a:bodyPr>
          <a:lstStyle/>
          <a:p>
            <a:pPr>
              <a:defRPr/>
            </a:pPr>
            <a:r>
              <a:rPr lang="pt-BR" sz="1000" b="0" i="0" dirty="0" err="1" smtClean="0">
                <a:latin typeface="Calibri" pitchFamily="34" charset="0"/>
              </a:rPr>
              <a:t>Built</a:t>
            </a:r>
            <a:endParaRPr lang="pt-BR" sz="1000" b="0" i="0" dirty="0">
              <a:latin typeface="Calibri" pitchFamily="34" charset="0"/>
            </a:endParaRPr>
          </a:p>
        </p:txBody>
      </p:sp>
      <p:sp>
        <p:nvSpPr>
          <p:cNvPr id="798" name="TextBox 242"/>
          <p:cNvSpPr txBox="1"/>
          <p:nvPr/>
        </p:nvSpPr>
        <p:spPr>
          <a:xfrm>
            <a:off x="3608870" y="3591310"/>
            <a:ext cx="473206" cy="246221"/>
          </a:xfrm>
          <a:prstGeom prst="rect">
            <a:avLst/>
          </a:prstGeom>
          <a:noFill/>
        </p:spPr>
        <p:txBody>
          <a:bodyPr wrap="none">
            <a:spAutoFit/>
          </a:bodyPr>
          <a:lstStyle/>
          <a:p>
            <a:pPr>
              <a:defRPr/>
            </a:pPr>
            <a:r>
              <a:rPr lang="pt-BR" sz="1000" b="0" i="0" dirty="0" smtClean="0">
                <a:latin typeface="Calibri" pitchFamily="34" charset="0"/>
              </a:rPr>
              <a:t>Swap</a:t>
            </a:r>
            <a:endParaRPr lang="pt-BR" sz="1000" b="0" i="0" dirty="0">
              <a:latin typeface="Calibri" pitchFamily="34" charset="0"/>
            </a:endParaRPr>
          </a:p>
        </p:txBody>
      </p:sp>
      <p:sp>
        <p:nvSpPr>
          <p:cNvPr id="799" name="TextBox 242"/>
          <p:cNvSpPr txBox="1"/>
          <p:nvPr/>
        </p:nvSpPr>
        <p:spPr>
          <a:xfrm>
            <a:off x="4534972" y="3591310"/>
            <a:ext cx="457177" cy="246221"/>
          </a:xfrm>
          <a:prstGeom prst="rect">
            <a:avLst/>
          </a:prstGeom>
          <a:noFill/>
        </p:spPr>
        <p:txBody>
          <a:bodyPr wrap="none">
            <a:spAutoFit/>
          </a:bodyPr>
          <a:lstStyle/>
          <a:p>
            <a:pPr>
              <a:defRPr/>
            </a:pPr>
            <a:r>
              <a:rPr lang="pt-BR" sz="1000" b="0" i="0" dirty="0" smtClean="0">
                <a:latin typeface="Calibri" pitchFamily="34" charset="0"/>
              </a:rPr>
              <a:t>Total</a:t>
            </a:r>
            <a:endParaRPr lang="pt-BR" sz="1000" b="0" i="0" dirty="0">
              <a:latin typeface="Calibri" pitchFamily="34" charset="0"/>
            </a:endParaRPr>
          </a:p>
        </p:txBody>
      </p:sp>
      <p:cxnSp>
        <p:nvCxnSpPr>
          <p:cNvPr id="801" name="Straight Connector 237"/>
          <p:cNvCxnSpPr/>
          <p:nvPr/>
        </p:nvCxnSpPr>
        <p:spPr>
          <a:xfrm>
            <a:off x="710940" y="5023581"/>
            <a:ext cx="323850" cy="1588"/>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802" name="TextBox 375"/>
          <p:cNvSpPr txBox="1">
            <a:spLocks noChangeArrowheads="1"/>
          </p:cNvSpPr>
          <p:nvPr/>
        </p:nvSpPr>
        <p:spPr bwMode="auto">
          <a:xfrm>
            <a:off x="1043173" y="4883087"/>
            <a:ext cx="1188147" cy="230832"/>
          </a:xfrm>
          <a:prstGeom prst="rect">
            <a:avLst/>
          </a:prstGeom>
          <a:noFill/>
          <a:ln w="9525">
            <a:noFill/>
            <a:miter lim="800000"/>
            <a:headEnd/>
            <a:tailEnd/>
          </a:ln>
        </p:spPr>
        <p:txBody>
          <a:bodyPr wrap="none">
            <a:spAutoFit/>
          </a:bodyPr>
          <a:lstStyle/>
          <a:p>
            <a:pPr>
              <a:defRPr/>
            </a:pPr>
            <a:r>
              <a:rPr lang="pt-BR" sz="900" b="0" i="0" dirty="0">
                <a:latin typeface="Calibri" pitchFamily="34" charset="0"/>
              </a:rPr>
              <a:t>BUILDING LD IN </a:t>
            </a:r>
            <a:r>
              <a:rPr lang="pt-BR" sz="900" b="0" i="0" dirty="0" smtClean="0">
                <a:latin typeface="Calibri" pitchFamily="34" charset="0"/>
              </a:rPr>
              <a:t>2015</a:t>
            </a:r>
            <a:endParaRPr lang="pt-BR" sz="900" b="0" i="0" dirty="0">
              <a:latin typeface="Calibri" pitchFamily="34" charset="0"/>
            </a:endParaRPr>
          </a:p>
        </p:txBody>
      </p:sp>
      <p:sp>
        <p:nvSpPr>
          <p:cNvPr id="803" name="TextBox 248"/>
          <p:cNvSpPr txBox="1"/>
          <p:nvPr/>
        </p:nvSpPr>
        <p:spPr>
          <a:xfrm>
            <a:off x="4479808" y="4883087"/>
            <a:ext cx="686406" cy="230832"/>
          </a:xfrm>
          <a:prstGeom prst="rect">
            <a:avLst/>
          </a:prstGeom>
          <a:noFill/>
        </p:spPr>
        <p:txBody>
          <a:bodyPr wrap="none">
            <a:spAutoFit/>
          </a:bodyPr>
          <a:lstStyle>
            <a:defPPr>
              <a:defRPr lang="en-US"/>
            </a:defPPr>
            <a:lvl1pPr>
              <a:defRPr sz="1000" b="0" i="0">
                <a:latin typeface="Calibri" pitchFamily="34" charset="0"/>
              </a:defRPr>
            </a:lvl1pPr>
          </a:lstStyle>
          <a:p>
            <a:r>
              <a:rPr lang="pt-BR" sz="900" dirty="0"/>
              <a:t>KM </a:t>
            </a:r>
            <a:r>
              <a:rPr lang="pt-BR" sz="900" dirty="0" smtClean="0"/>
              <a:t>38.889</a:t>
            </a:r>
            <a:endParaRPr lang="pt-BR" sz="900" dirty="0"/>
          </a:p>
        </p:txBody>
      </p:sp>
      <p:sp>
        <p:nvSpPr>
          <p:cNvPr id="804" name="TextBox 245"/>
          <p:cNvSpPr txBox="1"/>
          <p:nvPr/>
        </p:nvSpPr>
        <p:spPr>
          <a:xfrm>
            <a:off x="3489727" y="4883087"/>
            <a:ext cx="619080" cy="230832"/>
          </a:xfrm>
          <a:prstGeom prst="rect">
            <a:avLst/>
          </a:prstGeom>
          <a:noFill/>
        </p:spPr>
        <p:txBody>
          <a:bodyPr wrap="none">
            <a:spAutoFit/>
          </a:bodyPr>
          <a:lstStyle>
            <a:defPPr>
              <a:defRPr lang="en-US"/>
            </a:defPPr>
            <a:lvl1pPr>
              <a:defRPr sz="1000" b="1" i="0">
                <a:solidFill>
                  <a:schemeClr val="accent6"/>
                </a:solidFill>
                <a:latin typeface="Calibri" pitchFamily="34" charset="0"/>
              </a:defRPr>
            </a:lvl1pPr>
          </a:lstStyle>
          <a:p>
            <a:r>
              <a:rPr lang="pt-BR" sz="900" b="0" dirty="0">
                <a:solidFill>
                  <a:schemeClr val="tx1"/>
                </a:solidFill>
              </a:rPr>
              <a:t>KM </a:t>
            </a:r>
            <a:r>
              <a:rPr lang="pt-BR" sz="900" b="0" dirty="0" smtClean="0">
                <a:solidFill>
                  <a:schemeClr val="tx1"/>
                </a:solidFill>
              </a:rPr>
              <a:t>   687</a:t>
            </a:r>
            <a:endParaRPr lang="pt-BR" sz="900" b="0" dirty="0">
              <a:solidFill>
                <a:schemeClr val="tx1"/>
              </a:solidFill>
            </a:endParaRPr>
          </a:p>
        </p:txBody>
      </p:sp>
      <p:sp>
        <p:nvSpPr>
          <p:cNvPr id="805" name="TextBox 804"/>
          <p:cNvSpPr txBox="1"/>
          <p:nvPr/>
        </p:nvSpPr>
        <p:spPr>
          <a:xfrm>
            <a:off x="2458443" y="4333841"/>
            <a:ext cx="679994" cy="230832"/>
          </a:xfrm>
          <a:prstGeom prst="rect">
            <a:avLst/>
          </a:prstGeom>
          <a:noFill/>
        </p:spPr>
        <p:txBody>
          <a:bodyPr wrap="none">
            <a:spAutoFit/>
          </a:bodyPr>
          <a:lstStyle/>
          <a:p>
            <a:pPr>
              <a:defRPr/>
            </a:pPr>
            <a:r>
              <a:rPr lang="pt-BR" sz="900" b="0" i="0" dirty="0" smtClean="0">
                <a:latin typeface="Calibri" pitchFamily="34" charset="0"/>
              </a:rPr>
              <a:t>KM   </a:t>
            </a:r>
            <a:r>
              <a:rPr lang="pt-BR" sz="900" b="0" dirty="0" smtClean="0">
                <a:latin typeface="Calibri" pitchFamily="34" charset="0"/>
              </a:rPr>
              <a:t>1.233</a:t>
            </a:r>
            <a:endParaRPr lang="pt-BR" sz="900" b="0" i="0" dirty="0">
              <a:latin typeface="Calibri" pitchFamily="34" charset="0"/>
            </a:endParaRPr>
          </a:p>
        </p:txBody>
      </p:sp>
      <p:sp>
        <p:nvSpPr>
          <p:cNvPr id="806" name="TextBox 805"/>
          <p:cNvSpPr txBox="1"/>
          <p:nvPr/>
        </p:nvSpPr>
        <p:spPr>
          <a:xfrm>
            <a:off x="2458443" y="4613433"/>
            <a:ext cx="679994" cy="230832"/>
          </a:xfrm>
          <a:prstGeom prst="rect">
            <a:avLst/>
          </a:prstGeom>
          <a:noFill/>
        </p:spPr>
        <p:txBody>
          <a:bodyPr wrap="none">
            <a:spAutoFit/>
          </a:bodyPr>
          <a:lstStyle>
            <a:defPPr>
              <a:defRPr lang="en-US"/>
            </a:defPPr>
            <a:lvl1pPr>
              <a:defRPr sz="1000" b="0" i="0">
                <a:latin typeface="Calibri" pitchFamily="34" charset="0"/>
              </a:defRPr>
            </a:lvl1pPr>
          </a:lstStyle>
          <a:p>
            <a:r>
              <a:rPr lang="pt-BR" sz="900" dirty="0"/>
              <a:t>KM </a:t>
            </a:r>
            <a:r>
              <a:rPr lang="pt-BR" sz="900" dirty="0" smtClean="0"/>
              <a:t>  2.568</a:t>
            </a:r>
            <a:endParaRPr lang="pt-BR" sz="900" dirty="0"/>
          </a:p>
        </p:txBody>
      </p:sp>
      <p:sp>
        <p:nvSpPr>
          <p:cNvPr id="807" name="TextBox 806"/>
          <p:cNvSpPr txBox="1"/>
          <p:nvPr/>
        </p:nvSpPr>
        <p:spPr>
          <a:xfrm>
            <a:off x="2462344" y="4883087"/>
            <a:ext cx="679994" cy="230832"/>
          </a:xfrm>
          <a:prstGeom prst="rect">
            <a:avLst/>
          </a:prstGeom>
          <a:noFill/>
        </p:spPr>
        <p:txBody>
          <a:bodyPr wrap="none">
            <a:spAutoFit/>
          </a:bodyPr>
          <a:lstStyle>
            <a:defPPr>
              <a:defRPr lang="en-US"/>
            </a:defPPr>
            <a:lvl1pPr>
              <a:defRPr sz="1000" b="0" i="0">
                <a:latin typeface="Calibri" pitchFamily="34" charset="0"/>
              </a:defRPr>
            </a:lvl1pPr>
          </a:lstStyle>
          <a:p>
            <a:r>
              <a:rPr lang="pt-BR" sz="900" dirty="0"/>
              <a:t>KM </a:t>
            </a:r>
            <a:r>
              <a:rPr lang="pt-BR" sz="900" dirty="0" smtClean="0"/>
              <a:t>  2.225</a:t>
            </a:r>
            <a:endParaRPr lang="pt-BR" sz="900" dirty="0"/>
          </a:p>
        </p:txBody>
      </p:sp>
      <p:cxnSp>
        <p:nvCxnSpPr>
          <p:cNvPr id="808" name="Straight Connector 807"/>
          <p:cNvCxnSpPr/>
          <p:nvPr/>
        </p:nvCxnSpPr>
        <p:spPr>
          <a:xfrm>
            <a:off x="1196544" y="5459968"/>
            <a:ext cx="0" cy="180000"/>
          </a:xfrm>
          <a:prstGeom prst="line">
            <a:avLst/>
          </a:prstGeom>
        </p:spPr>
        <p:style>
          <a:lnRef idx="1">
            <a:schemeClr val="accent1"/>
          </a:lnRef>
          <a:fillRef idx="0">
            <a:schemeClr val="accent1"/>
          </a:fillRef>
          <a:effectRef idx="0">
            <a:schemeClr val="accent1"/>
          </a:effectRef>
          <a:fontRef idx="minor">
            <a:schemeClr val="tx1"/>
          </a:fontRef>
        </p:style>
      </p:cxnSp>
      <p:sp>
        <p:nvSpPr>
          <p:cNvPr id="809" name="TextBox 808"/>
          <p:cNvSpPr txBox="1"/>
          <p:nvPr/>
        </p:nvSpPr>
        <p:spPr>
          <a:xfrm>
            <a:off x="941442" y="5337118"/>
            <a:ext cx="511679" cy="215444"/>
          </a:xfrm>
          <a:prstGeom prst="rect">
            <a:avLst/>
          </a:prstGeom>
          <a:solidFill>
            <a:schemeClr val="bg1"/>
          </a:solidFill>
        </p:spPr>
        <p:style>
          <a:lnRef idx="2">
            <a:schemeClr val="accent6"/>
          </a:lnRef>
          <a:fillRef idx="1">
            <a:schemeClr val="lt1"/>
          </a:fillRef>
          <a:effectRef idx="0">
            <a:schemeClr val="accent6"/>
          </a:effectRef>
          <a:fontRef idx="minor">
            <a:schemeClr val="dk1"/>
          </a:fontRef>
        </p:style>
        <p:txBody>
          <a:bodyPr wrap="none" rtlCol="0">
            <a:spAutoFit/>
          </a:bodyPr>
          <a:lstStyle/>
          <a:p>
            <a:r>
              <a:rPr lang="pt-BR" sz="800" dirty="0" smtClean="0">
                <a:latin typeface="Calibri" pitchFamily="34" charset="0"/>
                <a:cs typeface="Calibri" pitchFamily="34" charset="0"/>
              </a:rPr>
              <a:t>17K KM</a:t>
            </a:r>
            <a:endParaRPr lang="pt-BR" sz="800" dirty="0">
              <a:latin typeface="Calibri" pitchFamily="34" charset="0"/>
              <a:cs typeface="Calibri" pitchFamily="34" charset="0"/>
            </a:endParaRPr>
          </a:p>
        </p:txBody>
      </p:sp>
      <p:grpSp>
        <p:nvGrpSpPr>
          <p:cNvPr id="7" name="Group 6"/>
          <p:cNvGrpSpPr/>
          <p:nvPr/>
        </p:nvGrpSpPr>
        <p:grpSpPr>
          <a:xfrm>
            <a:off x="272480" y="5610022"/>
            <a:ext cx="9200112" cy="260099"/>
            <a:chOff x="162383" y="6173848"/>
            <a:chExt cx="9519818" cy="355347"/>
          </a:xfrm>
        </p:grpSpPr>
        <p:sp>
          <p:nvSpPr>
            <p:cNvPr id="810" name="Pentagon 809"/>
            <p:cNvSpPr/>
            <p:nvPr/>
          </p:nvSpPr>
          <p:spPr bwMode="auto">
            <a:xfrm>
              <a:off x="162383" y="6173848"/>
              <a:ext cx="9519818" cy="276484"/>
            </a:xfrm>
            <a:prstGeom prst="homePlate">
              <a:avLst/>
            </a:prstGeom>
            <a:solidFill>
              <a:schemeClr val="bg1"/>
            </a:solidFill>
            <a:ln>
              <a:solidFill>
                <a:srgbClr val="3E628A"/>
              </a:solidFill>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none" lIns="0" tIns="0" rIns="0" bIns="0" numCol="1" rtlCol="0" anchor="t" anchorCtr="0" compatLnSpc="1">
              <a:prstTxWarp prst="textNoShape">
                <a:avLst/>
              </a:prstTxWarp>
            </a:bodyPr>
            <a:lstStyle/>
            <a:p>
              <a:pPr algn="ctr" defTabSz="811899" eaLnBrk="0" hangingPunct="0"/>
              <a:endParaRPr lang="pt-BR" sz="900" b="0" dirty="0" smtClean="0">
                <a:solidFill>
                  <a:schemeClr val="tx1"/>
                </a:solidFill>
                <a:latin typeface="Calibri" pitchFamily="34" charset="0"/>
                <a:cs typeface="Arial" charset="0"/>
              </a:endParaRPr>
            </a:p>
          </p:txBody>
        </p:sp>
        <p:sp>
          <p:nvSpPr>
            <p:cNvPr id="811" name="Rectangle 810"/>
            <p:cNvSpPr/>
            <p:nvPr/>
          </p:nvSpPr>
          <p:spPr bwMode="auto">
            <a:xfrm>
              <a:off x="920552" y="6338700"/>
              <a:ext cx="1146654" cy="190495"/>
            </a:xfrm>
            <a:prstGeom prst="rect">
              <a:avLst/>
            </a:prstGeom>
            <a:solidFill>
              <a:schemeClr val="bg1">
                <a:lumMod val="95000"/>
              </a:schemeClr>
            </a:solidFill>
            <a:ln>
              <a:noFill/>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none" lIns="0" tIns="0" rIns="0" bIns="0" numCol="1" rtlCol="0" anchor="ctr" anchorCtr="0" compatLnSpc="1">
              <a:prstTxWarp prst="textNoShape">
                <a:avLst/>
              </a:prstTxWarp>
            </a:bodyPr>
            <a:lstStyle/>
            <a:p>
              <a:pPr algn="ctr" defTabSz="811899" eaLnBrk="0" hangingPunct="0"/>
              <a:r>
                <a:rPr lang="pt-BR" sz="900" b="0" dirty="0" smtClean="0">
                  <a:solidFill>
                    <a:schemeClr val="tx1"/>
                  </a:solidFill>
                  <a:latin typeface="Calibri" pitchFamily="34" charset="0"/>
                  <a:cs typeface="Arial" charset="0"/>
                </a:rPr>
                <a:t>2011</a:t>
              </a:r>
            </a:p>
          </p:txBody>
        </p:sp>
        <p:sp>
          <p:nvSpPr>
            <p:cNvPr id="812" name="Rectangle 811"/>
            <p:cNvSpPr/>
            <p:nvPr/>
          </p:nvSpPr>
          <p:spPr bwMode="auto">
            <a:xfrm>
              <a:off x="4310402" y="6338700"/>
              <a:ext cx="1146654" cy="190495"/>
            </a:xfrm>
            <a:prstGeom prst="rect">
              <a:avLst/>
            </a:prstGeom>
            <a:solidFill>
              <a:schemeClr val="bg1">
                <a:lumMod val="95000"/>
              </a:schemeClr>
            </a:solidFill>
            <a:ln>
              <a:noFill/>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none" lIns="0" tIns="0" rIns="0" bIns="0" numCol="1" rtlCol="0" anchor="ctr" anchorCtr="0" compatLnSpc="1">
              <a:prstTxWarp prst="textNoShape">
                <a:avLst/>
              </a:prstTxWarp>
            </a:bodyPr>
            <a:lstStyle/>
            <a:p>
              <a:pPr algn="ctr" defTabSz="811899" eaLnBrk="0" hangingPunct="0"/>
              <a:r>
                <a:rPr lang="pt-BR" sz="900" b="0" dirty="0" smtClean="0">
                  <a:solidFill>
                    <a:schemeClr val="tx1"/>
                  </a:solidFill>
                  <a:latin typeface="Calibri" pitchFamily="34" charset="0"/>
                  <a:cs typeface="Arial" charset="0"/>
                </a:rPr>
                <a:t>2013</a:t>
              </a:r>
            </a:p>
          </p:txBody>
        </p:sp>
        <p:sp>
          <p:nvSpPr>
            <p:cNvPr id="813" name="Rectangle 812"/>
            <p:cNvSpPr/>
            <p:nvPr/>
          </p:nvSpPr>
          <p:spPr bwMode="auto">
            <a:xfrm>
              <a:off x="2726226" y="6338700"/>
              <a:ext cx="1146654" cy="190495"/>
            </a:xfrm>
            <a:prstGeom prst="rect">
              <a:avLst/>
            </a:prstGeom>
            <a:solidFill>
              <a:schemeClr val="bg1">
                <a:lumMod val="95000"/>
              </a:schemeClr>
            </a:solidFill>
            <a:ln>
              <a:noFill/>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none" lIns="0" tIns="0" rIns="0" bIns="0" numCol="1" rtlCol="0" anchor="ctr" anchorCtr="0" compatLnSpc="1">
              <a:prstTxWarp prst="textNoShape">
                <a:avLst/>
              </a:prstTxWarp>
            </a:bodyPr>
            <a:lstStyle/>
            <a:p>
              <a:pPr algn="ctr" defTabSz="811899" eaLnBrk="0" hangingPunct="0"/>
              <a:r>
                <a:rPr lang="pt-BR" sz="900" b="0" dirty="0" smtClean="0">
                  <a:solidFill>
                    <a:schemeClr val="tx1"/>
                  </a:solidFill>
                  <a:latin typeface="Calibri" pitchFamily="34" charset="0"/>
                  <a:cs typeface="Arial" charset="0"/>
                </a:rPr>
                <a:t>2012</a:t>
              </a:r>
            </a:p>
          </p:txBody>
        </p:sp>
        <p:sp>
          <p:nvSpPr>
            <p:cNvPr id="814" name="Rectangle 813"/>
            <p:cNvSpPr/>
            <p:nvPr/>
          </p:nvSpPr>
          <p:spPr bwMode="auto">
            <a:xfrm>
              <a:off x="5966586" y="6338700"/>
              <a:ext cx="1146653" cy="190495"/>
            </a:xfrm>
            <a:prstGeom prst="rect">
              <a:avLst/>
            </a:prstGeom>
            <a:solidFill>
              <a:schemeClr val="bg1">
                <a:lumMod val="95000"/>
              </a:schemeClr>
            </a:solidFill>
            <a:ln>
              <a:noFill/>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none" lIns="0" tIns="0" rIns="0" bIns="0" numCol="1" rtlCol="0" anchor="ctr" anchorCtr="0" compatLnSpc="1">
              <a:prstTxWarp prst="textNoShape">
                <a:avLst/>
              </a:prstTxWarp>
            </a:bodyPr>
            <a:lstStyle/>
            <a:p>
              <a:pPr algn="ctr" defTabSz="811899" eaLnBrk="0" hangingPunct="0"/>
              <a:r>
                <a:rPr lang="pt-BR" sz="900" b="0" dirty="0" smtClean="0">
                  <a:solidFill>
                    <a:schemeClr val="tx1"/>
                  </a:solidFill>
                  <a:latin typeface="Calibri" pitchFamily="34" charset="0"/>
                  <a:cs typeface="Arial" charset="0"/>
                </a:rPr>
                <a:t>2014</a:t>
              </a:r>
            </a:p>
          </p:txBody>
        </p:sp>
        <p:sp>
          <p:nvSpPr>
            <p:cNvPr id="815" name="Rectangle 814"/>
            <p:cNvSpPr/>
            <p:nvPr/>
          </p:nvSpPr>
          <p:spPr bwMode="auto">
            <a:xfrm>
              <a:off x="7622770" y="6338700"/>
              <a:ext cx="1146654" cy="190495"/>
            </a:xfrm>
            <a:prstGeom prst="rect">
              <a:avLst/>
            </a:prstGeom>
            <a:solidFill>
              <a:schemeClr val="bg1">
                <a:lumMod val="95000"/>
              </a:schemeClr>
            </a:solidFill>
            <a:ln>
              <a:noFill/>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none" lIns="0" tIns="0" rIns="0" bIns="0" numCol="1" rtlCol="0" anchor="ctr" anchorCtr="0" compatLnSpc="1">
              <a:prstTxWarp prst="textNoShape">
                <a:avLst/>
              </a:prstTxWarp>
            </a:bodyPr>
            <a:lstStyle/>
            <a:p>
              <a:pPr algn="ctr" defTabSz="811899" eaLnBrk="0" hangingPunct="0"/>
              <a:r>
                <a:rPr lang="pt-BR" sz="900" b="0" dirty="0" smtClean="0">
                  <a:solidFill>
                    <a:schemeClr val="tx1"/>
                  </a:solidFill>
                  <a:latin typeface="Calibri" pitchFamily="34" charset="0"/>
                  <a:cs typeface="Arial" charset="0"/>
                </a:rPr>
                <a:t>2015</a:t>
              </a:r>
            </a:p>
          </p:txBody>
        </p:sp>
      </p:grpSp>
      <p:sp>
        <p:nvSpPr>
          <p:cNvPr id="284" name="TextBox 283"/>
          <p:cNvSpPr txBox="1"/>
          <p:nvPr/>
        </p:nvSpPr>
        <p:spPr>
          <a:xfrm>
            <a:off x="91177" y="6597932"/>
            <a:ext cx="2982910" cy="215444"/>
          </a:xfrm>
          <a:prstGeom prst="rect">
            <a:avLst/>
          </a:prstGeom>
          <a:noFill/>
        </p:spPr>
        <p:txBody>
          <a:bodyPr wrap="square" rtlCol="0">
            <a:spAutoFit/>
          </a:bodyPr>
          <a:lstStyle/>
          <a:p>
            <a:r>
              <a:rPr lang="en-US" sz="800" b="0" i="0" kern="0" dirty="0" smtClean="0">
                <a:latin typeface="Teuton Mager" pitchFamily="2" charset="0"/>
              </a:rPr>
              <a:t>* Reference FCST 9+3  -  2013</a:t>
            </a:r>
            <a:endParaRPr lang="en-US" sz="800" b="0" i="0" kern="0" dirty="0">
              <a:latin typeface="Teuton Mager" pitchFamily="2" charset="0"/>
            </a:endParaRPr>
          </a:p>
        </p:txBody>
      </p:sp>
    </p:spTree>
    <p:extLst>
      <p:ext uri="{BB962C8B-B14F-4D97-AF65-F5344CB8AC3E}">
        <p14:creationId xmlns="" xmlns:p14="http://schemas.microsoft.com/office/powerpoint/2010/main" val="15050495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8" name="Rectangle 12"/>
          <p:cNvSpPr>
            <a:spLocks noChangeArrowheads="1"/>
          </p:cNvSpPr>
          <p:nvPr/>
        </p:nvSpPr>
        <p:spPr bwMode="auto">
          <a:xfrm>
            <a:off x="145905" y="896543"/>
            <a:ext cx="9559595" cy="5844825"/>
          </a:xfrm>
          <a:prstGeom prst="rect">
            <a:avLst/>
          </a:prstGeom>
          <a:solidFill>
            <a:srgbClr val="FFFFFF"/>
          </a:solidFill>
          <a:ln w="9525">
            <a:solidFill>
              <a:srgbClr val="97B3D1"/>
            </a:solidFill>
            <a:miter lim="800000"/>
            <a:headEnd/>
            <a:tailEnd/>
          </a:ln>
        </p:spPr>
        <p:txBody>
          <a:bodyPr tIns="82800" bIns="82800"/>
          <a:lstStyle/>
          <a:p>
            <a:pPr marL="185738" indent="-185738">
              <a:buFontTx/>
              <a:buChar char="•"/>
            </a:pPr>
            <a:endParaRPr lang="en-US" sz="1050" b="0" i="1" dirty="0" smtClean="0">
              <a:latin typeface="Calibri" pitchFamily="34" charset="0"/>
            </a:endParaRPr>
          </a:p>
        </p:txBody>
      </p:sp>
      <p:sp>
        <p:nvSpPr>
          <p:cNvPr id="322" name="Rectangle 321"/>
          <p:cNvSpPr>
            <a:spLocks noChangeArrowheads="1"/>
          </p:cNvSpPr>
          <p:nvPr>
            <p:custDataLst>
              <p:tags r:id="rId2"/>
            </p:custDataLst>
          </p:nvPr>
        </p:nvSpPr>
        <p:spPr bwMode="auto">
          <a:xfrm>
            <a:off x="308014" y="227013"/>
            <a:ext cx="8281579"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lstStyle/>
          <a:p>
            <a:pPr>
              <a:lnSpc>
                <a:spcPct val="80000"/>
              </a:lnSpc>
            </a:pPr>
            <a:r>
              <a:rPr lang="en-US" sz="2600" dirty="0" smtClean="0">
                <a:solidFill>
                  <a:srgbClr val="FFFFFF"/>
                </a:solidFill>
                <a:latin typeface="+mn-lt"/>
              </a:rPr>
              <a:t>TRANSMISSION BACKBONE: CAPACITY</a:t>
            </a:r>
            <a:endParaRPr lang="en-US" sz="2600" dirty="0">
              <a:solidFill>
                <a:srgbClr val="FFFFFF"/>
              </a:solidFill>
              <a:latin typeface="+mn-lt"/>
            </a:endParaRPr>
          </a:p>
        </p:txBody>
      </p:sp>
      <p:grpSp>
        <p:nvGrpSpPr>
          <p:cNvPr id="4" name="Group 3"/>
          <p:cNvGrpSpPr/>
          <p:nvPr/>
        </p:nvGrpSpPr>
        <p:grpSpPr>
          <a:xfrm>
            <a:off x="4953141" y="980728"/>
            <a:ext cx="4752387" cy="3100260"/>
            <a:chOff x="4881133" y="1628800"/>
            <a:chExt cx="4752387" cy="4464496"/>
          </a:xfrm>
        </p:grpSpPr>
        <p:grpSp>
          <p:nvGrpSpPr>
            <p:cNvPr id="3" name="Group 2"/>
            <p:cNvGrpSpPr/>
            <p:nvPr/>
          </p:nvGrpSpPr>
          <p:grpSpPr>
            <a:xfrm>
              <a:off x="4881133" y="1628800"/>
              <a:ext cx="4752387" cy="4464496"/>
              <a:chOff x="4808983" y="1628800"/>
              <a:chExt cx="4752387" cy="4464496"/>
            </a:xfrm>
          </p:grpSpPr>
          <p:graphicFrame>
            <p:nvGraphicFramePr>
              <p:cNvPr id="286" name="Chart 285"/>
              <p:cNvGraphicFramePr>
                <a:graphicFrameLocks/>
              </p:cNvGraphicFramePr>
              <p:nvPr>
                <p:extLst>
                  <p:ext uri="{D42A27DB-BD31-4B8C-83A1-F6EECF244321}">
                    <p14:modId xmlns="" xmlns:p14="http://schemas.microsoft.com/office/powerpoint/2010/main" val="1551112975"/>
                  </p:ext>
                </p:extLst>
              </p:nvPr>
            </p:nvGraphicFramePr>
            <p:xfrm>
              <a:off x="4808983" y="1628800"/>
              <a:ext cx="4752387" cy="4464496"/>
            </p:xfrm>
            <a:graphic>
              <a:graphicData uri="http://schemas.openxmlformats.org/drawingml/2006/chart">
                <c:chart xmlns:c="http://schemas.openxmlformats.org/drawingml/2006/chart" xmlns:r="http://schemas.openxmlformats.org/officeDocument/2006/relationships" r:id="rId5"/>
              </a:graphicData>
            </a:graphic>
          </p:graphicFrame>
          <p:sp>
            <p:nvSpPr>
              <p:cNvPr id="2" name="Oval 1"/>
              <p:cNvSpPr/>
              <p:nvPr/>
            </p:nvSpPr>
            <p:spPr>
              <a:xfrm rot="20452856">
                <a:off x="6170443" y="4358707"/>
                <a:ext cx="576064" cy="28803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900" b="0" dirty="0" smtClean="0"/>
                  <a:t>67%</a:t>
                </a:r>
                <a:endParaRPr lang="pt-BR" sz="900" b="0" dirty="0"/>
              </a:p>
            </p:txBody>
          </p:sp>
          <p:sp>
            <p:nvSpPr>
              <p:cNvPr id="288" name="Oval 287"/>
              <p:cNvSpPr/>
              <p:nvPr/>
            </p:nvSpPr>
            <p:spPr>
              <a:xfrm rot="20452856">
                <a:off x="7118396" y="4066435"/>
                <a:ext cx="576064" cy="28803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900" b="0" dirty="0" smtClean="0"/>
                  <a:t>28%</a:t>
                </a:r>
                <a:endParaRPr lang="pt-BR" sz="900" b="0" dirty="0"/>
              </a:p>
            </p:txBody>
          </p:sp>
          <p:sp>
            <p:nvSpPr>
              <p:cNvPr id="289" name="Oval 288"/>
              <p:cNvSpPr/>
              <p:nvPr/>
            </p:nvSpPr>
            <p:spPr>
              <a:xfrm rot="20452856">
                <a:off x="8066071" y="3769042"/>
                <a:ext cx="576064" cy="28803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900" b="0" dirty="0" smtClean="0"/>
                  <a:t>43%</a:t>
                </a:r>
                <a:endParaRPr lang="pt-BR" sz="900" b="0" dirty="0"/>
              </a:p>
            </p:txBody>
          </p:sp>
        </p:grpSp>
        <p:sp>
          <p:nvSpPr>
            <p:cNvPr id="291" name="Oval 290"/>
            <p:cNvSpPr/>
            <p:nvPr/>
          </p:nvSpPr>
          <p:spPr>
            <a:xfrm rot="20428346">
              <a:off x="5920387" y="3664457"/>
              <a:ext cx="576064" cy="28803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900" b="0" dirty="0" smtClean="0"/>
                <a:t>15%</a:t>
              </a:r>
              <a:endParaRPr lang="pt-BR" sz="900" b="0" dirty="0"/>
            </a:p>
          </p:txBody>
        </p:sp>
        <p:sp>
          <p:nvSpPr>
            <p:cNvPr id="292" name="Oval 291"/>
            <p:cNvSpPr/>
            <p:nvPr/>
          </p:nvSpPr>
          <p:spPr>
            <a:xfrm rot="19375457">
              <a:off x="6920594" y="3155871"/>
              <a:ext cx="576064" cy="28803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900" b="0" dirty="0" smtClean="0"/>
                <a:t>49%</a:t>
              </a:r>
              <a:endParaRPr lang="pt-BR" sz="900" b="0" dirty="0"/>
            </a:p>
          </p:txBody>
        </p:sp>
        <p:sp>
          <p:nvSpPr>
            <p:cNvPr id="293" name="Oval 292"/>
            <p:cNvSpPr/>
            <p:nvPr/>
          </p:nvSpPr>
          <p:spPr>
            <a:xfrm rot="19181156">
              <a:off x="7893156" y="2347191"/>
              <a:ext cx="576064" cy="28803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900" b="0" dirty="0" smtClean="0"/>
                <a:t>27%</a:t>
              </a:r>
              <a:endParaRPr lang="pt-BR" sz="900" b="0" dirty="0"/>
            </a:p>
          </p:txBody>
        </p:sp>
      </p:grpSp>
      <p:cxnSp>
        <p:nvCxnSpPr>
          <p:cNvPr id="6" name="Straight Connector 5"/>
          <p:cNvCxnSpPr>
            <a:stCxn id="491" idx="3"/>
            <a:endCxn id="268" idx="2"/>
          </p:cNvCxnSpPr>
          <p:nvPr/>
        </p:nvCxnSpPr>
        <p:spPr>
          <a:xfrm>
            <a:off x="4881133" y="1010633"/>
            <a:ext cx="44570" cy="5730735"/>
          </a:xfrm>
          <a:prstGeom prst="line">
            <a:avLst/>
          </a:prstGeom>
          <a:solidFill>
            <a:srgbClr val="FFFFFF"/>
          </a:solidFill>
          <a:ln w="9525">
            <a:solidFill>
              <a:srgbClr val="97B3D1"/>
            </a:solidFill>
            <a:miter lim="800000"/>
            <a:headEnd/>
            <a:tailEnd/>
          </a:ln>
        </p:spPr>
      </p:cxnSp>
      <p:cxnSp>
        <p:nvCxnSpPr>
          <p:cNvPr id="9" name="Straight Connector 8"/>
          <p:cNvCxnSpPr/>
          <p:nvPr/>
        </p:nvCxnSpPr>
        <p:spPr>
          <a:xfrm>
            <a:off x="4903418" y="4149080"/>
            <a:ext cx="4802083" cy="0"/>
          </a:xfrm>
          <a:prstGeom prst="line">
            <a:avLst/>
          </a:prstGeom>
          <a:solidFill>
            <a:srgbClr val="FFFFFF"/>
          </a:solidFill>
          <a:ln w="9525">
            <a:solidFill>
              <a:srgbClr val="97B3D1"/>
            </a:solidFill>
            <a:miter lim="800000"/>
            <a:headEnd/>
            <a:tailEnd/>
          </a:ln>
        </p:spPr>
      </p:cxnSp>
      <p:grpSp>
        <p:nvGrpSpPr>
          <p:cNvPr id="13" name="Group 12"/>
          <p:cNvGrpSpPr/>
          <p:nvPr/>
        </p:nvGrpSpPr>
        <p:grpSpPr>
          <a:xfrm>
            <a:off x="360432" y="1657998"/>
            <a:ext cx="4284946" cy="4658183"/>
            <a:chOff x="380022" y="1863721"/>
            <a:chExt cx="4284946" cy="4658183"/>
          </a:xfrm>
        </p:grpSpPr>
        <p:grpSp>
          <p:nvGrpSpPr>
            <p:cNvPr id="294" name="Group 293"/>
            <p:cNvGrpSpPr/>
            <p:nvPr/>
          </p:nvGrpSpPr>
          <p:grpSpPr>
            <a:xfrm>
              <a:off x="380022" y="1863721"/>
              <a:ext cx="4284946" cy="4658183"/>
              <a:chOff x="452388" y="1428739"/>
              <a:chExt cx="4291174" cy="4786345"/>
            </a:xfrm>
          </p:grpSpPr>
          <p:grpSp>
            <p:nvGrpSpPr>
              <p:cNvPr id="295" name="Group 365"/>
              <p:cNvGrpSpPr>
                <a:grpSpLocks/>
              </p:cNvGrpSpPr>
              <p:nvPr/>
            </p:nvGrpSpPr>
            <p:grpSpPr bwMode="auto">
              <a:xfrm>
                <a:off x="452388" y="1428739"/>
                <a:ext cx="4291174" cy="4786345"/>
                <a:chOff x="4900597" y="803599"/>
                <a:chExt cx="3701469" cy="3173094"/>
              </a:xfrm>
            </p:grpSpPr>
            <p:sp>
              <p:nvSpPr>
                <p:cNvPr id="339" name="Freeform 25"/>
                <p:cNvSpPr>
                  <a:spLocks noChangeArrowheads="1"/>
                </p:cNvSpPr>
                <p:nvPr/>
              </p:nvSpPr>
              <p:spPr bwMode="auto">
                <a:xfrm>
                  <a:off x="6525106" y="927193"/>
                  <a:ext cx="385398" cy="420566"/>
                </a:xfrm>
                <a:custGeom>
                  <a:avLst/>
                  <a:gdLst>
                    <a:gd name="T0" fmla="*/ 2147483647 w 179"/>
                    <a:gd name="T1" fmla="*/ 2147483647 h 191"/>
                    <a:gd name="T2" fmla="*/ 2147483647 w 179"/>
                    <a:gd name="T3" fmla="*/ 2147483647 h 191"/>
                    <a:gd name="T4" fmla="*/ 2147483647 w 179"/>
                    <a:gd name="T5" fmla="*/ 2147483647 h 191"/>
                    <a:gd name="T6" fmla="*/ 2147483647 w 179"/>
                    <a:gd name="T7" fmla="*/ 2147483647 h 191"/>
                    <a:gd name="T8" fmla="*/ 2147483647 w 179"/>
                    <a:gd name="T9" fmla="*/ 2147483647 h 191"/>
                    <a:gd name="T10" fmla="*/ 2147483647 w 179"/>
                    <a:gd name="T11" fmla="*/ 2147483647 h 191"/>
                    <a:gd name="T12" fmla="*/ 2147483647 w 179"/>
                    <a:gd name="T13" fmla="*/ 2147483647 h 191"/>
                    <a:gd name="T14" fmla="*/ 0 w 179"/>
                    <a:gd name="T15" fmla="*/ 2147483647 h 191"/>
                    <a:gd name="T16" fmla="*/ 0 w 179"/>
                    <a:gd name="T17" fmla="*/ 2147483647 h 191"/>
                    <a:gd name="T18" fmla="*/ 2147483647 w 179"/>
                    <a:gd name="T19" fmla="*/ 2147483647 h 191"/>
                    <a:gd name="T20" fmla="*/ 2147483647 w 179"/>
                    <a:gd name="T21" fmla="*/ 2147483647 h 191"/>
                    <a:gd name="T22" fmla="*/ 2147483647 w 179"/>
                    <a:gd name="T23" fmla="*/ 2147483647 h 191"/>
                    <a:gd name="T24" fmla="*/ 2147483647 w 179"/>
                    <a:gd name="T25" fmla="*/ 2147483647 h 191"/>
                    <a:gd name="T26" fmla="*/ 2147483647 w 179"/>
                    <a:gd name="T27" fmla="*/ 0 h 191"/>
                    <a:gd name="T28" fmla="*/ 2147483647 w 179"/>
                    <a:gd name="T29" fmla="*/ 0 h 191"/>
                    <a:gd name="T30" fmla="*/ 2147483647 w 179"/>
                    <a:gd name="T31" fmla="*/ 2147483647 h 191"/>
                    <a:gd name="T32" fmla="*/ 2147483647 w 179"/>
                    <a:gd name="T33" fmla="*/ 2147483647 h 191"/>
                    <a:gd name="T34" fmla="*/ 2147483647 w 179"/>
                    <a:gd name="T35" fmla="*/ 2147483647 h 191"/>
                    <a:gd name="T36" fmla="*/ 2147483647 w 179"/>
                    <a:gd name="T37" fmla="*/ 2147483647 h 191"/>
                    <a:gd name="T38" fmla="*/ 2147483647 w 179"/>
                    <a:gd name="T39" fmla="*/ 2147483647 h 191"/>
                    <a:gd name="T40" fmla="*/ 2147483647 w 179"/>
                    <a:gd name="T41" fmla="*/ 2147483647 h 191"/>
                    <a:gd name="T42" fmla="*/ 2147483647 w 179"/>
                    <a:gd name="T43" fmla="*/ 2147483647 h 191"/>
                    <a:gd name="T44" fmla="*/ 2147483647 w 179"/>
                    <a:gd name="T45" fmla="*/ 2147483647 h 191"/>
                    <a:gd name="T46" fmla="*/ 2147483647 w 179"/>
                    <a:gd name="T47" fmla="*/ 2147483647 h 19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79"/>
                    <a:gd name="T73" fmla="*/ 0 h 191"/>
                    <a:gd name="T74" fmla="*/ 179 w 179"/>
                    <a:gd name="T75" fmla="*/ 191 h 19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79" h="191">
                      <a:moveTo>
                        <a:pt x="135" y="191"/>
                      </a:moveTo>
                      <a:lnTo>
                        <a:pt x="112" y="191"/>
                      </a:lnTo>
                      <a:lnTo>
                        <a:pt x="88" y="167"/>
                      </a:lnTo>
                      <a:lnTo>
                        <a:pt x="76" y="135"/>
                      </a:lnTo>
                      <a:lnTo>
                        <a:pt x="56" y="99"/>
                      </a:lnTo>
                      <a:lnTo>
                        <a:pt x="32" y="91"/>
                      </a:lnTo>
                      <a:lnTo>
                        <a:pt x="20" y="91"/>
                      </a:lnTo>
                      <a:lnTo>
                        <a:pt x="0" y="79"/>
                      </a:lnTo>
                      <a:lnTo>
                        <a:pt x="0" y="55"/>
                      </a:lnTo>
                      <a:lnTo>
                        <a:pt x="32" y="67"/>
                      </a:lnTo>
                      <a:lnTo>
                        <a:pt x="68" y="67"/>
                      </a:lnTo>
                      <a:lnTo>
                        <a:pt x="100" y="43"/>
                      </a:lnTo>
                      <a:lnTo>
                        <a:pt x="124" y="12"/>
                      </a:lnTo>
                      <a:lnTo>
                        <a:pt x="135" y="0"/>
                      </a:lnTo>
                      <a:lnTo>
                        <a:pt x="143" y="0"/>
                      </a:lnTo>
                      <a:lnTo>
                        <a:pt x="143" y="32"/>
                      </a:lnTo>
                      <a:lnTo>
                        <a:pt x="155" y="67"/>
                      </a:lnTo>
                      <a:lnTo>
                        <a:pt x="167" y="91"/>
                      </a:lnTo>
                      <a:lnTo>
                        <a:pt x="179" y="99"/>
                      </a:lnTo>
                      <a:lnTo>
                        <a:pt x="179" y="111"/>
                      </a:lnTo>
                      <a:lnTo>
                        <a:pt x="167" y="123"/>
                      </a:lnTo>
                      <a:lnTo>
                        <a:pt x="143" y="147"/>
                      </a:lnTo>
                      <a:lnTo>
                        <a:pt x="135" y="179"/>
                      </a:lnTo>
                      <a:lnTo>
                        <a:pt x="135" y="191"/>
                      </a:lnTo>
                      <a:close/>
                    </a:path>
                  </a:pathLst>
                </a:custGeom>
                <a:solidFill>
                  <a:srgbClr val="FFC000">
                    <a:alpha val="46000"/>
                  </a:srgbClr>
                </a:solidFill>
                <a:ln w="9360">
                  <a:solidFill>
                    <a:srgbClr val="969696"/>
                  </a:solidFill>
                  <a:round/>
                  <a:headEnd/>
                  <a:tailEnd/>
                </a:ln>
              </p:spPr>
              <p:txBody>
                <a:bodyPr wrap="none" anchor="ctr"/>
                <a:lstStyle/>
                <a:p>
                  <a:pPr algn="ctr"/>
                  <a:endParaRPr lang="pt-BR" sz="700"/>
                </a:p>
              </p:txBody>
            </p:sp>
            <p:sp>
              <p:nvSpPr>
                <p:cNvPr id="340" name="Freeform 26"/>
                <p:cNvSpPr>
                  <a:spLocks noChangeArrowheads="1"/>
                </p:cNvSpPr>
                <p:nvPr/>
              </p:nvSpPr>
              <p:spPr bwMode="auto">
                <a:xfrm>
                  <a:off x="5681124" y="803599"/>
                  <a:ext cx="464908" cy="574166"/>
                </a:xfrm>
                <a:custGeom>
                  <a:avLst/>
                  <a:gdLst>
                    <a:gd name="T0" fmla="*/ 2147483647 w 203"/>
                    <a:gd name="T1" fmla="*/ 2147483647 h 247"/>
                    <a:gd name="T2" fmla="*/ 2147483647 w 203"/>
                    <a:gd name="T3" fmla="*/ 2147483647 h 247"/>
                    <a:gd name="T4" fmla="*/ 2147483647 w 203"/>
                    <a:gd name="T5" fmla="*/ 2147483647 h 247"/>
                    <a:gd name="T6" fmla="*/ 2147483647 w 203"/>
                    <a:gd name="T7" fmla="*/ 2147483647 h 247"/>
                    <a:gd name="T8" fmla="*/ 2147483647 w 203"/>
                    <a:gd name="T9" fmla="*/ 2147483647 h 247"/>
                    <a:gd name="T10" fmla="*/ 2147483647 w 203"/>
                    <a:gd name="T11" fmla="*/ 2147483647 h 247"/>
                    <a:gd name="T12" fmla="*/ 2147483647 w 203"/>
                    <a:gd name="T13" fmla="*/ 2147483647 h 247"/>
                    <a:gd name="T14" fmla="*/ 2147483647 w 203"/>
                    <a:gd name="T15" fmla="*/ 2147483647 h 247"/>
                    <a:gd name="T16" fmla="*/ 2147483647 w 203"/>
                    <a:gd name="T17" fmla="*/ 2147483647 h 247"/>
                    <a:gd name="T18" fmla="*/ 2147483647 w 203"/>
                    <a:gd name="T19" fmla="*/ 2147483647 h 247"/>
                    <a:gd name="T20" fmla="*/ 2147483647 w 203"/>
                    <a:gd name="T21" fmla="*/ 2147483647 h 247"/>
                    <a:gd name="T22" fmla="*/ 2147483647 w 203"/>
                    <a:gd name="T23" fmla="*/ 2147483647 h 247"/>
                    <a:gd name="T24" fmla="*/ 2147483647 w 203"/>
                    <a:gd name="T25" fmla="*/ 2147483647 h 247"/>
                    <a:gd name="T26" fmla="*/ 2147483647 w 203"/>
                    <a:gd name="T27" fmla="*/ 2147483647 h 247"/>
                    <a:gd name="T28" fmla="*/ 2147483647 w 203"/>
                    <a:gd name="T29" fmla="*/ 2147483647 h 247"/>
                    <a:gd name="T30" fmla="*/ 2147483647 w 203"/>
                    <a:gd name="T31" fmla="*/ 2147483647 h 247"/>
                    <a:gd name="T32" fmla="*/ 2147483647 w 203"/>
                    <a:gd name="T33" fmla="*/ 2147483647 h 247"/>
                    <a:gd name="T34" fmla="*/ 2147483647 w 203"/>
                    <a:gd name="T35" fmla="*/ 2147483647 h 247"/>
                    <a:gd name="T36" fmla="*/ 2147483647 w 203"/>
                    <a:gd name="T37" fmla="*/ 2147483647 h 247"/>
                    <a:gd name="T38" fmla="*/ 0 w 203"/>
                    <a:gd name="T39" fmla="*/ 2147483647 h 247"/>
                    <a:gd name="T40" fmla="*/ 2147483647 w 203"/>
                    <a:gd name="T41" fmla="*/ 2147483647 h 247"/>
                    <a:gd name="T42" fmla="*/ 2147483647 w 203"/>
                    <a:gd name="T43" fmla="*/ 2147483647 h 247"/>
                    <a:gd name="T44" fmla="*/ 2147483647 w 203"/>
                    <a:gd name="T45" fmla="*/ 2147483647 h 247"/>
                    <a:gd name="T46" fmla="*/ 2147483647 w 203"/>
                    <a:gd name="T47" fmla="*/ 2147483647 h 247"/>
                    <a:gd name="T48" fmla="*/ 2147483647 w 203"/>
                    <a:gd name="T49" fmla="*/ 2147483647 h 247"/>
                    <a:gd name="T50" fmla="*/ 2147483647 w 203"/>
                    <a:gd name="T51" fmla="*/ 2147483647 h 247"/>
                    <a:gd name="T52" fmla="*/ 2147483647 w 203"/>
                    <a:gd name="T53" fmla="*/ 0 h 247"/>
                    <a:gd name="T54" fmla="*/ 2147483647 w 203"/>
                    <a:gd name="T55" fmla="*/ 2147483647 h 247"/>
                    <a:gd name="T56" fmla="*/ 2147483647 w 203"/>
                    <a:gd name="T57" fmla="*/ 2147483647 h 247"/>
                    <a:gd name="T58" fmla="*/ 2147483647 w 203"/>
                    <a:gd name="T59" fmla="*/ 2147483647 h 247"/>
                    <a:gd name="T60" fmla="*/ 2147483647 w 203"/>
                    <a:gd name="T61" fmla="*/ 2147483647 h 247"/>
                    <a:gd name="T62" fmla="*/ 2147483647 w 203"/>
                    <a:gd name="T63" fmla="*/ 2147483647 h 247"/>
                    <a:gd name="T64" fmla="*/ 2147483647 w 203"/>
                    <a:gd name="T65" fmla="*/ 2147483647 h 247"/>
                    <a:gd name="T66" fmla="*/ 2147483647 w 203"/>
                    <a:gd name="T67" fmla="*/ 2147483647 h 247"/>
                    <a:gd name="T68" fmla="*/ 2147483647 w 203"/>
                    <a:gd name="T69" fmla="*/ 2147483647 h 247"/>
                    <a:gd name="T70" fmla="*/ 2147483647 w 203"/>
                    <a:gd name="T71" fmla="*/ 2147483647 h 24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03"/>
                    <a:gd name="T109" fmla="*/ 0 h 247"/>
                    <a:gd name="T110" fmla="*/ 203 w 203"/>
                    <a:gd name="T111" fmla="*/ 247 h 24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03" h="247">
                      <a:moveTo>
                        <a:pt x="203" y="203"/>
                      </a:moveTo>
                      <a:lnTo>
                        <a:pt x="167" y="203"/>
                      </a:lnTo>
                      <a:lnTo>
                        <a:pt x="155" y="211"/>
                      </a:lnTo>
                      <a:lnTo>
                        <a:pt x="155" y="223"/>
                      </a:lnTo>
                      <a:lnTo>
                        <a:pt x="143" y="235"/>
                      </a:lnTo>
                      <a:lnTo>
                        <a:pt x="135" y="235"/>
                      </a:lnTo>
                      <a:lnTo>
                        <a:pt x="124" y="223"/>
                      </a:lnTo>
                      <a:lnTo>
                        <a:pt x="112" y="223"/>
                      </a:lnTo>
                      <a:lnTo>
                        <a:pt x="100" y="247"/>
                      </a:lnTo>
                      <a:lnTo>
                        <a:pt x="76" y="235"/>
                      </a:lnTo>
                      <a:lnTo>
                        <a:pt x="68" y="223"/>
                      </a:lnTo>
                      <a:lnTo>
                        <a:pt x="76" y="211"/>
                      </a:lnTo>
                      <a:lnTo>
                        <a:pt x="76" y="179"/>
                      </a:lnTo>
                      <a:lnTo>
                        <a:pt x="68" y="155"/>
                      </a:lnTo>
                      <a:lnTo>
                        <a:pt x="68" y="135"/>
                      </a:lnTo>
                      <a:lnTo>
                        <a:pt x="56" y="123"/>
                      </a:lnTo>
                      <a:lnTo>
                        <a:pt x="32" y="111"/>
                      </a:lnTo>
                      <a:lnTo>
                        <a:pt x="20" y="87"/>
                      </a:lnTo>
                      <a:lnTo>
                        <a:pt x="20" y="68"/>
                      </a:lnTo>
                      <a:lnTo>
                        <a:pt x="0" y="56"/>
                      </a:lnTo>
                      <a:lnTo>
                        <a:pt x="8" y="44"/>
                      </a:lnTo>
                      <a:lnTo>
                        <a:pt x="56" y="56"/>
                      </a:lnTo>
                      <a:lnTo>
                        <a:pt x="68" y="56"/>
                      </a:lnTo>
                      <a:lnTo>
                        <a:pt x="76" y="68"/>
                      </a:lnTo>
                      <a:lnTo>
                        <a:pt x="88" y="44"/>
                      </a:lnTo>
                      <a:lnTo>
                        <a:pt x="135" y="20"/>
                      </a:lnTo>
                      <a:lnTo>
                        <a:pt x="135" y="0"/>
                      </a:lnTo>
                      <a:lnTo>
                        <a:pt x="155" y="8"/>
                      </a:lnTo>
                      <a:lnTo>
                        <a:pt x="155" y="32"/>
                      </a:lnTo>
                      <a:lnTo>
                        <a:pt x="167" y="32"/>
                      </a:lnTo>
                      <a:lnTo>
                        <a:pt x="179" y="56"/>
                      </a:lnTo>
                      <a:lnTo>
                        <a:pt x="167" y="87"/>
                      </a:lnTo>
                      <a:lnTo>
                        <a:pt x="179" y="135"/>
                      </a:lnTo>
                      <a:lnTo>
                        <a:pt x="191" y="143"/>
                      </a:lnTo>
                      <a:lnTo>
                        <a:pt x="203" y="179"/>
                      </a:lnTo>
                      <a:lnTo>
                        <a:pt x="203" y="203"/>
                      </a:lnTo>
                      <a:close/>
                    </a:path>
                  </a:pathLst>
                </a:custGeom>
                <a:solidFill>
                  <a:srgbClr val="FFC000">
                    <a:alpha val="46000"/>
                  </a:srgbClr>
                </a:solidFill>
                <a:ln w="9360">
                  <a:solidFill>
                    <a:srgbClr val="969696"/>
                  </a:solidFill>
                  <a:round/>
                  <a:headEnd/>
                  <a:tailEnd/>
                </a:ln>
              </p:spPr>
              <p:txBody>
                <a:bodyPr wrap="none" anchor="ctr"/>
                <a:lstStyle/>
                <a:p>
                  <a:pPr algn="ctr"/>
                  <a:endParaRPr lang="pt-BR" sz="700"/>
                </a:p>
              </p:txBody>
            </p:sp>
            <p:grpSp>
              <p:nvGrpSpPr>
                <p:cNvPr id="341" name="Group 362"/>
                <p:cNvGrpSpPr>
                  <a:grpSpLocks/>
                </p:cNvGrpSpPr>
                <p:nvPr/>
              </p:nvGrpSpPr>
              <p:grpSpPr bwMode="auto">
                <a:xfrm>
                  <a:off x="4900597" y="1053963"/>
                  <a:ext cx="3701469" cy="2922730"/>
                  <a:chOff x="5795288" y="1169960"/>
                  <a:chExt cx="2874948" cy="2605537"/>
                </a:xfrm>
              </p:grpSpPr>
              <p:sp>
                <p:nvSpPr>
                  <p:cNvPr id="342" name="Freeform 12"/>
                  <p:cNvSpPr>
                    <a:spLocks noChangeArrowheads="1"/>
                  </p:cNvSpPr>
                  <p:nvPr/>
                </p:nvSpPr>
                <p:spPr bwMode="auto">
                  <a:xfrm>
                    <a:off x="8028472" y="1832762"/>
                    <a:ext cx="460869" cy="154577"/>
                  </a:xfrm>
                  <a:custGeom>
                    <a:avLst/>
                    <a:gdLst>
                      <a:gd name="T0" fmla="*/ 2147483647 w 239"/>
                      <a:gd name="T1" fmla="*/ 0 h 79"/>
                      <a:gd name="T2" fmla="*/ 2147483647 w 239"/>
                      <a:gd name="T3" fmla="*/ 0 h 79"/>
                      <a:gd name="T4" fmla="*/ 2147483647 w 239"/>
                      <a:gd name="T5" fmla="*/ 2147483647 h 79"/>
                      <a:gd name="T6" fmla="*/ 2147483647 w 239"/>
                      <a:gd name="T7" fmla="*/ 2147483647 h 79"/>
                      <a:gd name="T8" fmla="*/ 2147483647 w 239"/>
                      <a:gd name="T9" fmla="*/ 2147483647 h 79"/>
                      <a:gd name="T10" fmla="*/ 2147483647 w 239"/>
                      <a:gd name="T11" fmla="*/ 2147483647 h 79"/>
                      <a:gd name="T12" fmla="*/ 2147483647 w 239"/>
                      <a:gd name="T13" fmla="*/ 2147483647 h 79"/>
                      <a:gd name="T14" fmla="*/ 2147483647 w 239"/>
                      <a:gd name="T15" fmla="*/ 2147483647 h 79"/>
                      <a:gd name="T16" fmla="*/ 2147483647 w 239"/>
                      <a:gd name="T17" fmla="*/ 2147483647 h 79"/>
                      <a:gd name="T18" fmla="*/ 2147483647 w 239"/>
                      <a:gd name="T19" fmla="*/ 2147483647 h 79"/>
                      <a:gd name="T20" fmla="*/ 2147483647 w 239"/>
                      <a:gd name="T21" fmla="*/ 2147483647 h 79"/>
                      <a:gd name="T22" fmla="*/ 2147483647 w 239"/>
                      <a:gd name="T23" fmla="*/ 2147483647 h 79"/>
                      <a:gd name="T24" fmla="*/ 2147483647 w 239"/>
                      <a:gd name="T25" fmla="*/ 2147483647 h 79"/>
                      <a:gd name="T26" fmla="*/ 2147483647 w 239"/>
                      <a:gd name="T27" fmla="*/ 2147483647 h 79"/>
                      <a:gd name="T28" fmla="*/ 2147483647 w 239"/>
                      <a:gd name="T29" fmla="*/ 2147483647 h 79"/>
                      <a:gd name="T30" fmla="*/ 2147483647 w 239"/>
                      <a:gd name="T31" fmla="*/ 2147483647 h 79"/>
                      <a:gd name="T32" fmla="*/ 2147483647 w 239"/>
                      <a:gd name="T33" fmla="*/ 2147483647 h 79"/>
                      <a:gd name="T34" fmla="*/ 0 w 239"/>
                      <a:gd name="T35" fmla="*/ 2147483647 h 79"/>
                      <a:gd name="T36" fmla="*/ 2147483647 w 239"/>
                      <a:gd name="T37" fmla="*/ 2147483647 h 79"/>
                      <a:gd name="T38" fmla="*/ 2147483647 w 239"/>
                      <a:gd name="T39" fmla="*/ 2147483647 h 79"/>
                      <a:gd name="T40" fmla="*/ 2147483647 w 239"/>
                      <a:gd name="T41" fmla="*/ 2147483647 h 79"/>
                      <a:gd name="T42" fmla="*/ 2147483647 w 239"/>
                      <a:gd name="T43" fmla="*/ 2147483647 h 79"/>
                      <a:gd name="T44" fmla="*/ 2147483647 w 239"/>
                      <a:gd name="T45" fmla="*/ 2147483647 h 79"/>
                      <a:gd name="T46" fmla="*/ 2147483647 w 239"/>
                      <a:gd name="T47" fmla="*/ 2147483647 h 79"/>
                      <a:gd name="T48" fmla="*/ 2147483647 w 239"/>
                      <a:gd name="T49" fmla="*/ 2147483647 h 79"/>
                      <a:gd name="T50" fmla="*/ 2147483647 w 239"/>
                      <a:gd name="T51" fmla="*/ 2147483647 h 79"/>
                      <a:gd name="T52" fmla="*/ 2147483647 w 239"/>
                      <a:gd name="T53" fmla="*/ 2147483647 h 79"/>
                      <a:gd name="T54" fmla="*/ 2147483647 w 239"/>
                      <a:gd name="T55" fmla="*/ 2147483647 h 79"/>
                      <a:gd name="T56" fmla="*/ 2147483647 w 239"/>
                      <a:gd name="T57" fmla="*/ 2147483647 h 79"/>
                      <a:gd name="T58" fmla="*/ 2147483647 w 239"/>
                      <a:gd name="T59" fmla="*/ 2147483647 h 79"/>
                      <a:gd name="T60" fmla="*/ 2147483647 w 239"/>
                      <a:gd name="T61" fmla="*/ 2147483647 h 79"/>
                      <a:gd name="T62" fmla="*/ 2147483647 w 239"/>
                      <a:gd name="T63" fmla="*/ 2147483647 h 79"/>
                      <a:gd name="T64" fmla="*/ 2147483647 w 239"/>
                      <a:gd name="T65" fmla="*/ 0 h 7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39"/>
                      <a:gd name="T100" fmla="*/ 0 h 79"/>
                      <a:gd name="T101" fmla="*/ 239 w 239"/>
                      <a:gd name="T102" fmla="*/ 79 h 7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39" h="79">
                        <a:moveTo>
                          <a:pt x="239" y="0"/>
                        </a:moveTo>
                        <a:lnTo>
                          <a:pt x="227" y="0"/>
                        </a:lnTo>
                        <a:lnTo>
                          <a:pt x="203" y="23"/>
                        </a:lnTo>
                        <a:lnTo>
                          <a:pt x="179" y="23"/>
                        </a:lnTo>
                        <a:lnTo>
                          <a:pt x="171" y="23"/>
                        </a:lnTo>
                        <a:lnTo>
                          <a:pt x="159" y="35"/>
                        </a:lnTo>
                        <a:lnTo>
                          <a:pt x="136" y="35"/>
                        </a:lnTo>
                        <a:lnTo>
                          <a:pt x="148" y="11"/>
                        </a:lnTo>
                        <a:lnTo>
                          <a:pt x="136" y="11"/>
                        </a:lnTo>
                        <a:lnTo>
                          <a:pt x="112" y="23"/>
                        </a:lnTo>
                        <a:lnTo>
                          <a:pt x="104" y="35"/>
                        </a:lnTo>
                        <a:lnTo>
                          <a:pt x="68" y="23"/>
                        </a:lnTo>
                        <a:lnTo>
                          <a:pt x="56" y="23"/>
                        </a:lnTo>
                        <a:lnTo>
                          <a:pt x="44" y="11"/>
                        </a:lnTo>
                        <a:lnTo>
                          <a:pt x="24" y="11"/>
                        </a:lnTo>
                        <a:lnTo>
                          <a:pt x="12" y="23"/>
                        </a:lnTo>
                        <a:lnTo>
                          <a:pt x="12" y="43"/>
                        </a:lnTo>
                        <a:lnTo>
                          <a:pt x="0" y="55"/>
                        </a:lnTo>
                        <a:lnTo>
                          <a:pt x="12" y="67"/>
                        </a:lnTo>
                        <a:lnTo>
                          <a:pt x="12" y="79"/>
                        </a:lnTo>
                        <a:lnTo>
                          <a:pt x="36" y="79"/>
                        </a:lnTo>
                        <a:lnTo>
                          <a:pt x="56" y="55"/>
                        </a:lnTo>
                        <a:lnTo>
                          <a:pt x="104" y="67"/>
                        </a:lnTo>
                        <a:lnTo>
                          <a:pt x="104" y="79"/>
                        </a:lnTo>
                        <a:lnTo>
                          <a:pt x="112" y="79"/>
                        </a:lnTo>
                        <a:lnTo>
                          <a:pt x="124" y="67"/>
                        </a:lnTo>
                        <a:lnTo>
                          <a:pt x="148" y="67"/>
                        </a:lnTo>
                        <a:lnTo>
                          <a:pt x="171" y="79"/>
                        </a:lnTo>
                        <a:lnTo>
                          <a:pt x="179" y="79"/>
                        </a:lnTo>
                        <a:lnTo>
                          <a:pt x="191" y="67"/>
                        </a:lnTo>
                        <a:lnTo>
                          <a:pt x="227" y="67"/>
                        </a:lnTo>
                        <a:lnTo>
                          <a:pt x="239" y="35"/>
                        </a:lnTo>
                        <a:lnTo>
                          <a:pt x="239" y="0"/>
                        </a:lnTo>
                        <a:close/>
                      </a:path>
                    </a:pathLst>
                  </a:custGeom>
                  <a:noFill/>
                  <a:ln w="9360">
                    <a:solidFill>
                      <a:srgbClr val="969696"/>
                    </a:solidFill>
                    <a:round/>
                    <a:headEnd/>
                    <a:tailEnd/>
                  </a:ln>
                </p:spPr>
                <p:txBody>
                  <a:bodyPr wrap="none" anchor="ctr"/>
                  <a:lstStyle/>
                  <a:p>
                    <a:pPr algn="ctr"/>
                    <a:endParaRPr lang="pt-BR" sz="700"/>
                  </a:p>
                </p:txBody>
              </p:sp>
              <p:sp>
                <p:nvSpPr>
                  <p:cNvPr id="343" name="Freeform 15"/>
                  <p:cNvSpPr>
                    <a:spLocks noChangeArrowheads="1"/>
                  </p:cNvSpPr>
                  <p:nvPr/>
                </p:nvSpPr>
                <p:spPr bwMode="auto">
                  <a:xfrm>
                    <a:off x="8007010" y="1543516"/>
                    <a:ext cx="306116" cy="333743"/>
                  </a:xfrm>
                  <a:custGeom>
                    <a:avLst/>
                    <a:gdLst>
                      <a:gd name="T0" fmla="*/ 2147483647 w 160"/>
                      <a:gd name="T1" fmla="*/ 2147483647 h 171"/>
                      <a:gd name="T2" fmla="*/ 2147483647 w 160"/>
                      <a:gd name="T3" fmla="*/ 2147483647 h 171"/>
                      <a:gd name="T4" fmla="*/ 2147483647 w 160"/>
                      <a:gd name="T5" fmla="*/ 2147483647 h 171"/>
                      <a:gd name="T6" fmla="*/ 2147483647 w 160"/>
                      <a:gd name="T7" fmla="*/ 2147483647 h 171"/>
                      <a:gd name="T8" fmla="*/ 2147483647 w 160"/>
                      <a:gd name="T9" fmla="*/ 0 h 171"/>
                      <a:gd name="T10" fmla="*/ 0 w 160"/>
                      <a:gd name="T11" fmla="*/ 0 h 171"/>
                      <a:gd name="T12" fmla="*/ 0 w 160"/>
                      <a:gd name="T13" fmla="*/ 2147483647 h 171"/>
                      <a:gd name="T14" fmla="*/ 0 w 160"/>
                      <a:gd name="T15" fmla="*/ 2147483647 h 171"/>
                      <a:gd name="T16" fmla="*/ 2147483647 w 160"/>
                      <a:gd name="T17" fmla="*/ 2147483647 h 171"/>
                      <a:gd name="T18" fmla="*/ 2147483647 w 160"/>
                      <a:gd name="T19" fmla="*/ 2147483647 h 171"/>
                      <a:gd name="T20" fmla="*/ 2147483647 w 160"/>
                      <a:gd name="T21" fmla="*/ 2147483647 h 171"/>
                      <a:gd name="T22" fmla="*/ 2147483647 w 160"/>
                      <a:gd name="T23" fmla="*/ 2147483647 h 171"/>
                      <a:gd name="T24" fmla="*/ 2147483647 w 160"/>
                      <a:gd name="T25" fmla="*/ 2147483647 h 171"/>
                      <a:gd name="T26" fmla="*/ 2147483647 w 160"/>
                      <a:gd name="T27" fmla="*/ 2147483647 h 171"/>
                      <a:gd name="T28" fmla="*/ 2147483647 w 160"/>
                      <a:gd name="T29" fmla="*/ 2147483647 h 171"/>
                      <a:gd name="T30" fmla="*/ 2147483647 w 160"/>
                      <a:gd name="T31" fmla="*/ 2147483647 h 171"/>
                      <a:gd name="T32" fmla="*/ 2147483647 w 160"/>
                      <a:gd name="T33" fmla="*/ 2147483647 h 171"/>
                      <a:gd name="T34" fmla="*/ 2147483647 w 160"/>
                      <a:gd name="T35" fmla="*/ 2147483647 h 171"/>
                      <a:gd name="T36" fmla="*/ 2147483647 w 160"/>
                      <a:gd name="T37" fmla="*/ 2147483647 h 171"/>
                      <a:gd name="T38" fmla="*/ 2147483647 w 160"/>
                      <a:gd name="T39" fmla="*/ 2147483647 h 171"/>
                      <a:gd name="T40" fmla="*/ 2147483647 w 160"/>
                      <a:gd name="T41" fmla="*/ 2147483647 h 17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60"/>
                      <a:gd name="T64" fmla="*/ 0 h 171"/>
                      <a:gd name="T65" fmla="*/ 160 w 160"/>
                      <a:gd name="T66" fmla="*/ 171 h 17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60" h="171">
                        <a:moveTo>
                          <a:pt x="160" y="56"/>
                        </a:moveTo>
                        <a:lnTo>
                          <a:pt x="124" y="36"/>
                        </a:lnTo>
                        <a:lnTo>
                          <a:pt x="116" y="36"/>
                        </a:lnTo>
                        <a:lnTo>
                          <a:pt x="92" y="12"/>
                        </a:lnTo>
                        <a:lnTo>
                          <a:pt x="56" y="0"/>
                        </a:lnTo>
                        <a:lnTo>
                          <a:pt x="0" y="0"/>
                        </a:lnTo>
                        <a:lnTo>
                          <a:pt x="0" y="24"/>
                        </a:lnTo>
                        <a:lnTo>
                          <a:pt x="0" y="48"/>
                        </a:lnTo>
                        <a:lnTo>
                          <a:pt x="12" y="92"/>
                        </a:lnTo>
                        <a:lnTo>
                          <a:pt x="12" y="116"/>
                        </a:lnTo>
                        <a:lnTo>
                          <a:pt x="36" y="148"/>
                        </a:lnTo>
                        <a:lnTo>
                          <a:pt x="36" y="159"/>
                        </a:lnTo>
                        <a:lnTo>
                          <a:pt x="56" y="159"/>
                        </a:lnTo>
                        <a:lnTo>
                          <a:pt x="68" y="171"/>
                        </a:lnTo>
                        <a:lnTo>
                          <a:pt x="80" y="171"/>
                        </a:lnTo>
                        <a:lnTo>
                          <a:pt x="92" y="159"/>
                        </a:lnTo>
                        <a:lnTo>
                          <a:pt x="104" y="124"/>
                        </a:lnTo>
                        <a:lnTo>
                          <a:pt x="124" y="92"/>
                        </a:lnTo>
                        <a:lnTo>
                          <a:pt x="136" y="68"/>
                        </a:lnTo>
                        <a:lnTo>
                          <a:pt x="148" y="56"/>
                        </a:lnTo>
                        <a:lnTo>
                          <a:pt x="160" y="56"/>
                        </a:lnTo>
                        <a:close/>
                      </a:path>
                    </a:pathLst>
                  </a:custGeom>
                  <a:noFill/>
                  <a:ln w="9360">
                    <a:solidFill>
                      <a:srgbClr val="969696"/>
                    </a:solidFill>
                    <a:round/>
                    <a:headEnd/>
                    <a:tailEnd/>
                  </a:ln>
                </p:spPr>
                <p:txBody>
                  <a:bodyPr wrap="none" anchor="ctr"/>
                  <a:lstStyle/>
                  <a:p>
                    <a:pPr algn="ctr"/>
                    <a:endParaRPr lang="pt-BR" sz="700"/>
                  </a:p>
                </p:txBody>
              </p:sp>
              <p:sp>
                <p:nvSpPr>
                  <p:cNvPr id="344" name="Freeform 5"/>
                  <p:cNvSpPr>
                    <a:spLocks noChangeArrowheads="1"/>
                  </p:cNvSpPr>
                  <p:nvPr/>
                </p:nvSpPr>
                <p:spPr bwMode="auto">
                  <a:xfrm>
                    <a:off x="7230986" y="2762557"/>
                    <a:ext cx="558014" cy="370046"/>
                  </a:xfrm>
                  <a:custGeom>
                    <a:avLst/>
                    <a:gdLst>
                      <a:gd name="T0" fmla="*/ 2147483647 w 294"/>
                      <a:gd name="T1" fmla="*/ 2147483647 h 191"/>
                      <a:gd name="T2" fmla="*/ 2147483647 w 294"/>
                      <a:gd name="T3" fmla="*/ 2147483647 h 191"/>
                      <a:gd name="T4" fmla="*/ 2147483647 w 294"/>
                      <a:gd name="T5" fmla="*/ 2147483647 h 191"/>
                      <a:gd name="T6" fmla="*/ 2147483647 w 294"/>
                      <a:gd name="T7" fmla="*/ 2147483647 h 191"/>
                      <a:gd name="T8" fmla="*/ 2147483647 w 294"/>
                      <a:gd name="T9" fmla="*/ 2147483647 h 191"/>
                      <a:gd name="T10" fmla="*/ 2147483647 w 294"/>
                      <a:gd name="T11" fmla="*/ 2147483647 h 191"/>
                      <a:gd name="T12" fmla="*/ 2147483647 w 294"/>
                      <a:gd name="T13" fmla="*/ 2147483647 h 191"/>
                      <a:gd name="T14" fmla="*/ 2147483647 w 294"/>
                      <a:gd name="T15" fmla="*/ 2147483647 h 191"/>
                      <a:gd name="T16" fmla="*/ 2147483647 w 294"/>
                      <a:gd name="T17" fmla="*/ 2147483647 h 191"/>
                      <a:gd name="T18" fmla="*/ 2147483647 w 294"/>
                      <a:gd name="T19" fmla="*/ 2147483647 h 191"/>
                      <a:gd name="T20" fmla="*/ 2147483647 w 294"/>
                      <a:gd name="T21" fmla="*/ 2147483647 h 191"/>
                      <a:gd name="T22" fmla="*/ 2147483647 w 294"/>
                      <a:gd name="T23" fmla="*/ 0 h 191"/>
                      <a:gd name="T24" fmla="*/ 2147483647 w 294"/>
                      <a:gd name="T25" fmla="*/ 2147483647 h 191"/>
                      <a:gd name="T26" fmla="*/ 2147483647 w 294"/>
                      <a:gd name="T27" fmla="*/ 0 h 191"/>
                      <a:gd name="T28" fmla="*/ 2147483647 w 294"/>
                      <a:gd name="T29" fmla="*/ 0 h 191"/>
                      <a:gd name="T30" fmla="*/ 2147483647 w 294"/>
                      <a:gd name="T31" fmla="*/ 2147483647 h 191"/>
                      <a:gd name="T32" fmla="*/ 2147483647 w 294"/>
                      <a:gd name="T33" fmla="*/ 2147483647 h 191"/>
                      <a:gd name="T34" fmla="*/ 2147483647 w 294"/>
                      <a:gd name="T35" fmla="*/ 2147483647 h 191"/>
                      <a:gd name="T36" fmla="*/ 0 w 294"/>
                      <a:gd name="T37" fmla="*/ 2147483647 h 191"/>
                      <a:gd name="T38" fmla="*/ 2147483647 w 294"/>
                      <a:gd name="T39" fmla="*/ 2147483647 h 191"/>
                      <a:gd name="T40" fmla="*/ 2147483647 w 294"/>
                      <a:gd name="T41" fmla="*/ 2147483647 h 191"/>
                      <a:gd name="T42" fmla="*/ 2147483647 w 294"/>
                      <a:gd name="T43" fmla="*/ 2147483647 h 191"/>
                      <a:gd name="T44" fmla="*/ 2147483647 w 294"/>
                      <a:gd name="T45" fmla="*/ 2147483647 h 191"/>
                      <a:gd name="T46" fmla="*/ 2147483647 w 294"/>
                      <a:gd name="T47" fmla="*/ 2147483647 h 191"/>
                      <a:gd name="T48" fmla="*/ 2147483647 w 294"/>
                      <a:gd name="T49" fmla="*/ 2147483647 h 191"/>
                      <a:gd name="T50" fmla="*/ 2147483647 w 294"/>
                      <a:gd name="T51" fmla="*/ 2147483647 h 191"/>
                      <a:gd name="T52" fmla="*/ 2147483647 w 294"/>
                      <a:gd name="T53" fmla="*/ 2147483647 h 191"/>
                      <a:gd name="T54" fmla="*/ 2147483647 w 294"/>
                      <a:gd name="T55" fmla="*/ 2147483647 h 191"/>
                      <a:gd name="T56" fmla="*/ 2147483647 w 294"/>
                      <a:gd name="T57" fmla="*/ 2147483647 h 191"/>
                      <a:gd name="T58" fmla="*/ 2147483647 w 294"/>
                      <a:gd name="T59" fmla="*/ 2147483647 h 191"/>
                      <a:gd name="T60" fmla="*/ 2147483647 w 294"/>
                      <a:gd name="T61" fmla="*/ 2147483647 h 191"/>
                      <a:gd name="T62" fmla="*/ 2147483647 w 294"/>
                      <a:gd name="T63" fmla="*/ 2147483647 h 19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4"/>
                      <a:gd name="T97" fmla="*/ 0 h 191"/>
                      <a:gd name="T98" fmla="*/ 294 w 294"/>
                      <a:gd name="T99" fmla="*/ 191 h 19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4" h="191">
                        <a:moveTo>
                          <a:pt x="282" y="123"/>
                        </a:moveTo>
                        <a:lnTo>
                          <a:pt x="282" y="115"/>
                        </a:lnTo>
                        <a:lnTo>
                          <a:pt x="294" y="103"/>
                        </a:lnTo>
                        <a:lnTo>
                          <a:pt x="270" y="103"/>
                        </a:lnTo>
                        <a:lnTo>
                          <a:pt x="250" y="103"/>
                        </a:lnTo>
                        <a:lnTo>
                          <a:pt x="226" y="91"/>
                        </a:lnTo>
                        <a:lnTo>
                          <a:pt x="215" y="68"/>
                        </a:lnTo>
                        <a:lnTo>
                          <a:pt x="215" y="56"/>
                        </a:lnTo>
                        <a:lnTo>
                          <a:pt x="203" y="48"/>
                        </a:lnTo>
                        <a:lnTo>
                          <a:pt x="203" y="24"/>
                        </a:lnTo>
                        <a:lnTo>
                          <a:pt x="191" y="12"/>
                        </a:lnTo>
                        <a:lnTo>
                          <a:pt x="171" y="0"/>
                        </a:lnTo>
                        <a:lnTo>
                          <a:pt x="135" y="12"/>
                        </a:lnTo>
                        <a:lnTo>
                          <a:pt x="115" y="0"/>
                        </a:lnTo>
                        <a:lnTo>
                          <a:pt x="79" y="0"/>
                        </a:lnTo>
                        <a:lnTo>
                          <a:pt x="55" y="36"/>
                        </a:lnTo>
                        <a:lnTo>
                          <a:pt x="36" y="68"/>
                        </a:lnTo>
                        <a:lnTo>
                          <a:pt x="12" y="91"/>
                        </a:lnTo>
                        <a:lnTo>
                          <a:pt x="0" y="103"/>
                        </a:lnTo>
                        <a:lnTo>
                          <a:pt x="24" y="103"/>
                        </a:lnTo>
                        <a:lnTo>
                          <a:pt x="55" y="115"/>
                        </a:lnTo>
                        <a:lnTo>
                          <a:pt x="91" y="115"/>
                        </a:lnTo>
                        <a:lnTo>
                          <a:pt x="103" y="123"/>
                        </a:lnTo>
                        <a:lnTo>
                          <a:pt x="115" y="135"/>
                        </a:lnTo>
                        <a:lnTo>
                          <a:pt x="135" y="171"/>
                        </a:lnTo>
                        <a:lnTo>
                          <a:pt x="147" y="171"/>
                        </a:lnTo>
                        <a:lnTo>
                          <a:pt x="171" y="191"/>
                        </a:lnTo>
                        <a:lnTo>
                          <a:pt x="183" y="191"/>
                        </a:lnTo>
                        <a:lnTo>
                          <a:pt x="191" y="183"/>
                        </a:lnTo>
                        <a:lnTo>
                          <a:pt x="226" y="159"/>
                        </a:lnTo>
                        <a:lnTo>
                          <a:pt x="258" y="135"/>
                        </a:lnTo>
                        <a:lnTo>
                          <a:pt x="282" y="123"/>
                        </a:lnTo>
                        <a:close/>
                      </a:path>
                    </a:pathLst>
                  </a:custGeom>
                  <a:solidFill>
                    <a:srgbClr val="CCCCFF"/>
                  </a:solidFill>
                  <a:ln w="9360">
                    <a:solidFill>
                      <a:srgbClr val="969696"/>
                    </a:solidFill>
                    <a:round/>
                    <a:headEnd/>
                    <a:tailEnd/>
                  </a:ln>
                </p:spPr>
                <p:txBody>
                  <a:bodyPr wrap="none" anchor="ctr"/>
                  <a:lstStyle/>
                  <a:p>
                    <a:pPr algn="ctr"/>
                    <a:endParaRPr lang="pt-BR" sz="700"/>
                  </a:p>
                </p:txBody>
              </p:sp>
              <p:sp>
                <p:nvSpPr>
                  <p:cNvPr id="345" name="Freeform 5"/>
                  <p:cNvSpPr>
                    <a:spLocks noChangeArrowheads="1"/>
                  </p:cNvSpPr>
                  <p:nvPr/>
                </p:nvSpPr>
                <p:spPr bwMode="auto">
                  <a:xfrm>
                    <a:off x="7229858" y="2757874"/>
                    <a:ext cx="0" cy="63235"/>
                  </a:xfrm>
                  <a:custGeom>
                    <a:avLst/>
                    <a:gdLst>
                      <a:gd name="T0" fmla="*/ 0 w 294"/>
                      <a:gd name="T1" fmla="*/ 2147483647 h 191"/>
                      <a:gd name="T2" fmla="*/ 0 w 294"/>
                      <a:gd name="T3" fmla="*/ 2147483647 h 191"/>
                      <a:gd name="T4" fmla="*/ 0 w 294"/>
                      <a:gd name="T5" fmla="*/ 2147483647 h 191"/>
                      <a:gd name="T6" fmla="*/ 0 w 294"/>
                      <a:gd name="T7" fmla="*/ 2147483647 h 191"/>
                      <a:gd name="T8" fmla="*/ 0 w 294"/>
                      <a:gd name="T9" fmla="*/ 2147483647 h 191"/>
                      <a:gd name="T10" fmla="*/ 0 w 294"/>
                      <a:gd name="T11" fmla="*/ 2147483647 h 191"/>
                      <a:gd name="T12" fmla="*/ 0 w 294"/>
                      <a:gd name="T13" fmla="*/ 2147483647 h 191"/>
                      <a:gd name="T14" fmla="*/ 0 w 294"/>
                      <a:gd name="T15" fmla="*/ 2147483647 h 191"/>
                      <a:gd name="T16" fmla="*/ 0 w 294"/>
                      <a:gd name="T17" fmla="*/ 2147483647 h 191"/>
                      <a:gd name="T18" fmla="*/ 0 w 294"/>
                      <a:gd name="T19" fmla="*/ 2147483647 h 191"/>
                      <a:gd name="T20" fmla="*/ 0 w 294"/>
                      <a:gd name="T21" fmla="*/ 2147483647 h 191"/>
                      <a:gd name="T22" fmla="*/ 0 w 294"/>
                      <a:gd name="T23" fmla="*/ 0 h 191"/>
                      <a:gd name="T24" fmla="*/ 0 w 294"/>
                      <a:gd name="T25" fmla="*/ 2147483647 h 191"/>
                      <a:gd name="T26" fmla="*/ 0 w 294"/>
                      <a:gd name="T27" fmla="*/ 0 h 191"/>
                      <a:gd name="T28" fmla="*/ 0 w 294"/>
                      <a:gd name="T29" fmla="*/ 0 h 191"/>
                      <a:gd name="T30" fmla="*/ 0 w 294"/>
                      <a:gd name="T31" fmla="*/ 2147483647 h 191"/>
                      <a:gd name="T32" fmla="*/ 0 w 294"/>
                      <a:gd name="T33" fmla="*/ 2147483647 h 191"/>
                      <a:gd name="T34" fmla="*/ 0 w 294"/>
                      <a:gd name="T35" fmla="*/ 2147483647 h 191"/>
                      <a:gd name="T36" fmla="*/ 0 w 294"/>
                      <a:gd name="T37" fmla="*/ 2147483647 h 191"/>
                      <a:gd name="T38" fmla="*/ 0 w 294"/>
                      <a:gd name="T39" fmla="*/ 2147483647 h 191"/>
                      <a:gd name="T40" fmla="*/ 0 w 294"/>
                      <a:gd name="T41" fmla="*/ 2147483647 h 191"/>
                      <a:gd name="T42" fmla="*/ 0 w 294"/>
                      <a:gd name="T43" fmla="*/ 2147483647 h 191"/>
                      <a:gd name="T44" fmla="*/ 0 w 294"/>
                      <a:gd name="T45" fmla="*/ 2147483647 h 191"/>
                      <a:gd name="T46" fmla="*/ 0 w 294"/>
                      <a:gd name="T47" fmla="*/ 2147483647 h 191"/>
                      <a:gd name="T48" fmla="*/ 0 w 294"/>
                      <a:gd name="T49" fmla="*/ 2147483647 h 191"/>
                      <a:gd name="T50" fmla="*/ 0 w 294"/>
                      <a:gd name="T51" fmla="*/ 2147483647 h 191"/>
                      <a:gd name="T52" fmla="*/ 0 w 294"/>
                      <a:gd name="T53" fmla="*/ 2147483647 h 191"/>
                      <a:gd name="T54" fmla="*/ 0 w 294"/>
                      <a:gd name="T55" fmla="*/ 2147483647 h 191"/>
                      <a:gd name="T56" fmla="*/ 0 w 294"/>
                      <a:gd name="T57" fmla="*/ 2147483647 h 191"/>
                      <a:gd name="T58" fmla="*/ 0 w 294"/>
                      <a:gd name="T59" fmla="*/ 2147483647 h 191"/>
                      <a:gd name="T60" fmla="*/ 0 w 294"/>
                      <a:gd name="T61" fmla="*/ 2147483647 h 191"/>
                      <a:gd name="T62" fmla="*/ 0 w 294"/>
                      <a:gd name="T63" fmla="*/ 2147483647 h 19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4"/>
                      <a:gd name="T97" fmla="*/ 0 h 191"/>
                      <a:gd name="T98" fmla="*/ 0 w 294"/>
                      <a:gd name="T99" fmla="*/ 191 h 19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4" h="191">
                        <a:moveTo>
                          <a:pt x="282" y="123"/>
                        </a:moveTo>
                        <a:lnTo>
                          <a:pt x="282" y="115"/>
                        </a:lnTo>
                        <a:lnTo>
                          <a:pt x="294" y="103"/>
                        </a:lnTo>
                        <a:lnTo>
                          <a:pt x="270" y="103"/>
                        </a:lnTo>
                        <a:lnTo>
                          <a:pt x="250" y="103"/>
                        </a:lnTo>
                        <a:lnTo>
                          <a:pt x="226" y="91"/>
                        </a:lnTo>
                        <a:lnTo>
                          <a:pt x="215" y="68"/>
                        </a:lnTo>
                        <a:lnTo>
                          <a:pt x="215" y="56"/>
                        </a:lnTo>
                        <a:lnTo>
                          <a:pt x="203" y="48"/>
                        </a:lnTo>
                        <a:lnTo>
                          <a:pt x="203" y="24"/>
                        </a:lnTo>
                        <a:lnTo>
                          <a:pt x="191" y="12"/>
                        </a:lnTo>
                        <a:lnTo>
                          <a:pt x="171" y="0"/>
                        </a:lnTo>
                        <a:lnTo>
                          <a:pt x="135" y="12"/>
                        </a:lnTo>
                        <a:lnTo>
                          <a:pt x="115" y="0"/>
                        </a:lnTo>
                        <a:lnTo>
                          <a:pt x="79" y="0"/>
                        </a:lnTo>
                        <a:lnTo>
                          <a:pt x="55" y="36"/>
                        </a:lnTo>
                        <a:lnTo>
                          <a:pt x="36" y="68"/>
                        </a:lnTo>
                        <a:lnTo>
                          <a:pt x="12" y="91"/>
                        </a:lnTo>
                        <a:lnTo>
                          <a:pt x="0" y="103"/>
                        </a:lnTo>
                        <a:lnTo>
                          <a:pt x="24" y="103"/>
                        </a:lnTo>
                        <a:lnTo>
                          <a:pt x="55" y="115"/>
                        </a:lnTo>
                        <a:lnTo>
                          <a:pt x="91" y="115"/>
                        </a:lnTo>
                        <a:lnTo>
                          <a:pt x="103" y="123"/>
                        </a:lnTo>
                        <a:lnTo>
                          <a:pt x="115" y="135"/>
                        </a:lnTo>
                        <a:lnTo>
                          <a:pt x="135" y="171"/>
                        </a:lnTo>
                        <a:lnTo>
                          <a:pt x="147" y="171"/>
                        </a:lnTo>
                        <a:lnTo>
                          <a:pt x="171" y="191"/>
                        </a:lnTo>
                        <a:lnTo>
                          <a:pt x="183" y="191"/>
                        </a:lnTo>
                        <a:lnTo>
                          <a:pt x="191" y="183"/>
                        </a:lnTo>
                        <a:lnTo>
                          <a:pt x="226" y="159"/>
                        </a:lnTo>
                        <a:lnTo>
                          <a:pt x="258" y="135"/>
                        </a:lnTo>
                        <a:lnTo>
                          <a:pt x="282" y="123"/>
                        </a:lnTo>
                        <a:close/>
                      </a:path>
                    </a:pathLst>
                  </a:custGeom>
                  <a:noFill/>
                  <a:ln w="9525" algn="ctr">
                    <a:noFill/>
                    <a:round/>
                    <a:headEnd/>
                    <a:tailEnd/>
                  </a:ln>
                </p:spPr>
                <p:txBody>
                  <a:bodyPr wrap="none" lIns="0" tIns="0" rIns="0" bIns="0">
                    <a:spAutoFit/>
                  </a:bodyPr>
                  <a:lstStyle/>
                  <a:p>
                    <a:pPr algn="ctr" defTabSz="457200">
                      <a:lnSpc>
                        <a:spcPct val="80000"/>
                      </a:lnSpc>
                      <a:buClr>
                        <a:srgbClr val="000000"/>
                      </a:buClr>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endParaRPr lang="pt-BR" sz="700">
                      <a:solidFill>
                        <a:srgbClr val="000000"/>
                      </a:solidFill>
                      <a:latin typeface="Calibri" pitchFamily="34" charset="0"/>
                    </a:endParaRPr>
                  </a:p>
                </p:txBody>
              </p:sp>
              <p:sp>
                <p:nvSpPr>
                  <p:cNvPr id="346" name="Freeform 3"/>
                  <p:cNvSpPr>
                    <a:spLocks noChangeArrowheads="1"/>
                  </p:cNvSpPr>
                  <p:nvPr/>
                </p:nvSpPr>
                <p:spPr bwMode="auto">
                  <a:xfrm>
                    <a:off x="7210654" y="3198182"/>
                    <a:ext cx="325319" cy="241232"/>
                  </a:xfrm>
                  <a:custGeom>
                    <a:avLst/>
                    <a:gdLst>
                      <a:gd name="T0" fmla="*/ 2147483647 w 171"/>
                      <a:gd name="T1" fmla="*/ 2147483647 h 123"/>
                      <a:gd name="T2" fmla="*/ 2147483647 w 171"/>
                      <a:gd name="T3" fmla="*/ 2147483647 h 123"/>
                      <a:gd name="T4" fmla="*/ 2147483647 w 171"/>
                      <a:gd name="T5" fmla="*/ 2147483647 h 123"/>
                      <a:gd name="T6" fmla="*/ 2147483647 w 171"/>
                      <a:gd name="T7" fmla="*/ 2147483647 h 123"/>
                      <a:gd name="T8" fmla="*/ 2147483647 w 171"/>
                      <a:gd name="T9" fmla="*/ 2147483647 h 123"/>
                      <a:gd name="T10" fmla="*/ 2147483647 w 171"/>
                      <a:gd name="T11" fmla="*/ 0 h 123"/>
                      <a:gd name="T12" fmla="*/ 2147483647 w 171"/>
                      <a:gd name="T13" fmla="*/ 0 h 123"/>
                      <a:gd name="T14" fmla="*/ 2147483647 w 171"/>
                      <a:gd name="T15" fmla="*/ 2147483647 h 123"/>
                      <a:gd name="T16" fmla="*/ 2147483647 w 171"/>
                      <a:gd name="T17" fmla="*/ 2147483647 h 123"/>
                      <a:gd name="T18" fmla="*/ 2147483647 w 171"/>
                      <a:gd name="T19" fmla="*/ 2147483647 h 123"/>
                      <a:gd name="T20" fmla="*/ 0 w 171"/>
                      <a:gd name="T21" fmla="*/ 2147483647 h 123"/>
                      <a:gd name="T22" fmla="*/ 0 w 171"/>
                      <a:gd name="T23" fmla="*/ 2147483647 h 123"/>
                      <a:gd name="T24" fmla="*/ 2147483647 w 171"/>
                      <a:gd name="T25" fmla="*/ 2147483647 h 123"/>
                      <a:gd name="T26" fmla="*/ 2147483647 w 171"/>
                      <a:gd name="T27" fmla="*/ 2147483647 h 123"/>
                      <a:gd name="T28" fmla="*/ 2147483647 w 171"/>
                      <a:gd name="T29" fmla="*/ 2147483647 h 123"/>
                      <a:gd name="T30" fmla="*/ 2147483647 w 171"/>
                      <a:gd name="T31" fmla="*/ 2147483647 h 123"/>
                      <a:gd name="T32" fmla="*/ 2147483647 w 171"/>
                      <a:gd name="T33" fmla="*/ 2147483647 h 123"/>
                      <a:gd name="T34" fmla="*/ 2147483647 w 171"/>
                      <a:gd name="T35" fmla="*/ 2147483647 h 123"/>
                      <a:gd name="T36" fmla="*/ 2147483647 w 171"/>
                      <a:gd name="T37" fmla="*/ 2147483647 h 123"/>
                      <a:gd name="T38" fmla="*/ 2147483647 w 171"/>
                      <a:gd name="T39" fmla="*/ 2147483647 h 12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71"/>
                      <a:gd name="T61" fmla="*/ 0 h 123"/>
                      <a:gd name="T62" fmla="*/ 171 w 171"/>
                      <a:gd name="T63" fmla="*/ 123 h 12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71" h="123">
                        <a:moveTo>
                          <a:pt x="135" y="123"/>
                        </a:moveTo>
                        <a:lnTo>
                          <a:pt x="159" y="91"/>
                        </a:lnTo>
                        <a:lnTo>
                          <a:pt x="171" y="43"/>
                        </a:lnTo>
                        <a:lnTo>
                          <a:pt x="171" y="12"/>
                        </a:lnTo>
                        <a:lnTo>
                          <a:pt x="159" y="12"/>
                        </a:lnTo>
                        <a:lnTo>
                          <a:pt x="135" y="0"/>
                        </a:lnTo>
                        <a:lnTo>
                          <a:pt x="115" y="0"/>
                        </a:lnTo>
                        <a:lnTo>
                          <a:pt x="91" y="12"/>
                        </a:lnTo>
                        <a:lnTo>
                          <a:pt x="79" y="24"/>
                        </a:lnTo>
                        <a:lnTo>
                          <a:pt x="36" y="12"/>
                        </a:lnTo>
                        <a:lnTo>
                          <a:pt x="0" y="12"/>
                        </a:lnTo>
                        <a:lnTo>
                          <a:pt x="0" y="43"/>
                        </a:lnTo>
                        <a:lnTo>
                          <a:pt x="36" y="43"/>
                        </a:lnTo>
                        <a:lnTo>
                          <a:pt x="67" y="55"/>
                        </a:lnTo>
                        <a:lnTo>
                          <a:pt x="79" y="67"/>
                        </a:lnTo>
                        <a:lnTo>
                          <a:pt x="103" y="79"/>
                        </a:lnTo>
                        <a:lnTo>
                          <a:pt x="115" y="91"/>
                        </a:lnTo>
                        <a:lnTo>
                          <a:pt x="127" y="91"/>
                        </a:lnTo>
                        <a:lnTo>
                          <a:pt x="127" y="111"/>
                        </a:lnTo>
                        <a:lnTo>
                          <a:pt x="135" y="123"/>
                        </a:lnTo>
                        <a:close/>
                      </a:path>
                    </a:pathLst>
                  </a:custGeom>
                  <a:solidFill>
                    <a:srgbClr val="7030A0"/>
                  </a:solidFill>
                  <a:ln w="9360">
                    <a:solidFill>
                      <a:srgbClr val="969696"/>
                    </a:solidFill>
                    <a:round/>
                    <a:headEnd/>
                    <a:tailEnd/>
                  </a:ln>
                </p:spPr>
                <p:txBody>
                  <a:bodyPr wrap="none" anchor="ctr"/>
                  <a:lstStyle/>
                  <a:p>
                    <a:pPr algn="ctr"/>
                    <a:endParaRPr lang="pt-BR" sz="700"/>
                  </a:p>
                </p:txBody>
              </p:sp>
              <p:sp>
                <p:nvSpPr>
                  <p:cNvPr id="347" name="Freeform 4"/>
                  <p:cNvSpPr>
                    <a:spLocks noChangeArrowheads="1"/>
                  </p:cNvSpPr>
                  <p:nvPr/>
                </p:nvSpPr>
                <p:spPr bwMode="auto">
                  <a:xfrm>
                    <a:off x="7148527" y="2958119"/>
                    <a:ext cx="433760" cy="285731"/>
                  </a:xfrm>
                  <a:custGeom>
                    <a:avLst/>
                    <a:gdLst>
                      <a:gd name="T0" fmla="*/ 2147483647 w 227"/>
                      <a:gd name="T1" fmla="*/ 2147483647 h 148"/>
                      <a:gd name="T2" fmla="*/ 2147483647 w 227"/>
                      <a:gd name="T3" fmla="*/ 2147483647 h 148"/>
                      <a:gd name="T4" fmla="*/ 2147483647 w 227"/>
                      <a:gd name="T5" fmla="*/ 2147483647 h 148"/>
                      <a:gd name="T6" fmla="*/ 2147483647 w 227"/>
                      <a:gd name="T7" fmla="*/ 2147483647 h 148"/>
                      <a:gd name="T8" fmla="*/ 2147483647 w 227"/>
                      <a:gd name="T9" fmla="*/ 2147483647 h 148"/>
                      <a:gd name="T10" fmla="*/ 2147483647 w 227"/>
                      <a:gd name="T11" fmla="*/ 2147483647 h 148"/>
                      <a:gd name="T12" fmla="*/ 2147483647 w 227"/>
                      <a:gd name="T13" fmla="*/ 2147483647 h 148"/>
                      <a:gd name="T14" fmla="*/ 2147483647 w 227"/>
                      <a:gd name="T15" fmla="*/ 2147483647 h 148"/>
                      <a:gd name="T16" fmla="*/ 2147483647 w 227"/>
                      <a:gd name="T17" fmla="*/ 2147483647 h 148"/>
                      <a:gd name="T18" fmla="*/ 2147483647 w 227"/>
                      <a:gd name="T19" fmla="*/ 2147483647 h 148"/>
                      <a:gd name="T20" fmla="*/ 2147483647 w 227"/>
                      <a:gd name="T21" fmla="*/ 2147483647 h 148"/>
                      <a:gd name="T22" fmla="*/ 2147483647 w 227"/>
                      <a:gd name="T23" fmla="*/ 2147483647 h 148"/>
                      <a:gd name="T24" fmla="*/ 2147483647 w 227"/>
                      <a:gd name="T25" fmla="*/ 2147483647 h 148"/>
                      <a:gd name="T26" fmla="*/ 2147483647 w 227"/>
                      <a:gd name="T27" fmla="*/ 2147483647 h 148"/>
                      <a:gd name="T28" fmla="*/ 2147483647 w 227"/>
                      <a:gd name="T29" fmla="*/ 2147483647 h 148"/>
                      <a:gd name="T30" fmla="*/ 2147483647 w 227"/>
                      <a:gd name="T31" fmla="*/ 2147483647 h 148"/>
                      <a:gd name="T32" fmla="*/ 2147483647 w 227"/>
                      <a:gd name="T33" fmla="*/ 2147483647 h 148"/>
                      <a:gd name="T34" fmla="*/ 2147483647 w 227"/>
                      <a:gd name="T35" fmla="*/ 0 h 148"/>
                      <a:gd name="T36" fmla="*/ 2147483647 w 227"/>
                      <a:gd name="T37" fmla="*/ 0 h 148"/>
                      <a:gd name="T38" fmla="*/ 2147483647 w 227"/>
                      <a:gd name="T39" fmla="*/ 2147483647 h 148"/>
                      <a:gd name="T40" fmla="*/ 2147483647 w 227"/>
                      <a:gd name="T41" fmla="*/ 2147483647 h 148"/>
                      <a:gd name="T42" fmla="*/ 2147483647 w 227"/>
                      <a:gd name="T43" fmla="*/ 2147483647 h 148"/>
                      <a:gd name="T44" fmla="*/ 2147483647 w 227"/>
                      <a:gd name="T45" fmla="*/ 2147483647 h 148"/>
                      <a:gd name="T46" fmla="*/ 0 w 227"/>
                      <a:gd name="T47" fmla="*/ 2147483647 h 148"/>
                      <a:gd name="T48" fmla="*/ 0 w 227"/>
                      <a:gd name="T49" fmla="*/ 2147483647 h 148"/>
                      <a:gd name="T50" fmla="*/ 2147483647 w 227"/>
                      <a:gd name="T51" fmla="*/ 2147483647 h 148"/>
                      <a:gd name="T52" fmla="*/ 2147483647 w 227"/>
                      <a:gd name="T53" fmla="*/ 2147483647 h 14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27"/>
                      <a:gd name="T82" fmla="*/ 0 h 148"/>
                      <a:gd name="T83" fmla="*/ 227 w 227"/>
                      <a:gd name="T84" fmla="*/ 148 h 14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27" h="148">
                        <a:moveTo>
                          <a:pt x="32" y="136"/>
                        </a:moveTo>
                        <a:lnTo>
                          <a:pt x="68" y="136"/>
                        </a:lnTo>
                        <a:lnTo>
                          <a:pt x="111" y="148"/>
                        </a:lnTo>
                        <a:lnTo>
                          <a:pt x="123" y="136"/>
                        </a:lnTo>
                        <a:lnTo>
                          <a:pt x="147" y="124"/>
                        </a:lnTo>
                        <a:lnTo>
                          <a:pt x="167" y="124"/>
                        </a:lnTo>
                        <a:lnTo>
                          <a:pt x="191" y="136"/>
                        </a:lnTo>
                        <a:lnTo>
                          <a:pt x="203" y="136"/>
                        </a:lnTo>
                        <a:lnTo>
                          <a:pt x="203" y="112"/>
                        </a:lnTo>
                        <a:lnTo>
                          <a:pt x="227" y="88"/>
                        </a:lnTo>
                        <a:lnTo>
                          <a:pt x="215" y="88"/>
                        </a:lnTo>
                        <a:lnTo>
                          <a:pt x="191" y="68"/>
                        </a:lnTo>
                        <a:lnTo>
                          <a:pt x="179" y="68"/>
                        </a:lnTo>
                        <a:lnTo>
                          <a:pt x="159" y="32"/>
                        </a:lnTo>
                        <a:lnTo>
                          <a:pt x="147" y="20"/>
                        </a:lnTo>
                        <a:lnTo>
                          <a:pt x="135" y="12"/>
                        </a:lnTo>
                        <a:lnTo>
                          <a:pt x="99" y="12"/>
                        </a:lnTo>
                        <a:lnTo>
                          <a:pt x="68" y="0"/>
                        </a:lnTo>
                        <a:lnTo>
                          <a:pt x="44" y="0"/>
                        </a:lnTo>
                        <a:lnTo>
                          <a:pt x="32" y="12"/>
                        </a:lnTo>
                        <a:lnTo>
                          <a:pt x="12" y="44"/>
                        </a:lnTo>
                        <a:lnTo>
                          <a:pt x="12" y="68"/>
                        </a:lnTo>
                        <a:lnTo>
                          <a:pt x="12" y="88"/>
                        </a:lnTo>
                        <a:lnTo>
                          <a:pt x="0" y="100"/>
                        </a:lnTo>
                        <a:lnTo>
                          <a:pt x="0" y="112"/>
                        </a:lnTo>
                        <a:lnTo>
                          <a:pt x="24" y="124"/>
                        </a:lnTo>
                        <a:lnTo>
                          <a:pt x="32" y="136"/>
                        </a:lnTo>
                        <a:close/>
                      </a:path>
                    </a:pathLst>
                  </a:custGeom>
                  <a:solidFill>
                    <a:srgbClr val="7030A0"/>
                  </a:solidFill>
                  <a:ln w="9360">
                    <a:solidFill>
                      <a:srgbClr val="969696"/>
                    </a:solidFill>
                    <a:round/>
                    <a:headEnd/>
                    <a:tailEnd/>
                  </a:ln>
                </p:spPr>
                <p:txBody>
                  <a:bodyPr wrap="none" anchor="ctr"/>
                  <a:lstStyle/>
                  <a:p>
                    <a:pPr algn="ctr"/>
                    <a:endParaRPr lang="pt-BR"/>
                  </a:p>
                </p:txBody>
              </p:sp>
              <p:sp>
                <p:nvSpPr>
                  <p:cNvPr id="348" name="Freeform 19"/>
                  <p:cNvSpPr>
                    <a:spLocks noChangeArrowheads="1"/>
                  </p:cNvSpPr>
                  <p:nvPr/>
                </p:nvSpPr>
                <p:spPr bwMode="auto">
                  <a:xfrm>
                    <a:off x="7203877" y="2298831"/>
                    <a:ext cx="502665" cy="420399"/>
                  </a:xfrm>
                  <a:custGeom>
                    <a:avLst/>
                    <a:gdLst>
                      <a:gd name="T0" fmla="*/ 2147483647 w 262"/>
                      <a:gd name="T1" fmla="*/ 2147483647 h 215"/>
                      <a:gd name="T2" fmla="*/ 2147483647 w 262"/>
                      <a:gd name="T3" fmla="*/ 2147483647 h 215"/>
                      <a:gd name="T4" fmla="*/ 2147483647 w 262"/>
                      <a:gd name="T5" fmla="*/ 2147483647 h 215"/>
                      <a:gd name="T6" fmla="*/ 2147483647 w 262"/>
                      <a:gd name="T7" fmla="*/ 2147483647 h 215"/>
                      <a:gd name="T8" fmla="*/ 2147483647 w 262"/>
                      <a:gd name="T9" fmla="*/ 2147483647 h 215"/>
                      <a:gd name="T10" fmla="*/ 2147483647 w 262"/>
                      <a:gd name="T11" fmla="*/ 2147483647 h 215"/>
                      <a:gd name="T12" fmla="*/ 0 w 262"/>
                      <a:gd name="T13" fmla="*/ 2147483647 h 215"/>
                      <a:gd name="T14" fmla="*/ 0 w 262"/>
                      <a:gd name="T15" fmla="*/ 2147483647 h 215"/>
                      <a:gd name="T16" fmla="*/ 2147483647 w 262"/>
                      <a:gd name="T17" fmla="*/ 2147483647 h 215"/>
                      <a:gd name="T18" fmla="*/ 2147483647 w 262"/>
                      <a:gd name="T19" fmla="*/ 2147483647 h 215"/>
                      <a:gd name="T20" fmla="*/ 2147483647 w 262"/>
                      <a:gd name="T21" fmla="*/ 2147483647 h 215"/>
                      <a:gd name="T22" fmla="*/ 2147483647 w 262"/>
                      <a:gd name="T23" fmla="*/ 2147483647 h 215"/>
                      <a:gd name="T24" fmla="*/ 2147483647 w 262"/>
                      <a:gd name="T25" fmla="*/ 2147483647 h 215"/>
                      <a:gd name="T26" fmla="*/ 2147483647 w 262"/>
                      <a:gd name="T27" fmla="*/ 2147483647 h 215"/>
                      <a:gd name="T28" fmla="*/ 2147483647 w 262"/>
                      <a:gd name="T29" fmla="*/ 2147483647 h 215"/>
                      <a:gd name="T30" fmla="*/ 2147483647 w 262"/>
                      <a:gd name="T31" fmla="*/ 2147483647 h 215"/>
                      <a:gd name="T32" fmla="*/ 2147483647 w 262"/>
                      <a:gd name="T33" fmla="*/ 2147483647 h 215"/>
                      <a:gd name="T34" fmla="*/ 2147483647 w 262"/>
                      <a:gd name="T35" fmla="*/ 2147483647 h 215"/>
                      <a:gd name="T36" fmla="*/ 2147483647 w 262"/>
                      <a:gd name="T37" fmla="*/ 2147483647 h 215"/>
                      <a:gd name="T38" fmla="*/ 2147483647 w 262"/>
                      <a:gd name="T39" fmla="*/ 2147483647 h 215"/>
                      <a:gd name="T40" fmla="*/ 2147483647 w 262"/>
                      <a:gd name="T41" fmla="*/ 2147483647 h 215"/>
                      <a:gd name="T42" fmla="*/ 2147483647 w 262"/>
                      <a:gd name="T43" fmla="*/ 2147483647 h 215"/>
                      <a:gd name="T44" fmla="*/ 2147483647 w 262"/>
                      <a:gd name="T45" fmla="*/ 2147483647 h 215"/>
                      <a:gd name="T46" fmla="*/ 2147483647 w 262"/>
                      <a:gd name="T47" fmla="*/ 2147483647 h 215"/>
                      <a:gd name="T48" fmla="*/ 2147483647 w 262"/>
                      <a:gd name="T49" fmla="*/ 0 h 215"/>
                      <a:gd name="T50" fmla="*/ 2147483647 w 262"/>
                      <a:gd name="T51" fmla="*/ 2147483647 h 215"/>
                      <a:gd name="T52" fmla="*/ 2147483647 w 262"/>
                      <a:gd name="T53" fmla="*/ 2147483647 h 215"/>
                      <a:gd name="T54" fmla="*/ 2147483647 w 262"/>
                      <a:gd name="T55" fmla="*/ 2147483647 h 215"/>
                      <a:gd name="T56" fmla="*/ 2147483647 w 262"/>
                      <a:gd name="T57" fmla="*/ 0 h 215"/>
                      <a:gd name="T58" fmla="*/ 2147483647 w 262"/>
                      <a:gd name="T59" fmla="*/ 0 h 215"/>
                      <a:gd name="T60" fmla="*/ 2147483647 w 262"/>
                      <a:gd name="T61" fmla="*/ 2147483647 h 215"/>
                      <a:gd name="T62" fmla="*/ 2147483647 w 262"/>
                      <a:gd name="T63" fmla="*/ 2147483647 h 21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62"/>
                      <a:gd name="T97" fmla="*/ 0 h 215"/>
                      <a:gd name="T98" fmla="*/ 262 w 262"/>
                      <a:gd name="T99" fmla="*/ 215 h 21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62" h="215">
                        <a:moveTo>
                          <a:pt x="79" y="8"/>
                        </a:moveTo>
                        <a:lnTo>
                          <a:pt x="79" y="32"/>
                        </a:lnTo>
                        <a:lnTo>
                          <a:pt x="67" y="56"/>
                        </a:lnTo>
                        <a:lnTo>
                          <a:pt x="48" y="68"/>
                        </a:lnTo>
                        <a:lnTo>
                          <a:pt x="36" y="88"/>
                        </a:lnTo>
                        <a:lnTo>
                          <a:pt x="12" y="112"/>
                        </a:lnTo>
                        <a:lnTo>
                          <a:pt x="0" y="147"/>
                        </a:lnTo>
                        <a:lnTo>
                          <a:pt x="0" y="167"/>
                        </a:lnTo>
                        <a:lnTo>
                          <a:pt x="24" y="179"/>
                        </a:lnTo>
                        <a:lnTo>
                          <a:pt x="67" y="215"/>
                        </a:lnTo>
                        <a:lnTo>
                          <a:pt x="91" y="215"/>
                        </a:lnTo>
                        <a:lnTo>
                          <a:pt x="115" y="191"/>
                        </a:lnTo>
                        <a:lnTo>
                          <a:pt x="147" y="179"/>
                        </a:lnTo>
                        <a:lnTo>
                          <a:pt x="195" y="179"/>
                        </a:lnTo>
                        <a:lnTo>
                          <a:pt x="215" y="155"/>
                        </a:lnTo>
                        <a:lnTo>
                          <a:pt x="215" y="147"/>
                        </a:lnTo>
                        <a:lnTo>
                          <a:pt x="203" y="124"/>
                        </a:lnTo>
                        <a:lnTo>
                          <a:pt x="215" y="112"/>
                        </a:lnTo>
                        <a:lnTo>
                          <a:pt x="215" y="88"/>
                        </a:lnTo>
                        <a:lnTo>
                          <a:pt x="227" y="80"/>
                        </a:lnTo>
                        <a:lnTo>
                          <a:pt x="238" y="56"/>
                        </a:lnTo>
                        <a:lnTo>
                          <a:pt x="262" y="68"/>
                        </a:lnTo>
                        <a:lnTo>
                          <a:pt x="262" y="32"/>
                        </a:lnTo>
                        <a:lnTo>
                          <a:pt x="250" y="8"/>
                        </a:lnTo>
                        <a:lnTo>
                          <a:pt x="203" y="0"/>
                        </a:lnTo>
                        <a:lnTo>
                          <a:pt x="183" y="8"/>
                        </a:lnTo>
                        <a:lnTo>
                          <a:pt x="171" y="20"/>
                        </a:lnTo>
                        <a:lnTo>
                          <a:pt x="147" y="8"/>
                        </a:lnTo>
                        <a:lnTo>
                          <a:pt x="135" y="0"/>
                        </a:lnTo>
                        <a:lnTo>
                          <a:pt x="115" y="0"/>
                        </a:lnTo>
                        <a:lnTo>
                          <a:pt x="91" y="8"/>
                        </a:lnTo>
                        <a:lnTo>
                          <a:pt x="79" y="8"/>
                        </a:lnTo>
                        <a:close/>
                      </a:path>
                    </a:pathLst>
                  </a:custGeom>
                  <a:solidFill>
                    <a:srgbClr val="00B050">
                      <a:alpha val="53000"/>
                    </a:srgbClr>
                  </a:solidFill>
                  <a:ln w="9360">
                    <a:solidFill>
                      <a:srgbClr val="969696"/>
                    </a:solidFill>
                    <a:round/>
                    <a:headEnd/>
                    <a:tailEnd/>
                  </a:ln>
                </p:spPr>
                <p:txBody>
                  <a:bodyPr wrap="none" anchor="ctr"/>
                  <a:lstStyle/>
                  <a:p>
                    <a:pPr algn="ctr"/>
                    <a:endParaRPr lang="pt-BR" sz="700"/>
                  </a:p>
                </p:txBody>
              </p:sp>
              <p:sp>
                <p:nvSpPr>
                  <p:cNvPr id="349" name="Freeform 7"/>
                  <p:cNvSpPr>
                    <a:spLocks noChangeArrowheads="1"/>
                  </p:cNvSpPr>
                  <p:nvPr/>
                </p:nvSpPr>
                <p:spPr bwMode="auto">
                  <a:xfrm>
                    <a:off x="7968604" y="2624377"/>
                    <a:ext cx="169438" cy="241232"/>
                  </a:xfrm>
                  <a:custGeom>
                    <a:avLst/>
                    <a:gdLst>
                      <a:gd name="T0" fmla="*/ 2147483647 w 87"/>
                      <a:gd name="T1" fmla="*/ 2147483647 h 124"/>
                      <a:gd name="T2" fmla="*/ 2147483647 w 87"/>
                      <a:gd name="T3" fmla="*/ 2147483647 h 124"/>
                      <a:gd name="T4" fmla="*/ 2147483647 w 87"/>
                      <a:gd name="T5" fmla="*/ 2147483647 h 124"/>
                      <a:gd name="T6" fmla="*/ 2147483647 w 87"/>
                      <a:gd name="T7" fmla="*/ 2147483647 h 124"/>
                      <a:gd name="T8" fmla="*/ 2147483647 w 87"/>
                      <a:gd name="T9" fmla="*/ 0 h 124"/>
                      <a:gd name="T10" fmla="*/ 2147483647 w 87"/>
                      <a:gd name="T11" fmla="*/ 0 h 124"/>
                      <a:gd name="T12" fmla="*/ 2147483647 w 87"/>
                      <a:gd name="T13" fmla="*/ 2147483647 h 124"/>
                      <a:gd name="T14" fmla="*/ 2147483647 w 87"/>
                      <a:gd name="T15" fmla="*/ 2147483647 h 124"/>
                      <a:gd name="T16" fmla="*/ 2147483647 w 87"/>
                      <a:gd name="T17" fmla="*/ 2147483647 h 124"/>
                      <a:gd name="T18" fmla="*/ 2147483647 w 87"/>
                      <a:gd name="T19" fmla="*/ 2147483647 h 124"/>
                      <a:gd name="T20" fmla="*/ 2147483647 w 87"/>
                      <a:gd name="T21" fmla="*/ 2147483647 h 124"/>
                      <a:gd name="T22" fmla="*/ 0 w 87"/>
                      <a:gd name="T23" fmla="*/ 2147483647 h 124"/>
                      <a:gd name="T24" fmla="*/ 2147483647 w 87"/>
                      <a:gd name="T25" fmla="*/ 2147483647 h 124"/>
                      <a:gd name="T26" fmla="*/ 2147483647 w 87"/>
                      <a:gd name="T27" fmla="*/ 2147483647 h 12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7"/>
                      <a:gd name="T43" fmla="*/ 0 h 124"/>
                      <a:gd name="T44" fmla="*/ 87 w 87"/>
                      <a:gd name="T45" fmla="*/ 124 h 12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7" h="124">
                        <a:moveTo>
                          <a:pt x="43" y="124"/>
                        </a:moveTo>
                        <a:lnTo>
                          <a:pt x="67" y="80"/>
                        </a:lnTo>
                        <a:lnTo>
                          <a:pt x="75" y="36"/>
                        </a:lnTo>
                        <a:lnTo>
                          <a:pt x="87" y="12"/>
                        </a:lnTo>
                        <a:lnTo>
                          <a:pt x="75" y="0"/>
                        </a:lnTo>
                        <a:lnTo>
                          <a:pt x="55" y="0"/>
                        </a:lnTo>
                        <a:lnTo>
                          <a:pt x="43" y="12"/>
                        </a:lnTo>
                        <a:lnTo>
                          <a:pt x="43" y="24"/>
                        </a:lnTo>
                        <a:lnTo>
                          <a:pt x="31" y="48"/>
                        </a:lnTo>
                        <a:lnTo>
                          <a:pt x="31" y="56"/>
                        </a:lnTo>
                        <a:lnTo>
                          <a:pt x="8" y="80"/>
                        </a:lnTo>
                        <a:lnTo>
                          <a:pt x="0" y="104"/>
                        </a:lnTo>
                        <a:lnTo>
                          <a:pt x="8" y="124"/>
                        </a:lnTo>
                        <a:lnTo>
                          <a:pt x="43" y="124"/>
                        </a:lnTo>
                        <a:close/>
                      </a:path>
                    </a:pathLst>
                  </a:custGeom>
                  <a:solidFill>
                    <a:srgbClr val="CCCCFF"/>
                  </a:solidFill>
                  <a:ln w="9360">
                    <a:solidFill>
                      <a:srgbClr val="969696"/>
                    </a:solidFill>
                    <a:round/>
                    <a:headEnd/>
                    <a:tailEnd/>
                  </a:ln>
                </p:spPr>
                <p:txBody>
                  <a:bodyPr wrap="none" anchor="ctr"/>
                  <a:lstStyle/>
                  <a:p>
                    <a:pPr algn="ctr"/>
                    <a:endParaRPr lang="pt-BR" sz="700"/>
                  </a:p>
                </p:txBody>
              </p:sp>
              <p:sp>
                <p:nvSpPr>
                  <p:cNvPr id="350" name="Freeform 6"/>
                  <p:cNvSpPr>
                    <a:spLocks noChangeArrowheads="1"/>
                  </p:cNvSpPr>
                  <p:nvPr/>
                </p:nvSpPr>
                <p:spPr bwMode="auto">
                  <a:xfrm>
                    <a:off x="7746077" y="2829306"/>
                    <a:ext cx="306116" cy="168628"/>
                  </a:xfrm>
                  <a:custGeom>
                    <a:avLst/>
                    <a:gdLst>
                      <a:gd name="T0" fmla="*/ 2147483647 w 159"/>
                      <a:gd name="T1" fmla="*/ 2147483647 h 87"/>
                      <a:gd name="T2" fmla="*/ 2147483647 w 159"/>
                      <a:gd name="T3" fmla="*/ 2147483647 h 87"/>
                      <a:gd name="T4" fmla="*/ 2147483647 w 159"/>
                      <a:gd name="T5" fmla="*/ 2147483647 h 87"/>
                      <a:gd name="T6" fmla="*/ 0 w 159"/>
                      <a:gd name="T7" fmla="*/ 2147483647 h 87"/>
                      <a:gd name="T8" fmla="*/ 2147483647 w 159"/>
                      <a:gd name="T9" fmla="*/ 2147483647 h 87"/>
                      <a:gd name="T10" fmla="*/ 2147483647 w 159"/>
                      <a:gd name="T11" fmla="*/ 2147483647 h 87"/>
                      <a:gd name="T12" fmla="*/ 2147483647 w 159"/>
                      <a:gd name="T13" fmla="*/ 2147483647 h 87"/>
                      <a:gd name="T14" fmla="*/ 2147483647 w 159"/>
                      <a:gd name="T15" fmla="*/ 2147483647 h 87"/>
                      <a:gd name="T16" fmla="*/ 2147483647 w 159"/>
                      <a:gd name="T17" fmla="*/ 2147483647 h 87"/>
                      <a:gd name="T18" fmla="*/ 2147483647 w 159"/>
                      <a:gd name="T19" fmla="*/ 0 h 87"/>
                      <a:gd name="T20" fmla="*/ 2147483647 w 159"/>
                      <a:gd name="T21" fmla="*/ 2147483647 h 87"/>
                      <a:gd name="T22" fmla="*/ 2147483647 w 159"/>
                      <a:gd name="T23" fmla="*/ 2147483647 h 87"/>
                      <a:gd name="T24" fmla="*/ 2147483647 w 159"/>
                      <a:gd name="T25" fmla="*/ 2147483647 h 87"/>
                      <a:gd name="T26" fmla="*/ 2147483647 w 159"/>
                      <a:gd name="T27" fmla="*/ 2147483647 h 87"/>
                      <a:gd name="T28" fmla="*/ 2147483647 w 159"/>
                      <a:gd name="T29" fmla="*/ 2147483647 h 87"/>
                      <a:gd name="T30" fmla="*/ 2147483647 w 159"/>
                      <a:gd name="T31" fmla="*/ 2147483647 h 87"/>
                      <a:gd name="T32" fmla="*/ 2147483647 w 159"/>
                      <a:gd name="T33" fmla="*/ 2147483647 h 87"/>
                      <a:gd name="T34" fmla="*/ 2147483647 w 159"/>
                      <a:gd name="T35" fmla="*/ 2147483647 h 8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59"/>
                      <a:gd name="T55" fmla="*/ 0 h 87"/>
                      <a:gd name="T56" fmla="*/ 159 w 159"/>
                      <a:gd name="T57" fmla="*/ 87 h 8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59" h="87">
                        <a:moveTo>
                          <a:pt x="12" y="87"/>
                        </a:moveTo>
                        <a:lnTo>
                          <a:pt x="12" y="79"/>
                        </a:lnTo>
                        <a:lnTo>
                          <a:pt x="24" y="67"/>
                        </a:lnTo>
                        <a:lnTo>
                          <a:pt x="0" y="67"/>
                        </a:lnTo>
                        <a:lnTo>
                          <a:pt x="24" y="55"/>
                        </a:lnTo>
                        <a:lnTo>
                          <a:pt x="48" y="43"/>
                        </a:lnTo>
                        <a:lnTo>
                          <a:pt x="68" y="43"/>
                        </a:lnTo>
                        <a:lnTo>
                          <a:pt x="92" y="32"/>
                        </a:lnTo>
                        <a:lnTo>
                          <a:pt x="104" y="12"/>
                        </a:lnTo>
                        <a:lnTo>
                          <a:pt x="116" y="0"/>
                        </a:lnTo>
                        <a:lnTo>
                          <a:pt x="124" y="20"/>
                        </a:lnTo>
                        <a:lnTo>
                          <a:pt x="159" y="20"/>
                        </a:lnTo>
                        <a:lnTo>
                          <a:pt x="147" y="32"/>
                        </a:lnTo>
                        <a:lnTo>
                          <a:pt x="147" y="43"/>
                        </a:lnTo>
                        <a:lnTo>
                          <a:pt x="124" y="55"/>
                        </a:lnTo>
                        <a:lnTo>
                          <a:pt x="116" y="79"/>
                        </a:lnTo>
                        <a:lnTo>
                          <a:pt x="56" y="79"/>
                        </a:lnTo>
                        <a:lnTo>
                          <a:pt x="12" y="87"/>
                        </a:lnTo>
                        <a:close/>
                      </a:path>
                    </a:pathLst>
                  </a:custGeom>
                  <a:solidFill>
                    <a:srgbClr val="CCCCFF"/>
                  </a:solidFill>
                  <a:ln w="9360">
                    <a:solidFill>
                      <a:srgbClr val="969696"/>
                    </a:solidFill>
                    <a:round/>
                    <a:headEnd/>
                    <a:tailEnd/>
                  </a:ln>
                </p:spPr>
                <p:txBody>
                  <a:bodyPr wrap="none" anchor="ctr"/>
                  <a:lstStyle/>
                  <a:p>
                    <a:pPr algn="ctr"/>
                    <a:endParaRPr lang="pt-BR" sz="700"/>
                  </a:p>
                </p:txBody>
              </p:sp>
              <p:sp>
                <p:nvSpPr>
                  <p:cNvPr id="351" name="Freeform 8"/>
                  <p:cNvSpPr>
                    <a:spLocks noChangeArrowheads="1"/>
                  </p:cNvSpPr>
                  <p:nvPr/>
                </p:nvSpPr>
                <p:spPr bwMode="auto">
                  <a:xfrm>
                    <a:off x="7380092" y="2384315"/>
                    <a:ext cx="757950" cy="573804"/>
                  </a:xfrm>
                  <a:custGeom>
                    <a:avLst/>
                    <a:gdLst>
                      <a:gd name="T0" fmla="*/ 2147483647 w 394"/>
                      <a:gd name="T1" fmla="*/ 2147483647 h 294"/>
                      <a:gd name="T2" fmla="*/ 2147483647 w 394"/>
                      <a:gd name="T3" fmla="*/ 2147483647 h 294"/>
                      <a:gd name="T4" fmla="*/ 2147483647 w 394"/>
                      <a:gd name="T5" fmla="*/ 2147483647 h 294"/>
                      <a:gd name="T6" fmla="*/ 2147483647 w 394"/>
                      <a:gd name="T7" fmla="*/ 2147483647 h 294"/>
                      <a:gd name="T8" fmla="*/ 2147483647 w 394"/>
                      <a:gd name="T9" fmla="*/ 2147483647 h 294"/>
                      <a:gd name="T10" fmla="*/ 2147483647 w 394"/>
                      <a:gd name="T11" fmla="*/ 2147483647 h 294"/>
                      <a:gd name="T12" fmla="*/ 2147483647 w 394"/>
                      <a:gd name="T13" fmla="*/ 2147483647 h 294"/>
                      <a:gd name="T14" fmla="*/ 2147483647 w 394"/>
                      <a:gd name="T15" fmla="*/ 2147483647 h 294"/>
                      <a:gd name="T16" fmla="*/ 2147483647 w 394"/>
                      <a:gd name="T17" fmla="*/ 2147483647 h 294"/>
                      <a:gd name="T18" fmla="*/ 2147483647 w 394"/>
                      <a:gd name="T19" fmla="*/ 2147483647 h 294"/>
                      <a:gd name="T20" fmla="*/ 2147483647 w 394"/>
                      <a:gd name="T21" fmla="*/ 2147483647 h 294"/>
                      <a:gd name="T22" fmla="*/ 2147483647 w 394"/>
                      <a:gd name="T23" fmla="*/ 0 h 294"/>
                      <a:gd name="T24" fmla="*/ 2147483647 w 394"/>
                      <a:gd name="T25" fmla="*/ 0 h 294"/>
                      <a:gd name="T26" fmla="*/ 2147483647 w 394"/>
                      <a:gd name="T27" fmla="*/ 2147483647 h 294"/>
                      <a:gd name="T28" fmla="*/ 2147483647 w 394"/>
                      <a:gd name="T29" fmla="*/ 2147483647 h 294"/>
                      <a:gd name="T30" fmla="*/ 2147483647 w 394"/>
                      <a:gd name="T31" fmla="*/ 2147483647 h 294"/>
                      <a:gd name="T32" fmla="*/ 2147483647 w 394"/>
                      <a:gd name="T33" fmla="*/ 2147483647 h 294"/>
                      <a:gd name="T34" fmla="*/ 2147483647 w 394"/>
                      <a:gd name="T35" fmla="*/ 2147483647 h 294"/>
                      <a:gd name="T36" fmla="*/ 2147483647 w 394"/>
                      <a:gd name="T37" fmla="*/ 2147483647 h 294"/>
                      <a:gd name="T38" fmla="*/ 2147483647 w 394"/>
                      <a:gd name="T39" fmla="*/ 2147483647 h 294"/>
                      <a:gd name="T40" fmla="*/ 2147483647 w 394"/>
                      <a:gd name="T41" fmla="*/ 2147483647 h 294"/>
                      <a:gd name="T42" fmla="*/ 2147483647 w 394"/>
                      <a:gd name="T43" fmla="*/ 2147483647 h 294"/>
                      <a:gd name="T44" fmla="*/ 2147483647 w 394"/>
                      <a:gd name="T45" fmla="*/ 2147483647 h 294"/>
                      <a:gd name="T46" fmla="*/ 2147483647 w 394"/>
                      <a:gd name="T47" fmla="*/ 2147483647 h 294"/>
                      <a:gd name="T48" fmla="*/ 2147483647 w 394"/>
                      <a:gd name="T49" fmla="*/ 2147483647 h 294"/>
                      <a:gd name="T50" fmla="*/ 0 w 394"/>
                      <a:gd name="T51" fmla="*/ 2147483647 h 294"/>
                      <a:gd name="T52" fmla="*/ 0 w 394"/>
                      <a:gd name="T53" fmla="*/ 2147483647 h 294"/>
                      <a:gd name="T54" fmla="*/ 2147483647 w 394"/>
                      <a:gd name="T55" fmla="*/ 2147483647 h 294"/>
                      <a:gd name="T56" fmla="*/ 2147483647 w 394"/>
                      <a:gd name="T57" fmla="*/ 2147483647 h 294"/>
                      <a:gd name="T58" fmla="*/ 2147483647 w 394"/>
                      <a:gd name="T59" fmla="*/ 2147483647 h 294"/>
                      <a:gd name="T60" fmla="*/ 2147483647 w 394"/>
                      <a:gd name="T61" fmla="*/ 2147483647 h 294"/>
                      <a:gd name="T62" fmla="*/ 2147483647 w 394"/>
                      <a:gd name="T63" fmla="*/ 2147483647 h 294"/>
                      <a:gd name="T64" fmla="*/ 2147483647 w 394"/>
                      <a:gd name="T65" fmla="*/ 2147483647 h 294"/>
                      <a:gd name="T66" fmla="*/ 2147483647 w 394"/>
                      <a:gd name="T67" fmla="*/ 2147483647 h 294"/>
                      <a:gd name="T68" fmla="*/ 2147483647 w 394"/>
                      <a:gd name="T69" fmla="*/ 2147483647 h 294"/>
                      <a:gd name="T70" fmla="*/ 2147483647 w 394"/>
                      <a:gd name="T71" fmla="*/ 2147483647 h 294"/>
                      <a:gd name="T72" fmla="*/ 2147483647 w 394"/>
                      <a:gd name="T73" fmla="*/ 2147483647 h 294"/>
                      <a:gd name="T74" fmla="*/ 2147483647 w 394"/>
                      <a:gd name="T75" fmla="*/ 2147483647 h 294"/>
                      <a:gd name="T76" fmla="*/ 2147483647 w 394"/>
                      <a:gd name="T77" fmla="*/ 2147483647 h 294"/>
                      <a:gd name="T78" fmla="*/ 2147483647 w 394"/>
                      <a:gd name="T79" fmla="*/ 2147483647 h 294"/>
                      <a:gd name="T80" fmla="*/ 2147483647 w 394"/>
                      <a:gd name="T81" fmla="*/ 2147483647 h 294"/>
                      <a:gd name="T82" fmla="*/ 2147483647 w 394"/>
                      <a:gd name="T83" fmla="*/ 2147483647 h 294"/>
                      <a:gd name="T84" fmla="*/ 2147483647 w 394"/>
                      <a:gd name="T85" fmla="*/ 2147483647 h 294"/>
                      <a:gd name="T86" fmla="*/ 2147483647 w 394"/>
                      <a:gd name="T87" fmla="*/ 2147483647 h 294"/>
                      <a:gd name="T88" fmla="*/ 2147483647 w 394"/>
                      <a:gd name="T89" fmla="*/ 2147483647 h 294"/>
                      <a:gd name="T90" fmla="*/ 2147483647 w 394"/>
                      <a:gd name="T91" fmla="*/ 2147483647 h 294"/>
                      <a:gd name="T92" fmla="*/ 2147483647 w 394"/>
                      <a:gd name="T93" fmla="*/ 2147483647 h 294"/>
                      <a:gd name="T94" fmla="*/ 2147483647 w 394"/>
                      <a:gd name="T95" fmla="*/ 2147483647 h 294"/>
                      <a:gd name="T96" fmla="*/ 2147483647 w 394"/>
                      <a:gd name="T97" fmla="*/ 2147483647 h 294"/>
                      <a:gd name="T98" fmla="*/ 2147483647 w 394"/>
                      <a:gd name="T99" fmla="*/ 2147483647 h 294"/>
                      <a:gd name="T100" fmla="*/ 2147483647 w 394"/>
                      <a:gd name="T101" fmla="*/ 2147483647 h 294"/>
                      <a:gd name="T102" fmla="*/ 2147483647 w 394"/>
                      <a:gd name="T103" fmla="*/ 2147483647 h 29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94"/>
                      <a:gd name="T157" fmla="*/ 0 h 294"/>
                      <a:gd name="T158" fmla="*/ 394 w 394"/>
                      <a:gd name="T159" fmla="*/ 294 h 29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94" h="294">
                        <a:moveTo>
                          <a:pt x="382" y="111"/>
                        </a:moveTo>
                        <a:lnTo>
                          <a:pt x="374" y="103"/>
                        </a:lnTo>
                        <a:lnTo>
                          <a:pt x="382" y="80"/>
                        </a:lnTo>
                        <a:lnTo>
                          <a:pt x="394" y="68"/>
                        </a:lnTo>
                        <a:lnTo>
                          <a:pt x="394" y="56"/>
                        </a:lnTo>
                        <a:lnTo>
                          <a:pt x="362" y="44"/>
                        </a:lnTo>
                        <a:lnTo>
                          <a:pt x="350" y="44"/>
                        </a:lnTo>
                        <a:lnTo>
                          <a:pt x="326" y="24"/>
                        </a:lnTo>
                        <a:lnTo>
                          <a:pt x="307" y="24"/>
                        </a:lnTo>
                        <a:lnTo>
                          <a:pt x="283" y="12"/>
                        </a:lnTo>
                        <a:lnTo>
                          <a:pt x="259" y="12"/>
                        </a:lnTo>
                        <a:lnTo>
                          <a:pt x="239" y="0"/>
                        </a:lnTo>
                        <a:lnTo>
                          <a:pt x="203" y="0"/>
                        </a:lnTo>
                        <a:lnTo>
                          <a:pt x="191" y="12"/>
                        </a:lnTo>
                        <a:lnTo>
                          <a:pt x="171" y="24"/>
                        </a:lnTo>
                        <a:lnTo>
                          <a:pt x="147" y="12"/>
                        </a:lnTo>
                        <a:lnTo>
                          <a:pt x="136" y="36"/>
                        </a:lnTo>
                        <a:lnTo>
                          <a:pt x="124" y="44"/>
                        </a:lnTo>
                        <a:lnTo>
                          <a:pt x="124" y="68"/>
                        </a:lnTo>
                        <a:lnTo>
                          <a:pt x="112" y="80"/>
                        </a:lnTo>
                        <a:lnTo>
                          <a:pt x="124" y="103"/>
                        </a:lnTo>
                        <a:lnTo>
                          <a:pt x="124" y="111"/>
                        </a:lnTo>
                        <a:lnTo>
                          <a:pt x="104" y="135"/>
                        </a:lnTo>
                        <a:lnTo>
                          <a:pt x="56" y="135"/>
                        </a:lnTo>
                        <a:lnTo>
                          <a:pt x="24" y="147"/>
                        </a:lnTo>
                        <a:lnTo>
                          <a:pt x="0" y="171"/>
                        </a:lnTo>
                        <a:lnTo>
                          <a:pt x="0" y="191"/>
                        </a:lnTo>
                        <a:lnTo>
                          <a:pt x="36" y="191"/>
                        </a:lnTo>
                        <a:lnTo>
                          <a:pt x="56" y="203"/>
                        </a:lnTo>
                        <a:lnTo>
                          <a:pt x="92" y="191"/>
                        </a:lnTo>
                        <a:lnTo>
                          <a:pt x="112" y="203"/>
                        </a:lnTo>
                        <a:lnTo>
                          <a:pt x="124" y="215"/>
                        </a:lnTo>
                        <a:lnTo>
                          <a:pt x="124" y="239"/>
                        </a:lnTo>
                        <a:lnTo>
                          <a:pt x="136" y="247"/>
                        </a:lnTo>
                        <a:lnTo>
                          <a:pt x="136" y="259"/>
                        </a:lnTo>
                        <a:lnTo>
                          <a:pt x="147" y="282"/>
                        </a:lnTo>
                        <a:lnTo>
                          <a:pt x="171" y="294"/>
                        </a:lnTo>
                        <a:lnTo>
                          <a:pt x="191" y="294"/>
                        </a:lnTo>
                        <a:lnTo>
                          <a:pt x="215" y="282"/>
                        </a:lnTo>
                        <a:lnTo>
                          <a:pt x="239" y="270"/>
                        </a:lnTo>
                        <a:lnTo>
                          <a:pt x="259" y="270"/>
                        </a:lnTo>
                        <a:lnTo>
                          <a:pt x="283" y="259"/>
                        </a:lnTo>
                        <a:lnTo>
                          <a:pt x="295" y="239"/>
                        </a:lnTo>
                        <a:lnTo>
                          <a:pt x="307" y="227"/>
                        </a:lnTo>
                        <a:lnTo>
                          <a:pt x="315" y="203"/>
                        </a:lnTo>
                        <a:lnTo>
                          <a:pt x="338" y="179"/>
                        </a:lnTo>
                        <a:lnTo>
                          <a:pt x="338" y="171"/>
                        </a:lnTo>
                        <a:lnTo>
                          <a:pt x="350" y="147"/>
                        </a:lnTo>
                        <a:lnTo>
                          <a:pt x="350" y="135"/>
                        </a:lnTo>
                        <a:lnTo>
                          <a:pt x="362" y="123"/>
                        </a:lnTo>
                        <a:lnTo>
                          <a:pt x="382" y="123"/>
                        </a:lnTo>
                        <a:lnTo>
                          <a:pt x="382" y="111"/>
                        </a:lnTo>
                        <a:close/>
                      </a:path>
                    </a:pathLst>
                  </a:custGeom>
                  <a:solidFill>
                    <a:srgbClr val="CCCCFF"/>
                  </a:solidFill>
                  <a:ln w="9360">
                    <a:solidFill>
                      <a:srgbClr val="969696"/>
                    </a:solidFill>
                    <a:round/>
                    <a:headEnd/>
                    <a:tailEnd/>
                  </a:ln>
                </p:spPr>
                <p:txBody>
                  <a:bodyPr wrap="none" anchor="ctr"/>
                  <a:lstStyle/>
                  <a:p>
                    <a:pPr algn="ctr"/>
                    <a:endParaRPr lang="pt-BR" sz="700"/>
                  </a:p>
                </p:txBody>
              </p:sp>
              <p:sp>
                <p:nvSpPr>
                  <p:cNvPr id="352" name="Freeform 10"/>
                  <p:cNvSpPr>
                    <a:spLocks noChangeArrowheads="1"/>
                  </p:cNvSpPr>
                  <p:nvPr/>
                </p:nvSpPr>
                <p:spPr bwMode="auto">
                  <a:xfrm>
                    <a:off x="8229537" y="2036520"/>
                    <a:ext cx="127642" cy="146379"/>
                  </a:xfrm>
                  <a:custGeom>
                    <a:avLst/>
                    <a:gdLst>
                      <a:gd name="T0" fmla="*/ 2147483647 w 67"/>
                      <a:gd name="T1" fmla="*/ 2147483647 h 76"/>
                      <a:gd name="T2" fmla="*/ 2147483647 w 67"/>
                      <a:gd name="T3" fmla="*/ 2147483647 h 76"/>
                      <a:gd name="T4" fmla="*/ 2147483647 w 67"/>
                      <a:gd name="T5" fmla="*/ 2147483647 h 76"/>
                      <a:gd name="T6" fmla="*/ 2147483647 w 67"/>
                      <a:gd name="T7" fmla="*/ 0 h 76"/>
                      <a:gd name="T8" fmla="*/ 2147483647 w 67"/>
                      <a:gd name="T9" fmla="*/ 0 h 76"/>
                      <a:gd name="T10" fmla="*/ 2147483647 w 67"/>
                      <a:gd name="T11" fmla="*/ 2147483647 h 76"/>
                      <a:gd name="T12" fmla="*/ 2147483647 w 67"/>
                      <a:gd name="T13" fmla="*/ 2147483647 h 76"/>
                      <a:gd name="T14" fmla="*/ 0 w 67"/>
                      <a:gd name="T15" fmla="*/ 2147483647 h 76"/>
                      <a:gd name="T16" fmla="*/ 0 w 67"/>
                      <a:gd name="T17" fmla="*/ 2147483647 h 76"/>
                      <a:gd name="T18" fmla="*/ 2147483647 w 67"/>
                      <a:gd name="T19" fmla="*/ 2147483647 h 76"/>
                      <a:gd name="T20" fmla="*/ 2147483647 w 67"/>
                      <a:gd name="T21" fmla="*/ 2147483647 h 76"/>
                      <a:gd name="T22" fmla="*/ 2147483647 w 67"/>
                      <a:gd name="T23" fmla="*/ 2147483647 h 7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7"/>
                      <a:gd name="T37" fmla="*/ 0 h 76"/>
                      <a:gd name="T38" fmla="*/ 67 w 67"/>
                      <a:gd name="T39" fmla="*/ 76 h 7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7" h="76">
                        <a:moveTo>
                          <a:pt x="44" y="76"/>
                        </a:moveTo>
                        <a:lnTo>
                          <a:pt x="67" y="32"/>
                        </a:lnTo>
                        <a:lnTo>
                          <a:pt x="55" y="20"/>
                        </a:lnTo>
                        <a:lnTo>
                          <a:pt x="32" y="0"/>
                        </a:lnTo>
                        <a:lnTo>
                          <a:pt x="20" y="0"/>
                        </a:lnTo>
                        <a:lnTo>
                          <a:pt x="20" y="20"/>
                        </a:lnTo>
                        <a:lnTo>
                          <a:pt x="8" y="32"/>
                        </a:lnTo>
                        <a:lnTo>
                          <a:pt x="0" y="32"/>
                        </a:lnTo>
                        <a:lnTo>
                          <a:pt x="0" y="44"/>
                        </a:lnTo>
                        <a:lnTo>
                          <a:pt x="8" y="56"/>
                        </a:lnTo>
                        <a:lnTo>
                          <a:pt x="8" y="68"/>
                        </a:lnTo>
                        <a:lnTo>
                          <a:pt x="44" y="76"/>
                        </a:lnTo>
                        <a:close/>
                      </a:path>
                    </a:pathLst>
                  </a:custGeom>
                  <a:noFill/>
                  <a:ln w="9360">
                    <a:solidFill>
                      <a:srgbClr val="969696"/>
                    </a:solidFill>
                    <a:round/>
                    <a:headEnd/>
                    <a:tailEnd/>
                  </a:ln>
                </p:spPr>
                <p:txBody>
                  <a:bodyPr wrap="none" anchor="ctr"/>
                  <a:lstStyle/>
                  <a:p>
                    <a:pPr algn="ctr"/>
                    <a:endParaRPr lang="pt-BR" sz="700"/>
                  </a:p>
                </p:txBody>
              </p:sp>
              <p:sp>
                <p:nvSpPr>
                  <p:cNvPr id="353" name="Freeform 13"/>
                  <p:cNvSpPr>
                    <a:spLocks noChangeArrowheads="1"/>
                  </p:cNvSpPr>
                  <p:nvPr/>
                </p:nvSpPr>
                <p:spPr bwMode="auto">
                  <a:xfrm>
                    <a:off x="8160634" y="1744935"/>
                    <a:ext cx="328708" cy="155747"/>
                  </a:xfrm>
                  <a:custGeom>
                    <a:avLst/>
                    <a:gdLst>
                      <a:gd name="T0" fmla="*/ 2147483647 w 171"/>
                      <a:gd name="T1" fmla="*/ 2147483647 h 79"/>
                      <a:gd name="T2" fmla="*/ 2147483647 w 171"/>
                      <a:gd name="T3" fmla="*/ 2147483647 h 79"/>
                      <a:gd name="T4" fmla="*/ 2147483647 w 171"/>
                      <a:gd name="T5" fmla="*/ 2147483647 h 79"/>
                      <a:gd name="T6" fmla="*/ 2147483647 w 171"/>
                      <a:gd name="T7" fmla="*/ 2147483647 h 79"/>
                      <a:gd name="T8" fmla="*/ 2147483647 w 171"/>
                      <a:gd name="T9" fmla="*/ 2147483647 h 79"/>
                      <a:gd name="T10" fmla="*/ 2147483647 w 171"/>
                      <a:gd name="T11" fmla="*/ 2147483647 h 79"/>
                      <a:gd name="T12" fmla="*/ 2147483647 w 171"/>
                      <a:gd name="T13" fmla="*/ 2147483647 h 79"/>
                      <a:gd name="T14" fmla="*/ 2147483647 w 171"/>
                      <a:gd name="T15" fmla="*/ 2147483647 h 79"/>
                      <a:gd name="T16" fmla="*/ 2147483647 w 171"/>
                      <a:gd name="T17" fmla="*/ 2147483647 h 79"/>
                      <a:gd name="T18" fmla="*/ 2147483647 w 171"/>
                      <a:gd name="T19" fmla="*/ 0 h 79"/>
                      <a:gd name="T20" fmla="*/ 2147483647 w 171"/>
                      <a:gd name="T21" fmla="*/ 2147483647 h 79"/>
                      <a:gd name="T22" fmla="*/ 2147483647 w 171"/>
                      <a:gd name="T23" fmla="*/ 2147483647 h 79"/>
                      <a:gd name="T24" fmla="*/ 2147483647 w 171"/>
                      <a:gd name="T25" fmla="*/ 2147483647 h 79"/>
                      <a:gd name="T26" fmla="*/ 2147483647 w 171"/>
                      <a:gd name="T27" fmla="*/ 2147483647 h 79"/>
                      <a:gd name="T28" fmla="*/ 0 w 171"/>
                      <a:gd name="T29" fmla="*/ 2147483647 h 79"/>
                      <a:gd name="T30" fmla="*/ 2147483647 w 171"/>
                      <a:gd name="T31" fmla="*/ 2147483647 h 79"/>
                      <a:gd name="T32" fmla="*/ 2147483647 w 171"/>
                      <a:gd name="T33" fmla="*/ 2147483647 h 79"/>
                      <a:gd name="T34" fmla="*/ 2147483647 w 171"/>
                      <a:gd name="T35" fmla="*/ 2147483647 h 79"/>
                      <a:gd name="T36" fmla="*/ 2147483647 w 171"/>
                      <a:gd name="T37" fmla="*/ 2147483647 h 79"/>
                      <a:gd name="T38" fmla="*/ 2147483647 w 171"/>
                      <a:gd name="T39" fmla="*/ 2147483647 h 79"/>
                      <a:gd name="T40" fmla="*/ 2147483647 w 171"/>
                      <a:gd name="T41" fmla="*/ 2147483647 h 79"/>
                      <a:gd name="T42" fmla="*/ 2147483647 w 171"/>
                      <a:gd name="T43" fmla="*/ 2147483647 h 79"/>
                      <a:gd name="T44" fmla="*/ 2147483647 w 171"/>
                      <a:gd name="T45" fmla="*/ 2147483647 h 79"/>
                      <a:gd name="T46" fmla="*/ 2147483647 w 171"/>
                      <a:gd name="T47" fmla="*/ 2147483647 h 79"/>
                      <a:gd name="T48" fmla="*/ 2147483647 w 171"/>
                      <a:gd name="T49" fmla="*/ 2147483647 h 7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71"/>
                      <a:gd name="T76" fmla="*/ 0 h 79"/>
                      <a:gd name="T77" fmla="*/ 171 w 171"/>
                      <a:gd name="T78" fmla="*/ 79 h 7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71" h="79">
                        <a:moveTo>
                          <a:pt x="171" y="44"/>
                        </a:moveTo>
                        <a:lnTo>
                          <a:pt x="159" y="20"/>
                        </a:lnTo>
                        <a:lnTo>
                          <a:pt x="123" y="20"/>
                        </a:lnTo>
                        <a:lnTo>
                          <a:pt x="111" y="12"/>
                        </a:lnTo>
                        <a:lnTo>
                          <a:pt x="103" y="12"/>
                        </a:lnTo>
                        <a:lnTo>
                          <a:pt x="103" y="20"/>
                        </a:lnTo>
                        <a:lnTo>
                          <a:pt x="103" y="32"/>
                        </a:lnTo>
                        <a:lnTo>
                          <a:pt x="56" y="32"/>
                        </a:lnTo>
                        <a:lnTo>
                          <a:pt x="80" y="12"/>
                        </a:lnTo>
                        <a:lnTo>
                          <a:pt x="68" y="0"/>
                        </a:lnTo>
                        <a:lnTo>
                          <a:pt x="56" y="12"/>
                        </a:lnTo>
                        <a:lnTo>
                          <a:pt x="36" y="20"/>
                        </a:lnTo>
                        <a:lnTo>
                          <a:pt x="24" y="20"/>
                        </a:lnTo>
                        <a:lnTo>
                          <a:pt x="12" y="55"/>
                        </a:lnTo>
                        <a:lnTo>
                          <a:pt x="0" y="67"/>
                        </a:lnTo>
                        <a:lnTo>
                          <a:pt x="36" y="79"/>
                        </a:lnTo>
                        <a:lnTo>
                          <a:pt x="44" y="67"/>
                        </a:lnTo>
                        <a:lnTo>
                          <a:pt x="68" y="55"/>
                        </a:lnTo>
                        <a:lnTo>
                          <a:pt x="80" y="55"/>
                        </a:lnTo>
                        <a:lnTo>
                          <a:pt x="68" y="79"/>
                        </a:lnTo>
                        <a:lnTo>
                          <a:pt x="91" y="79"/>
                        </a:lnTo>
                        <a:lnTo>
                          <a:pt x="103" y="67"/>
                        </a:lnTo>
                        <a:lnTo>
                          <a:pt x="135" y="67"/>
                        </a:lnTo>
                        <a:lnTo>
                          <a:pt x="159" y="44"/>
                        </a:lnTo>
                        <a:lnTo>
                          <a:pt x="171" y="44"/>
                        </a:lnTo>
                        <a:close/>
                      </a:path>
                    </a:pathLst>
                  </a:custGeom>
                  <a:noFill/>
                  <a:ln w="9360">
                    <a:solidFill>
                      <a:srgbClr val="969696"/>
                    </a:solidFill>
                    <a:round/>
                    <a:headEnd/>
                    <a:tailEnd/>
                  </a:ln>
                </p:spPr>
                <p:txBody>
                  <a:bodyPr wrap="none" anchor="ctr"/>
                  <a:lstStyle/>
                  <a:p>
                    <a:pPr algn="ctr"/>
                    <a:endParaRPr lang="pt-BR" sz="700"/>
                  </a:p>
                </p:txBody>
              </p:sp>
              <p:sp>
                <p:nvSpPr>
                  <p:cNvPr id="354" name="Freeform 9"/>
                  <p:cNvSpPr>
                    <a:spLocks noChangeArrowheads="1"/>
                  </p:cNvSpPr>
                  <p:nvPr/>
                </p:nvSpPr>
                <p:spPr bwMode="auto">
                  <a:xfrm>
                    <a:off x="7661358" y="1941666"/>
                    <a:ext cx="651769" cy="707301"/>
                  </a:xfrm>
                  <a:custGeom>
                    <a:avLst/>
                    <a:gdLst>
                      <a:gd name="T0" fmla="*/ 2147483647 w 339"/>
                      <a:gd name="T1" fmla="*/ 2147483647 h 362"/>
                      <a:gd name="T2" fmla="*/ 2147483647 w 339"/>
                      <a:gd name="T3" fmla="*/ 2147483647 h 362"/>
                      <a:gd name="T4" fmla="*/ 2147483647 w 339"/>
                      <a:gd name="T5" fmla="*/ 2147483647 h 362"/>
                      <a:gd name="T6" fmla="*/ 2147483647 w 339"/>
                      <a:gd name="T7" fmla="*/ 2147483647 h 362"/>
                      <a:gd name="T8" fmla="*/ 2147483647 w 339"/>
                      <a:gd name="T9" fmla="*/ 2147483647 h 362"/>
                      <a:gd name="T10" fmla="*/ 2147483647 w 339"/>
                      <a:gd name="T11" fmla="*/ 2147483647 h 362"/>
                      <a:gd name="T12" fmla="*/ 2147483647 w 339"/>
                      <a:gd name="T13" fmla="*/ 2147483647 h 362"/>
                      <a:gd name="T14" fmla="*/ 2147483647 w 339"/>
                      <a:gd name="T15" fmla="*/ 2147483647 h 362"/>
                      <a:gd name="T16" fmla="*/ 2147483647 w 339"/>
                      <a:gd name="T17" fmla="*/ 2147483647 h 362"/>
                      <a:gd name="T18" fmla="*/ 2147483647 w 339"/>
                      <a:gd name="T19" fmla="*/ 2147483647 h 362"/>
                      <a:gd name="T20" fmla="*/ 2147483647 w 339"/>
                      <a:gd name="T21" fmla="*/ 2147483647 h 362"/>
                      <a:gd name="T22" fmla="*/ 2147483647 w 339"/>
                      <a:gd name="T23" fmla="*/ 2147483647 h 362"/>
                      <a:gd name="T24" fmla="*/ 2147483647 w 339"/>
                      <a:gd name="T25" fmla="*/ 2147483647 h 362"/>
                      <a:gd name="T26" fmla="*/ 2147483647 w 339"/>
                      <a:gd name="T27" fmla="*/ 2147483647 h 362"/>
                      <a:gd name="T28" fmla="*/ 2147483647 w 339"/>
                      <a:gd name="T29" fmla="*/ 2147483647 h 362"/>
                      <a:gd name="T30" fmla="*/ 2147483647 w 339"/>
                      <a:gd name="T31" fmla="*/ 2147483647 h 362"/>
                      <a:gd name="T32" fmla="*/ 2147483647 w 339"/>
                      <a:gd name="T33" fmla="*/ 2147483647 h 362"/>
                      <a:gd name="T34" fmla="*/ 2147483647 w 339"/>
                      <a:gd name="T35" fmla="*/ 2147483647 h 362"/>
                      <a:gd name="T36" fmla="*/ 2147483647 w 339"/>
                      <a:gd name="T37" fmla="*/ 2147483647 h 362"/>
                      <a:gd name="T38" fmla="*/ 2147483647 w 339"/>
                      <a:gd name="T39" fmla="*/ 2147483647 h 362"/>
                      <a:gd name="T40" fmla="*/ 2147483647 w 339"/>
                      <a:gd name="T41" fmla="*/ 2147483647 h 362"/>
                      <a:gd name="T42" fmla="*/ 2147483647 w 339"/>
                      <a:gd name="T43" fmla="*/ 2147483647 h 362"/>
                      <a:gd name="T44" fmla="*/ 2147483647 w 339"/>
                      <a:gd name="T45" fmla="*/ 2147483647 h 362"/>
                      <a:gd name="T46" fmla="*/ 2147483647 w 339"/>
                      <a:gd name="T47" fmla="*/ 2147483647 h 362"/>
                      <a:gd name="T48" fmla="*/ 2147483647 w 339"/>
                      <a:gd name="T49" fmla="*/ 2147483647 h 362"/>
                      <a:gd name="T50" fmla="*/ 2147483647 w 339"/>
                      <a:gd name="T51" fmla="*/ 2147483647 h 362"/>
                      <a:gd name="T52" fmla="*/ 2147483647 w 339"/>
                      <a:gd name="T53" fmla="*/ 2147483647 h 362"/>
                      <a:gd name="T54" fmla="*/ 2147483647 w 339"/>
                      <a:gd name="T55" fmla="*/ 2147483647 h 362"/>
                      <a:gd name="T56" fmla="*/ 2147483647 w 339"/>
                      <a:gd name="T57" fmla="*/ 2147483647 h 362"/>
                      <a:gd name="T58" fmla="*/ 2147483647 w 339"/>
                      <a:gd name="T59" fmla="*/ 2147483647 h 362"/>
                      <a:gd name="T60" fmla="*/ 2147483647 w 339"/>
                      <a:gd name="T61" fmla="*/ 2147483647 h 362"/>
                      <a:gd name="T62" fmla="*/ 2147483647 w 339"/>
                      <a:gd name="T63" fmla="*/ 2147483647 h 362"/>
                      <a:gd name="T64" fmla="*/ 2147483647 w 339"/>
                      <a:gd name="T65" fmla="*/ 2147483647 h 362"/>
                      <a:gd name="T66" fmla="*/ 2147483647 w 339"/>
                      <a:gd name="T67" fmla="*/ 2147483647 h 362"/>
                      <a:gd name="T68" fmla="*/ 2147483647 w 339"/>
                      <a:gd name="T69" fmla="*/ 2147483647 h 362"/>
                      <a:gd name="T70" fmla="*/ 2147483647 w 339"/>
                      <a:gd name="T71" fmla="*/ 2147483647 h 362"/>
                      <a:gd name="T72" fmla="*/ 2147483647 w 339"/>
                      <a:gd name="T73" fmla="*/ 2147483647 h 362"/>
                      <a:gd name="T74" fmla="*/ 2147483647 w 339"/>
                      <a:gd name="T75" fmla="*/ 0 h 362"/>
                      <a:gd name="T76" fmla="*/ 2147483647 w 339"/>
                      <a:gd name="T77" fmla="*/ 2147483647 h 362"/>
                      <a:gd name="T78" fmla="*/ 2147483647 w 339"/>
                      <a:gd name="T79" fmla="*/ 2147483647 h 362"/>
                      <a:gd name="T80" fmla="*/ 2147483647 w 339"/>
                      <a:gd name="T81" fmla="*/ 2147483647 h 362"/>
                      <a:gd name="T82" fmla="*/ 2147483647 w 339"/>
                      <a:gd name="T83" fmla="*/ 0 h 362"/>
                      <a:gd name="T84" fmla="*/ 2147483647 w 339"/>
                      <a:gd name="T85" fmla="*/ 2147483647 h 362"/>
                      <a:gd name="T86" fmla="*/ 2147483647 w 339"/>
                      <a:gd name="T87" fmla="*/ 2147483647 h 362"/>
                      <a:gd name="T88" fmla="*/ 2147483647 w 339"/>
                      <a:gd name="T89" fmla="*/ 2147483647 h 362"/>
                      <a:gd name="T90" fmla="*/ 2147483647 w 339"/>
                      <a:gd name="T91" fmla="*/ 2147483647 h 362"/>
                      <a:gd name="T92" fmla="*/ 2147483647 w 339"/>
                      <a:gd name="T93" fmla="*/ 2147483647 h 362"/>
                      <a:gd name="T94" fmla="*/ 2147483647 w 339"/>
                      <a:gd name="T95" fmla="*/ 2147483647 h 362"/>
                      <a:gd name="T96" fmla="*/ 2147483647 w 339"/>
                      <a:gd name="T97" fmla="*/ 2147483647 h 362"/>
                      <a:gd name="T98" fmla="*/ 2147483647 w 339"/>
                      <a:gd name="T99" fmla="*/ 2147483647 h 362"/>
                      <a:gd name="T100" fmla="*/ 2147483647 w 339"/>
                      <a:gd name="T101" fmla="*/ 2147483647 h 362"/>
                      <a:gd name="T102" fmla="*/ 2147483647 w 339"/>
                      <a:gd name="T103" fmla="*/ 2147483647 h 362"/>
                      <a:gd name="T104" fmla="*/ 2147483647 w 339"/>
                      <a:gd name="T105" fmla="*/ 2147483647 h 362"/>
                      <a:gd name="T106" fmla="*/ 2147483647 w 339"/>
                      <a:gd name="T107" fmla="*/ 2147483647 h 362"/>
                      <a:gd name="T108" fmla="*/ 0 w 339"/>
                      <a:gd name="T109" fmla="*/ 2147483647 h 362"/>
                      <a:gd name="T110" fmla="*/ 2147483647 w 339"/>
                      <a:gd name="T111" fmla="*/ 2147483647 h 362"/>
                      <a:gd name="T112" fmla="*/ 2147483647 w 339"/>
                      <a:gd name="T113" fmla="*/ 2147483647 h 362"/>
                      <a:gd name="T114" fmla="*/ 2147483647 w 339"/>
                      <a:gd name="T115" fmla="*/ 2147483647 h 362"/>
                      <a:gd name="T116" fmla="*/ 2147483647 w 339"/>
                      <a:gd name="T117" fmla="*/ 2147483647 h 36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39"/>
                      <a:gd name="T178" fmla="*/ 0 h 362"/>
                      <a:gd name="T179" fmla="*/ 339 w 339"/>
                      <a:gd name="T180" fmla="*/ 362 h 36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39" h="362">
                        <a:moveTo>
                          <a:pt x="24" y="251"/>
                        </a:moveTo>
                        <a:lnTo>
                          <a:pt x="44" y="239"/>
                        </a:lnTo>
                        <a:lnTo>
                          <a:pt x="56" y="227"/>
                        </a:lnTo>
                        <a:lnTo>
                          <a:pt x="92" y="227"/>
                        </a:lnTo>
                        <a:lnTo>
                          <a:pt x="112" y="239"/>
                        </a:lnTo>
                        <a:lnTo>
                          <a:pt x="136" y="239"/>
                        </a:lnTo>
                        <a:lnTo>
                          <a:pt x="160" y="251"/>
                        </a:lnTo>
                        <a:lnTo>
                          <a:pt x="179" y="251"/>
                        </a:lnTo>
                        <a:lnTo>
                          <a:pt x="203" y="271"/>
                        </a:lnTo>
                        <a:lnTo>
                          <a:pt x="215" y="271"/>
                        </a:lnTo>
                        <a:lnTo>
                          <a:pt x="247" y="283"/>
                        </a:lnTo>
                        <a:lnTo>
                          <a:pt x="247" y="295"/>
                        </a:lnTo>
                        <a:lnTo>
                          <a:pt x="235" y="307"/>
                        </a:lnTo>
                        <a:lnTo>
                          <a:pt x="227" y="330"/>
                        </a:lnTo>
                        <a:lnTo>
                          <a:pt x="235" y="338"/>
                        </a:lnTo>
                        <a:lnTo>
                          <a:pt x="235" y="350"/>
                        </a:lnTo>
                        <a:lnTo>
                          <a:pt x="247" y="362"/>
                        </a:lnTo>
                        <a:lnTo>
                          <a:pt x="259" y="350"/>
                        </a:lnTo>
                        <a:lnTo>
                          <a:pt x="271" y="330"/>
                        </a:lnTo>
                        <a:lnTo>
                          <a:pt x="271" y="295"/>
                        </a:lnTo>
                        <a:lnTo>
                          <a:pt x="283" y="271"/>
                        </a:lnTo>
                        <a:lnTo>
                          <a:pt x="283" y="191"/>
                        </a:lnTo>
                        <a:lnTo>
                          <a:pt x="295" y="171"/>
                        </a:lnTo>
                        <a:lnTo>
                          <a:pt x="295" y="183"/>
                        </a:lnTo>
                        <a:lnTo>
                          <a:pt x="303" y="183"/>
                        </a:lnTo>
                        <a:lnTo>
                          <a:pt x="327" y="135"/>
                        </a:lnTo>
                        <a:lnTo>
                          <a:pt x="339" y="124"/>
                        </a:lnTo>
                        <a:lnTo>
                          <a:pt x="303" y="116"/>
                        </a:lnTo>
                        <a:lnTo>
                          <a:pt x="303" y="104"/>
                        </a:lnTo>
                        <a:lnTo>
                          <a:pt x="295" y="92"/>
                        </a:lnTo>
                        <a:lnTo>
                          <a:pt x="295" y="80"/>
                        </a:lnTo>
                        <a:lnTo>
                          <a:pt x="303" y="80"/>
                        </a:lnTo>
                        <a:lnTo>
                          <a:pt x="315" y="68"/>
                        </a:lnTo>
                        <a:lnTo>
                          <a:pt x="315" y="48"/>
                        </a:lnTo>
                        <a:lnTo>
                          <a:pt x="303" y="24"/>
                        </a:lnTo>
                        <a:lnTo>
                          <a:pt x="295" y="24"/>
                        </a:lnTo>
                        <a:lnTo>
                          <a:pt x="295" y="12"/>
                        </a:lnTo>
                        <a:lnTo>
                          <a:pt x="247" y="0"/>
                        </a:lnTo>
                        <a:lnTo>
                          <a:pt x="227" y="24"/>
                        </a:lnTo>
                        <a:lnTo>
                          <a:pt x="203" y="24"/>
                        </a:lnTo>
                        <a:lnTo>
                          <a:pt x="203" y="12"/>
                        </a:lnTo>
                        <a:lnTo>
                          <a:pt x="191" y="0"/>
                        </a:lnTo>
                        <a:lnTo>
                          <a:pt x="168" y="24"/>
                        </a:lnTo>
                        <a:lnTo>
                          <a:pt x="124" y="36"/>
                        </a:lnTo>
                        <a:lnTo>
                          <a:pt x="100" y="24"/>
                        </a:lnTo>
                        <a:lnTo>
                          <a:pt x="92" y="36"/>
                        </a:lnTo>
                        <a:lnTo>
                          <a:pt x="92" y="48"/>
                        </a:lnTo>
                        <a:lnTo>
                          <a:pt x="100" y="56"/>
                        </a:lnTo>
                        <a:lnTo>
                          <a:pt x="100" y="68"/>
                        </a:lnTo>
                        <a:lnTo>
                          <a:pt x="80" y="92"/>
                        </a:lnTo>
                        <a:lnTo>
                          <a:pt x="56" y="92"/>
                        </a:lnTo>
                        <a:lnTo>
                          <a:pt x="32" y="80"/>
                        </a:lnTo>
                        <a:lnTo>
                          <a:pt x="24" y="80"/>
                        </a:lnTo>
                        <a:lnTo>
                          <a:pt x="12" y="92"/>
                        </a:lnTo>
                        <a:lnTo>
                          <a:pt x="0" y="116"/>
                        </a:lnTo>
                        <a:lnTo>
                          <a:pt x="12" y="147"/>
                        </a:lnTo>
                        <a:lnTo>
                          <a:pt x="12" y="191"/>
                        </a:lnTo>
                        <a:lnTo>
                          <a:pt x="24" y="215"/>
                        </a:lnTo>
                        <a:lnTo>
                          <a:pt x="24" y="251"/>
                        </a:lnTo>
                        <a:close/>
                      </a:path>
                    </a:pathLst>
                  </a:custGeom>
                  <a:noFill/>
                  <a:ln w="9360">
                    <a:solidFill>
                      <a:srgbClr val="969696"/>
                    </a:solidFill>
                    <a:round/>
                    <a:headEnd/>
                    <a:tailEnd/>
                  </a:ln>
                </p:spPr>
                <p:txBody>
                  <a:bodyPr wrap="none" anchor="ctr"/>
                  <a:lstStyle/>
                  <a:p>
                    <a:pPr algn="ctr"/>
                    <a:endParaRPr lang="pt-BR" sz="700"/>
                  </a:p>
                </p:txBody>
              </p:sp>
              <p:sp>
                <p:nvSpPr>
                  <p:cNvPr id="355" name="Freeform 11"/>
                  <p:cNvSpPr>
                    <a:spLocks noChangeArrowheads="1"/>
                  </p:cNvSpPr>
                  <p:nvPr/>
                </p:nvSpPr>
                <p:spPr bwMode="auto">
                  <a:xfrm>
                    <a:off x="8235187" y="1963916"/>
                    <a:ext cx="219139" cy="133497"/>
                  </a:xfrm>
                  <a:custGeom>
                    <a:avLst/>
                    <a:gdLst>
                      <a:gd name="T0" fmla="*/ 2147483647 w 115"/>
                      <a:gd name="T1" fmla="*/ 2147483647 h 68"/>
                      <a:gd name="T2" fmla="*/ 2147483647 w 115"/>
                      <a:gd name="T3" fmla="*/ 2147483647 h 68"/>
                      <a:gd name="T4" fmla="*/ 2147483647 w 115"/>
                      <a:gd name="T5" fmla="*/ 2147483647 h 68"/>
                      <a:gd name="T6" fmla="*/ 2147483647 w 115"/>
                      <a:gd name="T7" fmla="*/ 0 h 68"/>
                      <a:gd name="T8" fmla="*/ 2147483647 w 115"/>
                      <a:gd name="T9" fmla="*/ 0 h 68"/>
                      <a:gd name="T10" fmla="*/ 2147483647 w 115"/>
                      <a:gd name="T11" fmla="*/ 2147483647 h 68"/>
                      <a:gd name="T12" fmla="*/ 2147483647 w 115"/>
                      <a:gd name="T13" fmla="*/ 2147483647 h 68"/>
                      <a:gd name="T14" fmla="*/ 2147483647 w 115"/>
                      <a:gd name="T15" fmla="*/ 0 h 68"/>
                      <a:gd name="T16" fmla="*/ 2147483647 w 115"/>
                      <a:gd name="T17" fmla="*/ 0 h 68"/>
                      <a:gd name="T18" fmla="*/ 0 w 115"/>
                      <a:gd name="T19" fmla="*/ 2147483647 h 68"/>
                      <a:gd name="T20" fmla="*/ 2147483647 w 115"/>
                      <a:gd name="T21" fmla="*/ 2147483647 h 68"/>
                      <a:gd name="T22" fmla="*/ 2147483647 w 115"/>
                      <a:gd name="T23" fmla="*/ 2147483647 h 68"/>
                      <a:gd name="T24" fmla="*/ 2147483647 w 115"/>
                      <a:gd name="T25" fmla="*/ 2147483647 h 68"/>
                      <a:gd name="T26" fmla="*/ 2147483647 w 115"/>
                      <a:gd name="T27" fmla="*/ 2147483647 h 6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5"/>
                      <a:gd name="T43" fmla="*/ 0 h 68"/>
                      <a:gd name="T44" fmla="*/ 115 w 115"/>
                      <a:gd name="T45" fmla="*/ 68 h 6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5" h="68">
                        <a:moveTo>
                          <a:pt x="59" y="68"/>
                        </a:moveTo>
                        <a:lnTo>
                          <a:pt x="79" y="56"/>
                        </a:lnTo>
                        <a:lnTo>
                          <a:pt x="91" y="36"/>
                        </a:lnTo>
                        <a:lnTo>
                          <a:pt x="115" y="0"/>
                        </a:lnTo>
                        <a:lnTo>
                          <a:pt x="79" y="0"/>
                        </a:lnTo>
                        <a:lnTo>
                          <a:pt x="67" y="12"/>
                        </a:lnTo>
                        <a:lnTo>
                          <a:pt x="59" y="12"/>
                        </a:lnTo>
                        <a:lnTo>
                          <a:pt x="36" y="0"/>
                        </a:lnTo>
                        <a:lnTo>
                          <a:pt x="12" y="0"/>
                        </a:lnTo>
                        <a:lnTo>
                          <a:pt x="0" y="12"/>
                        </a:lnTo>
                        <a:lnTo>
                          <a:pt x="12" y="36"/>
                        </a:lnTo>
                        <a:lnTo>
                          <a:pt x="24" y="36"/>
                        </a:lnTo>
                        <a:lnTo>
                          <a:pt x="47" y="56"/>
                        </a:lnTo>
                        <a:lnTo>
                          <a:pt x="59" y="68"/>
                        </a:lnTo>
                        <a:close/>
                      </a:path>
                    </a:pathLst>
                  </a:custGeom>
                  <a:noFill/>
                  <a:ln w="9360">
                    <a:solidFill>
                      <a:srgbClr val="969696"/>
                    </a:solidFill>
                    <a:round/>
                    <a:headEnd/>
                    <a:tailEnd/>
                  </a:ln>
                </p:spPr>
                <p:txBody>
                  <a:bodyPr wrap="none" anchor="ctr"/>
                  <a:lstStyle/>
                  <a:p>
                    <a:pPr algn="ctr"/>
                    <a:endParaRPr lang="pt-BR" sz="700"/>
                  </a:p>
                </p:txBody>
              </p:sp>
              <p:sp>
                <p:nvSpPr>
                  <p:cNvPr id="356" name="Freeform 58"/>
                  <p:cNvSpPr>
                    <a:spLocks noChangeArrowheads="1"/>
                  </p:cNvSpPr>
                  <p:nvPr/>
                </p:nvSpPr>
                <p:spPr bwMode="auto">
                  <a:xfrm>
                    <a:off x="7546512" y="1586310"/>
                    <a:ext cx="908185" cy="1440365"/>
                  </a:xfrm>
                  <a:custGeom>
                    <a:avLst/>
                    <a:gdLst>
                      <a:gd name="T0" fmla="*/ 2147483647 w 961"/>
                      <a:gd name="T1" fmla="*/ 2147483647 h 1609"/>
                      <a:gd name="T2" fmla="*/ 2147483647 w 961"/>
                      <a:gd name="T3" fmla="*/ 2147483647 h 1609"/>
                      <a:gd name="T4" fmla="*/ 2147483647 w 961"/>
                      <a:gd name="T5" fmla="*/ 2147483647 h 1609"/>
                      <a:gd name="T6" fmla="*/ 0 w 961"/>
                      <a:gd name="T7" fmla="*/ 2147483647 h 1609"/>
                      <a:gd name="T8" fmla="*/ 2147483647 w 961"/>
                      <a:gd name="T9" fmla="*/ 2147483647 h 1609"/>
                      <a:gd name="T10" fmla="*/ 2147483647 w 961"/>
                      <a:gd name="T11" fmla="*/ 2147483647 h 1609"/>
                      <a:gd name="T12" fmla="*/ 2147483647 w 961"/>
                      <a:gd name="T13" fmla="*/ 2147483647 h 1609"/>
                      <a:gd name="T14" fmla="*/ 2147483647 w 961"/>
                      <a:gd name="T15" fmla="*/ 2147483647 h 1609"/>
                      <a:gd name="T16" fmla="*/ 2147483647 w 961"/>
                      <a:gd name="T17" fmla="*/ 2147483647 h 1609"/>
                      <a:gd name="T18" fmla="*/ 2147483647 w 961"/>
                      <a:gd name="T19" fmla="*/ 2147483647 h 1609"/>
                      <a:gd name="T20" fmla="*/ 2147483647 w 961"/>
                      <a:gd name="T21" fmla="*/ 2147483647 h 1609"/>
                      <a:gd name="T22" fmla="*/ 2147483647 w 961"/>
                      <a:gd name="T23" fmla="*/ 2147483647 h 1609"/>
                      <a:gd name="T24" fmla="*/ 2147483647 w 961"/>
                      <a:gd name="T25" fmla="*/ 2147483647 h 1609"/>
                      <a:gd name="T26" fmla="*/ 2147483647 w 961"/>
                      <a:gd name="T27" fmla="*/ 2147483647 h 1609"/>
                      <a:gd name="T28" fmla="*/ 2147483647 w 961"/>
                      <a:gd name="T29" fmla="*/ 2147483647 h 1609"/>
                      <a:gd name="T30" fmla="*/ 2147483647 w 961"/>
                      <a:gd name="T31" fmla="*/ 2147483647 h 1609"/>
                      <a:gd name="T32" fmla="*/ 2147483647 w 961"/>
                      <a:gd name="T33" fmla="*/ 2147483647 h 1609"/>
                      <a:gd name="T34" fmla="*/ 2147483647 w 961"/>
                      <a:gd name="T35" fmla="*/ 2147483647 h 1609"/>
                      <a:gd name="T36" fmla="*/ 2147483647 w 961"/>
                      <a:gd name="T37" fmla="*/ 2147483647 h 1609"/>
                      <a:gd name="T38" fmla="*/ 2147483647 w 961"/>
                      <a:gd name="T39" fmla="*/ 2147483647 h 1609"/>
                      <a:gd name="T40" fmla="*/ 2147483647 w 961"/>
                      <a:gd name="T41" fmla="*/ 2147483647 h 1609"/>
                      <a:gd name="T42" fmla="*/ 2147483647 w 961"/>
                      <a:gd name="T43" fmla="*/ 2147483647 h 1609"/>
                      <a:gd name="T44" fmla="*/ 2147483647 w 961"/>
                      <a:gd name="T45" fmla="*/ 0 h 1609"/>
                      <a:gd name="T46" fmla="*/ 2147483647 w 961"/>
                      <a:gd name="T47" fmla="*/ 0 h 1609"/>
                      <a:gd name="T48" fmla="*/ 2147483647 w 961"/>
                      <a:gd name="T49" fmla="*/ 2147483647 h 1609"/>
                      <a:gd name="T50" fmla="*/ 2147483647 w 961"/>
                      <a:gd name="T51" fmla="*/ 2147483647 h 1609"/>
                      <a:gd name="T52" fmla="*/ 2147483647 w 961"/>
                      <a:gd name="T53" fmla="*/ 2147483647 h 1609"/>
                      <a:gd name="T54" fmla="*/ 2147483647 w 961"/>
                      <a:gd name="T55" fmla="*/ 2147483647 h 160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961"/>
                      <a:gd name="T85" fmla="*/ 0 h 1609"/>
                      <a:gd name="T86" fmla="*/ 961 w 961"/>
                      <a:gd name="T87" fmla="*/ 1609 h 160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961" h="1609">
                        <a:moveTo>
                          <a:pt x="33" y="926"/>
                        </a:moveTo>
                        <a:cubicBezTo>
                          <a:pt x="27" y="981"/>
                          <a:pt x="22" y="1035"/>
                          <a:pt x="16" y="1090"/>
                        </a:cubicBezTo>
                        <a:cubicBezTo>
                          <a:pt x="24" y="1143"/>
                          <a:pt x="31" y="1196"/>
                          <a:pt x="39" y="1249"/>
                        </a:cubicBezTo>
                        <a:lnTo>
                          <a:pt x="0" y="1366"/>
                        </a:lnTo>
                        <a:lnTo>
                          <a:pt x="72" y="1486"/>
                        </a:lnTo>
                        <a:cubicBezTo>
                          <a:pt x="79" y="1509"/>
                          <a:pt x="85" y="1531"/>
                          <a:pt x="92" y="1554"/>
                        </a:cubicBezTo>
                        <a:lnTo>
                          <a:pt x="138" y="1609"/>
                        </a:lnTo>
                        <a:cubicBezTo>
                          <a:pt x="150" y="1602"/>
                          <a:pt x="161" y="1595"/>
                          <a:pt x="173" y="1588"/>
                        </a:cubicBezTo>
                        <a:lnTo>
                          <a:pt x="288" y="1554"/>
                        </a:lnTo>
                        <a:lnTo>
                          <a:pt x="419" y="1545"/>
                        </a:lnTo>
                        <a:lnTo>
                          <a:pt x="344" y="1404"/>
                        </a:lnTo>
                        <a:cubicBezTo>
                          <a:pt x="307" y="1333"/>
                          <a:pt x="269" y="1262"/>
                          <a:pt x="232" y="1191"/>
                        </a:cubicBezTo>
                        <a:cubicBezTo>
                          <a:pt x="232" y="1191"/>
                          <a:pt x="385" y="1186"/>
                          <a:pt x="444" y="1147"/>
                        </a:cubicBezTo>
                        <a:cubicBezTo>
                          <a:pt x="503" y="1108"/>
                          <a:pt x="559" y="1022"/>
                          <a:pt x="585" y="963"/>
                        </a:cubicBezTo>
                        <a:cubicBezTo>
                          <a:pt x="612" y="905"/>
                          <a:pt x="571" y="836"/>
                          <a:pt x="599" y="797"/>
                        </a:cubicBezTo>
                        <a:lnTo>
                          <a:pt x="750" y="734"/>
                        </a:lnTo>
                        <a:cubicBezTo>
                          <a:pt x="771" y="693"/>
                          <a:pt x="791" y="651"/>
                          <a:pt x="812" y="610"/>
                        </a:cubicBezTo>
                        <a:cubicBezTo>
                          <a:pt x="843" y="566"/>
                          <a:pt x="873" y="522"/>
                          <a:pt x="904" y="478"/>
                        </a:cubicBezTo>
                        <a:lnTo>
                          <a:pt x="961" y="337"/>
                        </a:lnTo>
                        <a:cubicBezTo>
                          <a:pt x="953" y="304"/>
                          <a:pt x="917" y="298"/>
                          <a:pt x="853" y="277"/>
                        </a:cubicBezTo>
                        <a:cubicBezTo>
                          <a:pt x="789" y="256"/>
                          <a:pt x="624" y="245"/>
                          <a:pt x="576" y="208"/>
                        </a:cubicBezTo>
                        <a:cubicBezTo>
                          <a:pt x="503" y="176"/>
                          <a:pt x="548" y="88"/>
                          <a:pt x="562" y="53"/>
                        </a:cubicBezTo>
                        <a:cubicBezTo>
                          <a:pt x="577" y="18"/>
                          <a:pt x="646" y="9"/>
                          <a:pt x="661" y="0"/>
                        </a:cubicBezTo>
                        <a:lnTo>
                          <a:pt x="654" y="0"/>
                        </a:lnTo>
                        <a:cubicBezTo>
                          <a:pt x="649" y="41"/>
                          <a:pt x="656" y="82"/>
                          <a:pt x="651" y="123"/>
                        </a:cubicBezTo>
                        <a:cubicBezTo>
                          <a:pt x="633" y="174"/>
                          <a:pt x="655" y="266"/>
                          <a:pt x="637" y="317"/>
                        </a:cubicBezTo>
                        <a:cubicBezTo>
                          <a:pt x="663" y="356"/>
                          <a:pt x="688" y="395"/>
                          <a:pt x="714" y="434"/>
                        </a:cubicBezTo>
                        <a:cubicBezTo>
                          <a:pt x="722" y="528"/>
                          <a:pt x="729" y="622"/>
                          <a:pt x="737" y="716"/>
                        </a:cubicBezTo>
                      </a:path>
                    </a:pathLst>
                  </a:custGeom>
                  <a:noFill/>
                  <a:ln w="28575">
                    <a:solidFill>
                      <a:srgbClr val="0070C0"/>
                    </a:solidFill>
                    <a:round/>
                    <a:headEnd/>
                    <a:tailEnd/>
                  </a:ln>
                </p:spPr>
                <p:txBody>
                  <a:bodyPr wrap="none" anchor="ctr"/>
                  <a:lstStyle/>
                  <a:p>
                    <a:pPr algn="ctr"/>
                    <a:endParaRPr lang="pt-BR" sz="700"/>
                  </a:p>
                </p:txBody>
              </p:sp>
              <p:sp>
                <p:nvSpPr>
                  <p:cNvPr id="357" name="Freeform 2"/>
                  <p:cNvSpPr>
                    <a:spLocks noChangeArrowheads="1"/>
                  </p:cNvSpPr>
                  <p:nvPr/>
                </p:nvSpPr>
                <p:spPr bwMode="auto">
                  <a:xfrm>
                    <a:off x="7016366" y="3283666"/>
                    <a:ext cx="450704" cy="491831"/>
                  </a:xfrm>
                  <a:custGeom>
                    <a:avLst/>
                    <a:gdLst>
                      <a:gd name="T0" fmla="*/ 2147483647 w 235"/>
                      <a:gd name="T1" fmla="*/ 2147483647 h 251"/>
                      <a:gd name="T2" fmla="*/ 2147483647 w 235"/>
                      <a:gd name="T3" fmla="*/ 2147483647 h 251"/>
                      <a:gd name="T4" fmla="*/ 2147483647 w 235"/>
                      <a:gd name="T5" fmla="*/ 2147483647 h 251"/>
                      <a:gd name="T6" fmla="*/ 2147483647 w 235"/>
                      <a:gd name="T7" fmla="*/ 2147483647 h 251"/>
                      <a:gd name="T8" fmla="*/ 2147483647 w 235"/>
                      <a:gd name="T9" fmla="*/ 2147483647 h 251"/>
                      <a:gd name="T10" fmla="*/ 2147483647 w 235"/>
                      <a:gd name="T11" fmla="*/ 2147483647 h 251"/>
                      <a:gd name="T12" fmla="*/ 2147483647 w 235"/>
                      <a:gd name="T13" fmla="*/ 2147483647 h 251"/>
                      <a:gd name="T14" fmla="*/ 2147483647 w 235"/>
                      <a:gd name="T15" fmla="*/ 2147483647 h 251"/>
                      <a:gd name="T16" fmla="*/ 2147483647 w 235"/>
                      <a:gd name="T17" fmla="*/ 2147483647 h 251"/>
                      <a:gd name="T18" fmla="*/ 2147483647 w 235"/>
                      <a:gd name="T19" fmla="*/ 2147483647 h 251"/>
                      <a:gd name="T20" fmla="*/ 2147483647 w 235"/>
                      <a:gd name="T21" fmla="*/ 2147483647 h 251"/>
                      <a:gd name="T22" fmla="*/ 2147483647 w 235"/>
                      <a:gd name="T23" fmla="*/ 2147483647 h 251"/>
                      <a:gd name="T24" fmla="*/ 2147483647 w 235"/>
                      <a:gd name="T25" fmla="*/ 0 h 251"/>
                      <a:gd name="T26" fmla="*/ 2147483647 w 235"/>
                      <a:gd name="T27" fmla="*/ 0 h 251"/>
                      <a:gd name="T28" fmla="*/ 2147483647 w 235"/>
                      <a:gd name="T29" fmla="*/ 2147483647 h 251"/>
                      <a:gd name="T30" fmla="*/ 0 w 235"/>
                      <a:gd name="T31" fmla="*/ 2147483647 h 251"/>
                      <a:gd name="T32" fmla="*/ 0 w 235"/>
                      <a:gd name="T33" fmla="*/ 2147483647 h 251"/>
                      <a:gd name="T34" fmla="*/ 2147483647 w 235"/>
                      <a:gd name="T35" fmla="*/ 2147483647 h 251"/>
                      <a:gd name="T36" fmla="*/ 2147483647 w 235"/>
                      <a:gd name="T37" fmla="*/ 2147483647 h 251"/>
                      <a:gd name="T38" fmla="*/ 2147483647 w 235"/>
                      <a:gd name="T39" fmla="*/ 2147483647 h 251"/>
                      <a:gd name="T40" fmla="*/ 2147483647 w 235"/>
                      <a:gd name="T41" fmla="*/ 2147483647 h 251"/>
                      <a:gd name="T42" fmla="*/ 2147483647 w 235"/>
                      <a:gd name="T43" fmla="*/ 2147483647 h 251"/>
                      <a:gd name="T44" fmla="*/ 2147483647 w 235"/>
                      <a:gd name="T45" fmla="*/ 2147483647 h 251"/>
                      <a:gd name="T46" fmla="*/ 2147483647 w 235"/>
                      <a:gd name="T47" fmla="*/ 2147483647 h 251"/>
                      <a:gd name="T48" fmla="*/ 2147483647 w 235"/>
                      <a:gd name="T49" fmla="*/ 2147483647 h 2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35"/>
                      <a:gd name="T76" fmla="*/ 0 h 251"/>
                      <a:gd name="T77" fmla="*/ 235 w 235"/>
                      <a:gd name="T78" fmla="*/ 251 h 2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35" h="251">
                        <a:moveTo>
                          <a:pt x="124" y="251"/>
                        </a:moveTo>
                        <a:lnTo>
                          <a:pt x="148" y="239"/>
                        </a:lnTo>
                        <a:lnTo>
                          <a:pt x="167" y="191"/>
                        </a:lnTo>
                        <a:lnTo>
                          <a:pt x="191" y="171"/>
                        </a:lnTo>
                        <a:lnTo>
                          <a:pt x="215" y="116"/>
                        </a:lnTo>
                        <a:lnTo>
                          <a:pt x="235" y="80"/>
                        </a:lnTo>
                        <a:lnTo>
                          <a:pt x="227" y="68"/>
                        </a:lnTo>
                        <a:lnTo>
                          <a:pt x="227" y="48"/>
                        </a:lnTo>
                        <a:lnTo>
                          <a:pt x="215" y="48"/>
                        </a:lnTo>
                        <a:lnTo>
                          <a:pt x="203" y="36"/>
                        </a:lnTo>
                        <a:lnTo>
                          <a:pt x="179" y="24"/>
                        </a:lnTo>
                        <a:lnTo>
                          <a:pt x="167" y="12"/>
                        </a:lnTo>
                        <a:lnTo>
                          <a:pt x="136" y="0"/>
                        </a:lnTo>
                        <a:lnTo>
                          <a:pt x="100" y="0"/>
                        </a:lnTo>
                        <a:lnTo>
                          <a:pt x="68" y="24"/>
                        </a:lnTo>
                        <a:lnTo>
                          <a:pt x="0" y="124"/>
                        </a:lnTo>
                        <a:lnTo>
                          <a:pt x="0" y="136"/>
                        </a:lnTo>
                        <a:lnTo>
                          <a:pt x="24" y="136"/>
                        </a:lnTo>
                        <a:lnTo>
                          <a:pt x="68" y="160"/>
                        </a:lnTo>
                        <a:lnTo>
                          <a:pt x="80" y="160"/>
                        </a:lnTo>
                        <a:lnTo>
                          <a:pt x="124" y="203"/>
                        </a:lnTo>
                        <a:lnTo>
                          <a:pt x="136" y="191"/>
                        </a:lnTo>
                        <a:lnTo>
                          <a:pt x="136" y="215"/>
                        </a:lnTo>
                        <a:lnTo>
                          <a:pt x="124" y="227"/>
                        </a:lnTo>
                        <a:lnTo>
                          <a:pt x="124" y="251"/>
                        </a:lnTo>
                        <a:close/>
                      </a:path>
                    </a:pathLst>
                  </a:custGeom>
                  <a:solidFill>
                    <a:srgbClr val="7030A0"/>
                  </a:solidFill>
                  <a:ln w="9360">
                    <a:solidFill>
                      <a:srgbClr val="969696"/>
                    </a:solidFill>
                    <a:round/>
                    <a:headEnd/>
                    <a:tailEnd/>
                  </a:ln>
                </p:spPr>
                <p:txBody>
                  <a:bodyPr wrap="none" anchor="ctr"/>
                  <a:lstStyle/>
                  <a:p>
                    <a:pPr algn="ctr"/>
                    <a:endParaRPr lang="pt-BR" sz="700"/>
                  </a:p>
                </p:txBody>
              </p:sp>
              <p:sp>
                <p:nvSpPr>
                  <p:cNvPr id="358" name="Freeform 14"/>
                  <p:cNvSpPr>
                    <a:spLocks noChangeArrowheads="1"/>
                  </p:cNvSpPr>
                  <p:nvPr/>
                </p:nvSpPr>
                <p:spPr bwMode="auto">
                  <a:xfrm>
                    <a:off x="8205817" y="1652424"/>
                    <a:ext cx="257544" cy="156918"/>
                  </a:xfrm>
                  <a:custGeom>
                    <a:avLst/>
                    <a:gdLst>
                      <a:gd name="T0" fmla="*/ 2147483647 w 135"/>
                      <a:gd name="T1" fmla="*/ 2147483647 h 80"/>
                      <a:gd name="T2" fmla="*/ 2147483647 w 135"/>
                      <a:gd name="T3" fmla="*/ 2147483647 h 80"/>
                      <a:gd name="T4" fmla="*/ 2147483647 w 135"/>
                      <a:gd name="T5" fmla="*/ 2147483647 h 80"/>
                      <a:gd name="T6" fmla="*/ 2147483647 w 135"/>
                      <a:gd name="T7" fmla="*/ 2147483647 h 80"/>
                      <a:gd name="T8" fmla="*/ 2147483647 w 135"/>
                      <a:gd name="T9" fmla="*/ 0 h 80"/>
                      <a:gd name="T10" fmla="*/ 2147483647 w 135"/>
                      <a:gd name="T11" fmla="*/ 0 h 80"/>
                      <a:gd name="T12" fmla="*/ 2147483647 w 135"/>
                      <a:gd name="T13" fmla="*/ 2147483647 h 80"/>
                      <a:gd name="T14" fmla="*/ 2147483647 w 135"/>
                      <a:gd name="T15" fmla="*/ 2147483647 h 80"/>
                      <a:gd name="T16" fmla="*/ 0 w 135"/>
                      <a:gd name="T17" fmla="*/ 2147483647 h 80"/>
                      <a:gd name="T18" fmla="*/ 2147483647 w 135"/>
                      <a:gd name="T19" fmla="*/ 2147483647 h 80"/>
                      <a:gd name="T20" fmla="*/ 2147483647 w 135"/>
                      <a:gd name="T21" fmla="*/ 2147483647 h 80"/>
                      <a:gd name="T22" fmla="*/ 2147483647 w 135"/>
                      <a:gd name="T23" fmla="*/ 2147483647 h 80"/>
                      <a:gd name="T24" fmla="*/ 2147483647 w 135"/>
                      <a:gd name="T25" fmla="*/ 2147483647 h 80"/>
                      <a:gd name="T26" fmla="*/ 2147483647 w 135"/>
                      <a:gd name="T27" fmla="*/ 2147483647 h 80"/>
                      <a:gd name="T28" fmla="*/ 2147483647 w 135"/>
                      <a:gd name="T29" fmla="*/ 2147483647 h 80"/>
                      <a:gd name="T30" fmla="*/ 2147483647 w 135"/>
                      <a:gd name="T31" fmla="*/ 2147483647 h 80"/>
                      <a:gd name="T32" fmla="*/ 2147483647 w 135"/>
                      <a:gd name="T33" fmla="*/ 2147483647 h 80"/>
                      <a:gd name="T34" fmla="*/ 2147483647 w 135"/>
                      <a:gd name="T35" fmla="*/ 2147483647 h 80"/>
                      <a:gd name="T36" fmla="*/ 2147483647 w 135"/>
                      <a:gd name="T37" fmla="*/ 2147483647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5"/>
                      <a:gd name="T58" fmla="*/ 0 h 80"/>
                      <a:gd name="T59" fmla="*/ 135 w 135"/>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5" h="80">
                        <a:moveTo>
                          <a:pt x="135" y="68"/>
                        </a:moveTo>
                        <a:lnTo>
                          <a:pt x="123" y="24"/>
                        </a:lnTo>
                        <a:lnTo>
                          <a:pt x="111" y="12"/>
                        </a:lnTo>
                        <a:lnTo>
                          <a:pt x="87" y="12"/>
                        </a:lnTo>
                        <a:lnTo>
                          <a:pt x="56" y="0"/>
                        </a:lnTo>
                        <a:lnTo>
                          <a:pt x="44" y="0"/>
                        </a:lnTo>
                        <a:lnTo>
                          <a:pt x="32" y="12"/>
                        </a:lnTo>
                        <a:lnTo>
                          <a:pt x="20" y="36"/>
                        </a:lnTo>
                        <a:lnTo>
                          <a:pt x="0" y="68"/>
                        </a:lnTo>
                        <a:lnTo>
                          <a:pt x="12" y="68"/>
                        </a:lnTo>
                        <a:lnTo>
                          <a:pt x="32" y="60"/>
                        </a:lnTo>
                        <a:lnTo>
                          <a:pt x="44" y="48"/>
                        </a:lnTo>
                        <a:lnTo>
                          <a:pt x="56" y="60"/>
                        </a:lnTo>
                        <a:lnTo>
                          <a:pt x="32" y="80"/>
                        </a:lnTo>
                        <a:lnTo>
                          <a:pt x="79" y="80"/>
                        </a:lnTo>
                        <a:lnTo>
                          <a:pt x="79" y="60"/>
                        </a:lnTo>
                        <a:lnTo>
                          <a:pt x="87" y="60"/>
                        </a:lnTo>
                        <a:lnTo>
                          <a:pt x="99" y="68"/>
                        </a:lnTo>
                        <a:lnTo>
                          <a:pt x="135" y="68"/>
                        </a:lnTo>
                        <a:close/>
                      </a:path>
                    </a:pathLst>
                  </a:custGeom>
                  <a:noFill/>
                  <a:ln w="9360">
                    <a:solidFill>
                      <a:srgbClr val="969696"/>
                    </a:solidFill>
                    <a:round/>
                    <a:headEnd/>
                    <a:tailEnd/>
                  </a:ln>
                </p:spPr>
                <p:txBody>
                  <a:bodyPr wrap="none" anchor="ctr"/>
                  <a:lstStyle/>
                  <a:p>
                    <a:pPr algn="ctr"/>
                    <a:endParaRPr lang="pt-BR" sz="700"/>
                  </a:p>
                </p:txBody>
              </p:sp>
              <p:sp>
                <p:nvSpPr>
                  <p:cNvPr id="359" name="Freeform 16"/>
                  <p:cNvSpPr>
                    <a:spLocks noChangeArrowheads="1"/>
                  </p:cNvSpPr>
                  <p:nvPr/>
                </p:nvSpPr>
                <p:spPr bwMode="auto">
                  <a:xfrm>
                    <a:off x="7685078" y="1543516"/>
                    <a:ext cx="389706" cy="577316"/>
                  </a:xfrm>
                  <a:custGeom>
                    <a:avLst/>
                    <a:gdLst>
                      <a:gd name="T0" fmla="*/ 2147483647 w 203"/>
                      <a:gd name="T1" fmla="*/ 0 h 295"/>
                      <a:gd name="T2" fmla="*/ 2147483647 w 203"/>
                      <a:gd name="T3" fmla="*/ 2147483647 h 295"/>
                      <a:gd name="T4" fmla="*/ 2147483647 w 203"/>
                      <a:gd name="T5" fmla="*/ 2147483647 h 295"/>
                      <a:gd name="T6" fmla="*/ 2147483647 w 203"/>
                      <a:gd name="T7" fmla="*/ 2147483647 h 295"/>
                      <a:gd name="T8" fmla="*/ 2147483647 w 203"/>
                      <a:gd name="T9" fmla="*/ 2147483647 h 295"/>
                      <a:gd name="T10" fmla="*/ 2147483647 w 203"/>
                      <a:gd name="T11" fmla="*/ 2147483647 h 295"/>
                      <a:gd name="T12" fmla="*/ 2147483647 w 203"/>
                      <a:gd name="T13" fmla="*/ 2147483647 h 295"/>
                      <a:gd name="T14" fmla="*/ 2147483647 w 203"/>
                      <a:gd name="T15" fmla="*/ 2147483647 h 295"/>
                      <a:gd name="T16" fmla="*/ 2147483647 w 203"/>
                      <a:gd name="T17" fmla="*/ 2147483647 h 295"/>
                      <a:gd name="T18" fmla="*/ 2147483647 w 203"/>
                      <a:gd name="T19" fmla="*/ 2147483647 h 295"/>
                      <a:gd name="T20" fmla="*/ 2147483647 w 203"/>
                      <a:gd name="T21" fmla="*/ 2147483647 h 295"/>
                      <a:gd name="T22" fmla="*/ 2147483647 w 203"/>
                      <a:gd name="T23" fmla="*/ 2147483647 h 295"/>
                      <a:gd name="T24" fmla="*/ 0 w 203"/>
                      <a:gd name="T25" fmla="*/ 2147483647 h 295"/>
                      <a:gd name="T26" fmla="*/ 2147483647 w 203"/>
                      <a:gd name="T27" fmla="*/ 2147483647 h 295"/>
                      <a:gd name="T28" fmla="*/ 2147483647 w 203"/>
                      <a:gd name="T29" fmla="*/ 2147483647 h 295"/>
                      <a:gd name="T30" fmla="*/ 2147483647 w 203"/>
                      <a:gd name="T31" fmla="*/ 2147483647 h 295"/>
                      <a:gd name="T32" fmla="*/ 2147483647 w 203"/>
                      <a:gd name="T33" fmla="*/ 2147483647 h 295"/>
                      <a:gd name="T34" fmla="*/ 2147483647 w 203"/>
                      <a:gd name="T35" fmla="*/ 2147483647 h 295"/>
                      <a:gd name="T36" fmla="*/ 2147483647 w 203"/>
                      <a:gd name="T37" fmla="*/ 2147483647 h 295"/>
                      <a:gd name="T38" fmla="*/ 2147483647 w 203"/>
                      <a:gd name="T39" fmla="*/ 2147483647 h 295"/>
                      <a:gd name="T40" fmla="*/ 2147483647 w 203"/>
                      <a:gd name="T41" fmla="*/ 2147483647 h 295"/>
                      <a:gd name="T42" fmla="*/ 2147483647 w 203"/>
                      <a:gd name="T43" fmla="*/ 2147483647 h 295"/>
                      <a:gd name="T44" fmla="*/ 2147483647 w 203"/>
                      <a:gd name="T45" fmla="*/ 2147483647 h 295"/>
                      <a:gd name="T46" fmla="*/ 2147483647 w 203"/>
                      <a:gd name="T47" fmla="*/ 2147483647 h 295"/>
                      <a:gd name="T48" fmla="*/ 2147483647 w 203"/>
                      <a:gd name="T49" fmla="*/ 2147483647 h 295"/>
                      <a:gd name="T50" fmla="*/ 2147483647 w 203"/>
                      <a:gd name="T51" fmla="*/ 2147483647 h 295"/>
                      <a:gd name="T52" fmla="*/ 2147483647 w 203"/>
                      <a:gd name="T53" fmla="*/ 2147483647 h 295"/>
                      <a:gd name="T54" fmla="*/ 2147483647 w 203"/>
                      <a:gd name="T55" fmla="*/ 2147483647 h 295"/>
                      <a:gd name="T56" fmla="*/ 2147483647 w 203"/>
                      <a:gd name="T57" fmla="*/ 2147483647 h 295"/>
                      <a:gd name="T58" fmla="*/ 2147483647 w 203"/>
                      <a:gd name="T59" fmla="*/ 2147483647 h 295"/>
                      <a:gd name="T60" fmla="*/ 2147483647 w 203"/>
                      <a:gd name="T61" fmla="*/ 2147483647 h 295"/>
                      <a:gd name="T62" fmla="*/ 2147483647 w 203"/>
                      <a:gd name="T63" fmla="*/ 2147483647 h 295"/>
                      <a:gd name="T64" fmla="*/ 2147483647 w 203"/>
                      <a:gd name="T65" fmla="*/ 2147483647 h 295"/>
                      <a:gd name="T66" fmla="*/ 2147483647 w 203"/>
                      <a:gd name="T67" fmla="*/ 2147483647 h 295"/>
                      <a:gd name="T68" fmla="*/ 2147483647 w 203"/>
                      <a:gd name="T69" fmla="*/ 0 h 295"/>
                      <a:gd name="T70" fmla="*/ 2147483647 w 203"/>
                      <a:gd name="T71" fmla="*/ 0 h 29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03"/>
                      <a:gd name="T109" fmla="*/ 0 h 295"/>
                      <a:gd name="T110" fmla="*/ 203 w 203"/>
                      <a:gd name="T111" fmla="*/ 295 h 29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03" h="295">
                        <a:moveTo>
                          <a:pt x="156" y="0"/>
                        </a:moveTo>
                        <a:lnTo>
                          <a:pt x="148" y="12"/>
                        </a:lnTo>
                        <a:lnTo>
                          <a:pt x="136" y="12"/>
                        </a:lnTo>
                        <a:lnTo>
                          <a:pt x="124" y="24"/>
                        </a:lnTo>
                        <a:lnTo>
                          <a:pt x="112" y="48"/>
                        </a:lnTo>
                        <a:lnTo>
                          <a:pt x="112" y="68"/>
                        </a:lnTo>
                        <a:lnTo>
                          <a:pt x="100" y="104"/>
                        </a:lnTo>
                        <a:lnTo>
                          <a:pt x="100" y="124"/>
                        </a:lnTo>
                        <a:lnTo>
                          <a:pt x="88" y="136"/>
                        </a:lnTo>
                        <a:lnTo>
                          <a:pt x="56" y="148"/>
                        </a:lnTo>
                        <a:lnTo>
                          <a:pt x="32" y="159"/>
                        </a:lnTo>
                        <a:lnTo>
                          <a:pt x="12" y="183"/>
                        </a:lnTo>
                        <a:lnTo>
                          <a:pt x="0" y="227"/>
                        </a:lnTo>
                        <a:lnTo>
                          <a:pt x="12" y="271"/>
                        </a:lnTo>
                        <a:lnTo>
                          <a:pt x="12" y="283"/>
                        </a:lnTo>
                        <a:lnTo>
                          <a:pt x="20" y="283"/>
                        </a:lnTo>
                        <a:lnTo>
                          <a:pt x="44" y="295"/>
                        </a:lnTo>
                        <a:lnTo>
                          <a:pt x="68" y="295"/>
                        </a:lnTo>
                        <a:lnTo>
                          <a:pt x="88" y="271"/>
                        </a:lnTo>
                        <a:lnTo>
                          <a:pt x="88" y="259"/>
                        </a:lnTo>
                        <a:lnTo>
                          <a:pt x="80" y="251"/>
                        </a:lnTo>
                        <a:lnTo>
                          <a:pt x="80" y="239"/>
                        </a:lnTo>
                        <a:lnTo>
                          <a:pt x="88" y="227"/>
                        </a:lnTo>
                        <a:lnTo>
                          <a:pt x="112" y="239"/>
                        </a:lnTo>
                        <a:lnTo>
                          <a:pt x="156" y="227"/>
                        </a:lnTo>
                        <a:lnTo>
                          <a:pt x="179" y="203"/>
                        </a:lnTo>
                        <a:lnTo>
                          <a:pt x="191" y="191"/>
                        </a:lnTo>
                        <a:lnTo>
                          <a:pt x="191" y="171"/>
                        </a:lnTo>
                        <a:lnTo>
                          <a:pt x="203" y="159"/>
                        </a:lnTo>
                        <a:lnTo>
                          <a:pt x="203" y="148"/>
                        </a:lnTo>
                        <a:lnTo>
                          <a:pt x="179" y="116"/>
                        </a:lnTo>
                        <a:lnTo>
                          <a:pt x="179" y="92"/>
                        </a:lnTo>
                        <a:lnTo>
                          <a:pt x="167" y="48"/>
                        </a:lnTo>
                        <a:lnTo>
                          <a:pt x="167" y="24"/>
                        </a:lnTo>
                        <a:lnTo>
                          <a:pt x="167" y="0"/>
                        </a:lnTo>
                        <a:lnTo>
                          <a:pt x="156" y="0"/>
                        </a:lnTo>
                        <a:close/>
                      </a:path>
                    </a:pathLst>
                  </a:custGeom>
                  <a:noFill/>
                  <a:ln w="9525">
                    <a:noFill/>
                    <a:round/>
                    <a:headEnd/>
                    <a:tailEnd/>
                  </a:ln>
                </p:spPr>
                <p:txBody>
                  <a:bodyPr wrap="none" anchor="ctr"/>
                  <a:lstStyle/>
                  <a:p>
                    <a:pPr algn="ctr"/>
                    <a:endParaRPr lang="pt-BR" sz="700"/>
                  </a:p>
                </p:txBody>
              </p:sp>
              <p:sp>
                <p:nvSpPr>
                  <p:cNvPr id="360" name="Freeform 17"/>
                  <p:cNvSpPr>
                    <a:spLocks noChangeArrowheads="1"/>
                  </p:cNvSpPr>
                  <p:nvPr/>
                </p:nvSpPr>
                <p:spPr bwMode="auto">
                  <a:xfrm>
                    <a:off x="7511123" y="1413534"/>
                    <a:ext cx="492498" cy="660460"/>
                  </a:xfrm>
                  <a:custGeom>
                    <a:avLst/>
                    <a:gdLst>
                      <a:gd name="T0" fmla="*/ 2147483647 w 524"/>
                      <a:gd name="T1" fmla="*/ 0 h 691"/>
                      <a:gd name="T2" fmla="*/ 2147483647 w 524"/>
                      <a:gd name="T3" fmla="*/ 2147483647 h 691"/>
                      <a:gd name="T4" fmla="*/ 2147483647 w 524"/>
                      <a:gd name="T5" fmla="*/ 2147483647 h 691"/>
                      <a:gd name="T6" fmla="*/ 2147483647 w 524"/>
                      <a:gd name="T7" fmla="*/ 2147483647 h 691"/>
                      <a:gd name="T8" fmla="*/ 2147483647 w 524"/>
                      <a:gd name="T9" fmla="*/ 2147483647 h 691"/>
                      <a:gd name="T10" fmla="*/ 2147483647 w 524"/>
                      <a:gd name="T11" fmla="*/ 2147483647 h 691"/>
                      <a:gd name="T12" fmla="*/ 0 w 524"/>
                      <a:gd name="T13" fmla="*/ 2147483647 h 691"/>
                      <a:gd name="T14" fmla="*/ 2147483647 w 524"/>
                      <a:gd name="T15" fmla="*/ 2147483647 h 691"/>
                      <a:gd name="T16" fmla="*/ 2147483647 w 524"/>
                      <a:gd name="T17" fmla="*/ 2147483647 h 691"/>
                      <a:gd name="T18" fmla="*/ 2147483647 w 524"/>
                      <a:gd name="T19" fmla="*/ 2147483647 h 691"/>
                      <a:gd name="T20" fmla="*/ 2147483647 w 524"/>
                      <a:gd name="T21" fmla="*/ 2147483647 h 691"/>
                      <a:gd name="T22" fmla="*/ 2147483647 w 524"/>
                      <a:gd name="T23" fmla="*/ 2147483647 h 691"/>
                      <a:gd name="T24" fmla="*/ 2147483647 w 524"/>
                      <a:gd name="T25" fmla="*/ 2147483647 h 691"/>
                      <a:gd name="T26" fmla="*/ 2147483647 w 524"/>
                      <a:gd name="T27" fmla="*/ 2147483647 h 691"/>
                      <a:gd name="T28" fmla="*/ 2147483647 w 524"/>
                      <a:gd name="T29" fmla="*/ 2147483647 h 691"/>
                      <a:gd name="T30" fmla="*/ 2147483647 w 524"/>
                      <a:gd name="T31" fmla="*/ 2147483647 h 691"/>
                      <a:gd name="T32" fmla="*/ 2147483647 w 524"/>
                      <a:gd name="T33" fmla="*/ 2147483647 h 691"/>
                      <a:gd name="T34" fmla="*/ 2147483647 w 524"/>
                      <a:gd name="T35" fmla="*/ 2147483647 h 691"/>
                      <a:gd name="T36" fmla="*/ 2147483647 w 524"/>
                      <a:gd name="T37" fmla="*/ 2147483647 h 691"/>
                      <a:gd name="T38" fmla="*/ 2147483647 w 524"/>
                      <a:gd name="T39" fmla="*/ 2147483647 h 691"/>
                      <a:gd name="T40" fmla="*/ 2147483647 w 524"/>
                      <a:gd name="T41" fmla="*/ 2147483647 h 691"/>
                      <a:gd name="T42" fmla="*/ 2147483647 w 524"/>
                      <a:gd name="T43" fmla="*/ 2147483647 h 691"/>
                      <a:gd name="T44" fmla="*/ 2147483647 w 524"/>
                      <a:gd name="T45" fmla="*/ 2147483647 h 691"/>
                      <a:gd name="T46" fmla="*/ 2147483647 w 524"/>
                      <a:gd name="T47" fmla="*/ 2147483647 h 691"/>
                      <a:gd name="T48" fmla="*/ 2147483647 w 524"/>
                      <a:gd name="T49" fmla="*/ 2147483647 h 691"/>
                      <a:gd name="T50" fmla="*/ 2147483647 w 524"/>
                      <a:gd name="T51" fmla="*/ 2147483647 h 691"/>
                      <a:gd name="T52" fmla="*/ 2147483647 w 524"/>
                      <a:gd name="T53" fmla="*/ 2147483647 h 691"/>
                      <a:gd name="T54" fmla="*/ 2147483647 w 524"/>
                      <a:gd name="T55" fmla="*/ 2147483647 h 691"/>
                      <a:gd name="T56" fmla="*/ 2147483647 w 524"/>
                      <a:gd name="T57" fmla="*/ 2147483647 h 691"/>
                      <a:gd name="T58" fmla="*/ 2147483647 w 524"/>
                      <a:gd name="T59" fmla="*/ 2147483647 h 691"/>
                      <a:gd name="T60" fmla="*/ 2147483647 w 524"/>
                      <a:gd name="T61" fmla="*/ 2147483647 h 691"/>
                      <a:gd name="T62" fmla="*/ 2147483647 w 524"/>
                      <a:gd name="T63" fmla="*/ 2147483647 h 691"/>
                      <a:gd name="T64" fmla="*/ 2147483647 w 524"/>
                      <a:gd name="T65" fmla="*/ 2147483647 h 691"/>
                      <a:gd name="T66" fmla="*/ 2147483647 w 524"/>
                      <a:gd name="T67" fmla="*/ 2147483647 h 691"/>
                      <a:gd name="T68" fmla="*/ 2147483647 w 524"/>
                      <a:gd name="T69" fmla="*/ 2147483647 h 691"/>
                      <a:gd name="T70" fmla="*/ 2147483647 w 524"/>
                      <a:gd name="T71" fmla="*/ 2147483647 h 691"/>
                      <a:gd name="T72" fmla="*/ 2147483647 w 524"/>
                      <a:gd name="T73" fmla="*/ 2147483647 h 691"/>
                      <a:gd name="T74" fmla="*/ 2147483647 w 524"/>
                      <a:gd name="T75" fmla="*/ 2147483647 h 691"/>
                      <a:gd name="T76" fmla="*/ 2147483647 w 524"/>
                      <a:gd name="T77" fmla="*/ 2147483647 h 691"/>
                      <a:gd name="T78" fmla="*/ 2147483647 w 524"/>
                      <a:gd name="T79" fmla="*/ 2147483647 h 691"/>
                      <a:gd name="T80" fmla="*/ 2147483647 w 524"/>
                      <a:gd name="T81" fmla="*/ 2147483647 h 691"/>
                      <a:gd name="T82" fmla="*/ 2147483647 w 524"/>
                      <a:gd name="T83" fmla="*/ 2147483647 h 691"/>
                      <a:gd name="T84" fmla="*/ 2147483647 w 524"/>
                      <a:gd name="T85" fmla="*/ 0 h 69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24"/>
                      <a:gd name="T130" fmla="*/ 0 h 691"/>
                      <a:gd name="T131" fmla="*/ 524 w 524"/>
                      <a:gd name="T132" fmla="*/ 691 h 69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24" h="691">
                        <a:moveTo>
                          <a:pt x="162" y="0"/>
                        </a:moveTo>
                        <a:lnTo>
                          <a:pt x="162" y="74"/>
                        </a:lnTo>
                        <a:lnTo>
                          <a:pt x="139" y="162"/>
                        </a:lnTo>
                        <a:lnTo>
                          <a:pt x="114" y="235"/>
                        </a:lnTo>
                        <a:lnTo>
                          <a:pt x="74" y="276"/>
                        </a:lnTo>
                        <a:lnTo>
                          <a:pt x="25" y="301"/>
                        </a:lnTo>
                        <a:lnTo>
                          <a:pt x="0" y="325"/>
                        </a:lnTo>
                        <a:lnTo>
                          <a:pt x="49" y="325"/>
                        </a:lnTo>
                        <a:lnTo>
                          <a:pt x="74" y="350"/>
                        </a:lnTo>
                        <a:lnTo>
                          <a:pt x="74" y="374"/>
                        </a:lnTo>
                        <a:lnTo>
                          <a:pt x="49" y="415"/>
                        </a:lnTo>
                        <a:lnTo>
                          <a:pt x="74" y="487"/>
                        </a:lnTo>
                        <a:lnTo>
                          <a:pt x="114" y="511"/>
                        </a:lnTo>
                        <a:lnTo>
                          <a:pt x="139" y="487"/>
                        </a:lnTo>
                        <a:lnTo>
                          <a:pt x="162" y="511"/>
                        </a:lnTo>
                        <a:lnTo>
                          <a:pt x="162" y="527"/>
                        </a:lnTo>
                        <a:lnTo>
                          <a:pt x="139" y="552"/>
                        </a:lnTo>
                        <a:lnTo>
                          <a:pt x="114" y="601"/>
                        </a:lnTo>
                        <a:lnTo>
                          <a:pt x="139" y="650"/>
                        </a:lnTo>
                        <a:lnTo>
                          <a:pt x="186" y="691"/>
                        </a:lnTo>
                        <a:lnTo>
                          <a:pt x="211" y="691"/>
                        </a:lnTo>
                        <a:lnTo>
                          <a:pt x="186" y="601"/>
                        </a:lnTo>
                        <a:lnTo>
                          <a:pt x="211" y="511"/>
                        </a:lnTo>
                        <a:lnTo>
                          <a:pt x="251" y="462"/>
                        </a:lnTo>
                        <a:lnTo>
                          <a:pt x="301" y="440"/>
                        </a:lnTo>
                        <a:lnTo>
                          <a:pt x="366" y="415"/>
                        </a:lnTo>
                        <a:lnTo>
                          <a:pt x="391" y="390"/>
                        </a:lnTo>
                        <a:lnTo>
                          <a:pt x="391" y="350"/>
                        </a:lnTo>
                        <a:lnTo>
                          <a:pt x="415" y="276"/>
                        </a:lnTo>
                        <a:lnTo>
                          <a:pt x="415" y="235"/>
                        </a:lnTo>
                        <a:lnTo>
                          <a:pt x="440" y="186"/>
                        </a:lnTo>
                        <a:lnTo>
                          <a:pt x="464" y="162"/>
                        </a:lnTo>
                        <a:lnTo>
                          <a:pt x="489" y="162"/>
                        </a:lnTo>
                        <a:lnTo>
                          <a:pt x="524" y="136"/>
                        </a:lnTo>
                        <a:lnTo>
                          <a:pt x="489" y="137"/>
                        </a:lnTo>
                        <a:lnTo>
                          <a:pt x="440" y="112"/>
                        </a:lnTo>
                        <a:lnTo>
                          <a:pt x="366" y="96"/>
                        </a:lnTo>
                        <a:lnTo>
                          <a:pt x="325" y="74"/>
                        </a:lnTo>
                        <a:lnTo>
                          <a:pt x="301" y="112"/>
                        </a:lnTo>
                        <a:lnTo>
                          <a:pt x="301" y="74"/>
                        </a:lnTo>
                        <a:lnTo>
                          <a:pt x="251" y="49"/>
                        </a:lnTo>
                        <a:lnTo>
                          <a:pt x="227" y="25"/>
                        </a:lnTo>
                        <a:lnTo>
                          <a:pt x="162" y="0"/>
                        </a:lnTo>
                        <a:close/>
                      </a:path>
                    </a:pathLst>
                  </a:custGeom>
                  <a:noFill/>
                  <a:ln w="9360">
                    <a:solidFill>
                      <a:srgbClr val="969696"/>
                    </a:solidFill>
                    <a:round/>
                    <a:headEnd/>
                    <a:tailEnd/>
                  </a:ln>
                </p:spPr>
                <p:txBody>
                  <a:bodyPr wrap="none" anchor="ctr"/>
                  <a:lstStyle/>
                  <a:p>
                    <a:pPr algn="ctr"/>
                    <a:endParaRPr lang="pt-BR" sz="700"/>
                  </a:p>
                </p:txBody>
              </p:sp>
              <p:sp>
                <p:nvSpPr>
                  <p:cNvPr id="361" name="Freeform 18"/>
                  <p:cNvSpPr>
                    <a:spLocks noChangeArrowheads="1"/>
                  </p:cNvSpPr>
                  <p:nvPr/>
                </p:nvSpPr>
                <p:spPr bwMode="auto">
                  <a:xfrm>
                    <a:off x="7356370" y="1722685"/>
                    <a:ext cx="350171" cy="614790"/>
                  </a:xfrm>
                  <a:custGeom>
                    <a:avLst/>
                    <a:gdLst>
                      <a:gd name="T0" fmla="*/ 2147483647 w 183"/>
                      <a:gd name="T1" fmla="*/ 0 h 314"/>
                      <a:gd name="T2" fmla="*/ 2147483647 w 183"/>
                      <a:gd name="T3" fmla="*/ 2147483647 h 314"/>
                      <a:gd name="T4" fmla="*/ 2147483647 w 183"/>
                      <a:gd name="T5" fmla="*/ 2147483647 h 314"/>
                      <a:gd name="T6" fmla="*/ 2147483647 w 183"/>
                      <a:gd name="T7" fmla="*/ 2147483647 h 314"/>
                      <a:gd name="T8" fmla="*/ 2147483647 w 183"/>
                      <a:gd name="T9" fmla="*/ 2147483647 h 314"/>
                      <a:gd name="T10" fmla="*/ 2147483647 w 183"/>
                      <a:gd name="T11" fmla="*/ 2147483647 h 314"/>
                      <a:gd name="T12" fmla="*/ 2147483647 w 183"/>
                      <a:gd name="T13" fmla="*/ 2147483647 h 314"/>
                      <a:gd name="T14" fmla="*/ 2147483647 w 183"/>
                      <a:gd name="T15" fmla="*/ 2147483647 h 314"/>
                      <a:gd name="T16" fmla="*/ 0 w 183"/>
                      <a:gd name="T17" fmla="*/ 2147483647 h 314"/>
                      <a:gd name="T18" fmla="*/ 0 w 183"/>
                      <a:gd name="T19" fmla="*/ 2147483647 h 314"/>
                      <a:gd name="T20" fmla="*/ 2147483647 w 183"/>
                      <a:gd name="T21" fmla="*/ 2147483647 h 314"/>
                      <a:gd name="T22" fmla="*/ 0 w 183"/>
                      <a:gd name="T23" fmla="*/ 2147483647 h 314"/>
                      <a:gd name="T24" fmla="*/ 2147483647 w 183"/>
                      <a:gd name="T25" fmla="*/ 2147483647 h 314"/>
                      <a:gd name="T26" fmla="*/ 2147483647 w 183"/>
                      <a:gd name="T27" fmla="*/ 2147483647 h 314"/>
                      <a:gd name="T28" fmla="*/ 2147483647 w 183"/>
                      <a:gd name="T29" fmla="*/ 2147483647 h 314"/>
                      <a:gd name="T30" fmla="*/ 2147483647 w 183"/>
                      <a:gd name="T31" fmla="*/ 2147483647 h 314"/>
                      <a:gd name="T32" fmla="*/ 2147483647 w 183"/>
                      <a:gd name="T33" fmla="*/ 2147483647 h 314"/>
                      <a:gd name="T34" fmla="*/ 2147483647 w 183"/>
                      <a:gd name="T35" fmla="*/ 2147483647 h 314"/>
                      <a:gd name="T36" fmla="*/ 2147483647 w 183"/>
                      <a:gd name="T37" fmla="*/ 2147483647 h 314"/>
                      <a:gd name="T38" fmla="*/ 2147483647 w 183"/>
                      <a:gd name="T39" fmla="*/ 2147483647 h 314"/>
                      <a:gd name="T40" fmla="*/ 2147483647 w 183"/>
                      <a:gd name="T41" fmla="*/ 2147483647 h 314"/>
                      <a:gd name="T42" fmla="*/ 2147483647 w 183"/>
                      <a:gd name="T43" fmla="*/ 2147483647 h 314"/>
                      <a:gd name="T44" fmla="*/ 2147483647 w 183"/>
                      <a:gd name="T45" fmla="*/ 2147483647 h 314"/>
                      <a:gd name="T46" fmla="*/ 2147483647 w 183"/>
                      <a:gd name="T47" fmla="*/ 2147483647 h 314"/>
                      <a:gd name="T48" fmla="*/ 2147483647 w 183"/>
                      <a:gd name="T49" fmla="*/ 2147483647 h 314"/>
                      <a:gd name="T50" fmla="*/ 2147483647 w 183"/>
                      <a:gd name="T51" fmla="*/ 2147483647 h 314"/>
                      <a:gd name="T52" fmla="*/ 2147483647 w 183"/>
                      <a:gd name="T53" fmla="*/ 2147483647 h 314"/>
                      <a:gd name="T54" fmla="*/ 2147483647 w 183"/>
                      <a:gd name="T55" fmla="*/ 2147483647 h 314"/>
                      <a:gd name="T56" fmla="*/ 2147483647 w 183"/>
                      <a:gd name="T57" fmla="*/ 2147483647 h 314"/>
                      <a:gd name="T58" fmla="*/ 2147483647 w 183"/>
                      <a:gd name="T59" fmla="*/ 2147483647 h 314"/>
                      <a:gd name="T60" fmla="*/ 2147483647 w 183"/>
                      <a:gd name="T61" fmla="*/ 2147483647 h 314"/>
                      <a:gd name="T62" fmla="*/ 2147483647 w 183"/>
                      <a:gd name="T63" fmla="*/ 2147483647 h 314"/>
                      <a:gd name="T64" fmla="*/ 2147483647 w 183"/>
                      <a:gd name="T65" fmla="*/ 2147483647 h 314"/>
                      <a:gd name="T66" fmla="*/ 2147483647 w 183"/>
                      <a:gd name="T67" fmla="*/ 2147483647 h 314"/>
                      <a:gd name="T68" fmla="*/ 2147483647 w 183"/>
                      <a:gd name="T69" fmla="*/ 2147483647 h 314"/>
                      <a:gd name="T70" fmla="*/ 2147483647 w 183"/>
                      <a:gd name="T71" fmla="*/ 2147483647 h 314"/>
                      <a:gd name="T72" fmla="*/ 2147483647 w 183"/>
                      <a:gd name="T73" fmla="*/ 2147483647 h 314"/>
                      <a:gd name="T74" fmla="*/ 2147483647 w 183"/>
                      <a:gd name="T75" fmla="*/ 0 h 314"/>
                      <a:gd name="T76" fmla="*/ 2147483647 w 183"/>
                      <a:gd name="T77" fmla="*/ 0 h 31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83"/>
                      <a:gd name="T118" fmla="*/ 0 h 314"/>
                      <a:gd name="T119" fmla="*/ 183 w 183"/>
                      <a:gd name="T120" fmla="*/ 314 h 31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83" h="314">
                        <a:moveTo>
                          <a:pt x="80" y="0"/>
                        </a:moveTo>
                        <a:lnTo>
                          <a:pt x="92" y="12"/>
                        </a:lnTo>
                        <a:lnTo>
                          <a:pt x="92" y="24"/>
                        </a:lnTo>
                        <a:lnTo>
                          <a:pt x="56" y="56"/>
                        </a:lnTo>
                        <a:lnTo>
                          <a:pt x="48" y="79"/>
                        </a:lnTo>
                        <a:lnTo>
                          <a:pt x="48" y="111"/>
                        </a:lnTo>
                        <a:lnTo>
                          <a:pt x="36" y="135"/>
                        </a:lnTo>
                        <a:lnTo>
                          <a:pt x="12" y="167"/>
                        </a:lnTo>
                        <a:lnTo>
                          <a:pt x="0" y="203"/>
                        </a:lnTo>
                        <a:lnTo>
                          <a:pt x="0" y="235"/>
                        </a:lnTo>
                        <a:lnTo>
                          <a:pt x="12" y="270"/>
                        </a:lnTo>
                        <a:lnTo>
                          <a:pt x="0" y="302"/>
                        </a:lnTo>
                        <a:lnTo>
                          <a:pt x="12" y="302"/>
                        </a:lnTo>
                        <a:lnTo>
                          <a:pt x="36" y="294"/>
                        </a:lnTo>
                        <a:lnTo>
                          <a:pt x="56" y="294"/>
                        </a:lnTo>
                        <a:lnTo>
                          <a:pt x="68" y="302"/>
                        </a:lnTo>
                        <a:lnTo>
                          <a:pt x="92" y="314"/>
                        </a:lnTo>
                        <a:lnTo>
                          <a:pt x="104" y="302"/>
                        </a:lnTo>
                        <a:lnTo>
                          <a:pt x="124" y="294"/>
                        </a:lnTo>
                        <a:lnTo>
                          <a:pt x="171" y="302"/>
                        </a:lnTo>
                        <a:lnTo>
                          <a:pt x="171" y="258"/>
                        </a:lnTo>
                        <a:lnTo>
                          <a:pt x="159" y="227"/>
                        </a:lnTo>
                        <a:lnTo>
                          <a:pt x="171" y="203"/>
                        </a:lnTo>
                        <a:lnTo>
                          <a:pt x="183" y="191"/>
                        </a:lnTo>
                        <a:lnTo>
                          <a:pt x="183" y="179"/>
                        </a:lnTo>
                        <a:lnTo>
                          <a:pt x="171" y="179"/>
                        </a:lnTo>
                        <a:lnTo>
                          <a:pt x="148" y="159"/>
                        </a:lnTo>
                        <a:lnTo>
                          <a:pt x="136" y="135"/>
                        </a:lnTo>
                        <a:lnTo>
                          <a:pt x="148" y="111"/>
                        </a:lnTo>
                        <a:lnTo>
                          <a:pt x="159" y="99"/>
                        </a:lnTo>
                        <a:lnTo>
                          <a:pt x="159" y="91"/>
                        </a:lnTo>
                        <a:lnTo>
                          <a:pt x="148" y="79"/>
                        </a:lnTo>
                        <a:lnTo>
                          <a:pt x="136" y="91"/>
                        </a:lnTo>
                        <a:lnTo>
                          <a:pt x="116" y="79"/>
                        </a:lnTo>
                        <a:lnTo>
                          <a:pt x="104" y="44"/>
                        </a:lnTo>
                        <a:lnTo>
                          <a:pt x="116" y="24"/>
                        </a:lnTo>
                        <a:lnTo>
                          <a:pt x="116" y="12"/>
                        </a:lnTo>
                        <a:lnTo>
                          <a:pt x="104" y="0"/>
                        </a:lnTo>
                        <a:lnTo>
                          <a:pt x="80" y="0"/>
                        </a:lnTo>
                        <a:close/>
                      </a:path>
                    </a:pathLst>
                  </a:custGeom>
                  <a:solidFill>
                    <a:srgbClr val="00B050">
                      <a:alpha val="53000"/>
                    </a:srgbClr>
                  </a:solidFill>
                  <a:ln w="9360">
                    <a:solidFill>
                      <a:srgbClr val="969696"/>
                    </a:solidFill>
                    <a:round/>
                    <a:headEnd/>
                    <a:tailEnd/>
                  </a:ln>
                </p:spPr>
                <p:txBody>
                  <a:bodyPr wrap="none" anchor="ctr"/>
                  <a:lstStyle/>
                  <a:p>
                    <a:pPr algn="ctr"/>
                    <a:endParaRPr lang="pt-BR" sz="700"/>
                  </a:p>
                </p:txBody>
              </p:sp>
              <p:sp>
                <p:nvSpPr>
                  <p:cNvPr id="362" name="Freeform 20"/>
                  <p:cNvSpPr>
                    <a:spLocks noChangeArrowheads="1"/>
                  </p:cNvSpPr>
                  <p:nvPr/>
                </p:nvSpPr>
                <p:spPr bwMode="auto">
                  <a:xfrm>
                    <a:off x="6946331" y="2585733"/>
                    <a:ext cx="433760" cy="483634"/>
                  </a:xfrm>
                  <a:custGeom>
                    <a:avLst/>
                    <a:gdLst>
                      <a:gd name="T0" fmla="*/ 2147483647 w 226"/>
                      <a:gd name="T1" fmla="*/ 2147483647 h 247"/>
                      <a:gd name="T2" fmla="*/ 2147483647 w 226"/>
                      <a:gd name="T3" fmla="*/ 2147483647 h 247"/>
                      <a:gd name="T4" fmla="*/ 2147483647 w 226"/>
                      <a:gd name="T5" fmla="*/ 0 h 247"/>
                      <a:gd name="T6" fmla="*/ 2147483647 w 226"/>
                      <a:gd name="T7" fmla="*/ 0 h 247"/>
                      <a:gd name="T8" fmla="*/ 2147483647 w 226"/>
                      <a:gd name="T9" fmla="*/ 2147483647 h 247"/>
                      <a:gd name="T10" fmla="*/ 2147483647 w 226"/>
                      <a:gd name="T11" fmla="*/ 2147483647 h 247"/>
                      <a:gd name="T12" fmla="*/ 2147483647 w 226"/>
                      <a:gd name="T13" fmla="*/ 2147483647 h 247"/>
                      <a:gd name="T14" fmla="*/ 2147483647 w 226"/>
                      <a:gd name="T15" fmla="*/ 2147483647 h 247"/>
                      <a:gd name="T16" fmla="*/ 0 w 226"/>
                      <a:gd name="T17" fmla="*/ 2147483647 h 247"/>
                      <a:gd name="T18" fmla="*/ 0 w 226"/>
                      <a:gd name="T19" fmla="*/ 2147483647 h 247"/>
                      <a:gd name="T20" fmla="*/ 2147483647 w 226"/>
                      <a:gd name="T21" fmla="*/ 2147483647 h 247"/>
                      <a:gd name="T22" fmla="*/ 2147483647 w 226"/>
                      <a:gd name="T23" fmla="*/ 2147483647 h 247"/>
                      <a:gd name="T24" fmla="*/ 0 w 226"/>
                      <a:gd name="T25" fmla="*/ 2147483647 h 247"/>
                      <a:gd name="T26" fmla="*/ 0 w 226"/>
                      <a:gd name="T27" fmla="*/ 2147483647 h 247"/>
                      <a:gd name="T28" fmla="*/ 2147483647 w 226"/>
                      <a:gd name="T29" fmla="*/ 2147483647 h 247"/>
                      <a:gd name="T30" fmla="*/ 2147483647 w 226"/>
                      <a:gd name="T31" fmla="*/ 2147483647 h 247"/>
                      <a:gd name="T32" fmla="*/ 2147483647 w 226"/>
                      <a:gd name="T33" fmla="*/ 2147483647 h 247"/>
                      <a:gd name="T34" fmla="*/ 2147483647 w 226"/>
                      <a:gd name="T35" fmla="*/ 2147483647 h 247"/>
                      <a:gd name="T36" fmla="*/ 2147483647 w 226"/>
                      <a:gd name="T37" fmla="*/ 2147483647 h 247"/>
                      <a:gd name="T38" fmla="*/ 2147483647 w 226"/>
                      <a:gd name="T39" fmla="*/ 2147483647 h 247"/>
                      <a:gd name="T40" fmla="*/ 2147483647 w 226"/>
                      <a:gd name="T41" fmla="*/ 2147483647 h 247"/>
                      <a:gd name="T42" fmla="*/ 2147483647 w 226"/>
                      <a:gd name="T43" fmla="*/ 2147483647 h 247"/>
                      <a:gd name="T44" fmla="*/ 2147483647 w 226"/>
                      <a:gd name="T45" fmla="*/ 2147483647 h 247"/>
                      <a:gd name="T46" fmla="*/ 2147483647 w 226"/>
                      <a:gd name="T47" fmla="*/ 2147483647 h 247"/>
                      <a:gd name="T48" fmla="*/ 2147483647 w 226"/>
                      <a:gd name="T49" fmla="*/ 2147483647 h 247"/>
                      <a:gd name="T50" fmla="*/ 2147483647 w 226"/>
                      <a:gd name="T51" fmla="*/ 2147483647 h 247"/>
                      <a:gd name="T52" fmla="*/ 2147483647 w 226"/>
                      <a:gd name="T53" fmla="*/ 2147483647 h 247"/>
                      <a:gd name="T54" fmla="*/ 2147483647 w 226"/>
                      <a:gd name="T55" fmla="*/ 2147483647 h 247"/>
                      <a:gd name="T56" fmla="*/ 2147483647 w 226"/>
                      <a:gd name="T57" fmla="*/ 2147483647 h 247"/>
                      <a:gd name="T58" fmla="*/ 2147483647 w 226"/>
                      <a:gd name="T59" fmla="*/ 2147483647 h 247"/>
                      <a:gd name="T60" fmla="*/ 2147483647 w 226"/>
                      <a:gd name="T61" fmla="*/ 2147483647 h 24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26"/>
                      <a:gd name="T94" fmla="*/ 0 h 247"/>
                      <a:gd name="T95" fmla="*/ 226 w 226"/>
                      <a:gd name="T96" fmla="*/ 247 h 247"/>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26" h="247">
                        <a:moveTo>
                          <a:pt x="135" y="8"/>
                        </a:moveTo>
                        <a:lnTo>
                          <a:pt x="127" y="8"/>
                        </a:lnTo>
                        <a:lnTo>
                          <a:pt x="115" y="0"/>
                        </a:lnTo>
                        <a:lnTo>
                          <a:pt x="103" y="0"/>
                        </a:lnTo>
                        <a:lnTo>
                          <a:pt x="91" y="8"/>
                        </a:lnTo>
                        <a:lnTo>
                          <a:pt x="67" y="20"/>
                        </a:lnTo>
                        <a:lnTo>
                          <a:pt x="35" y="8"/>
                        </a:lnTo>
                        <a:lnTo>
                          <a:pt x="12" y="8"/>
                        </a:lnTo>
                        <a:lnTo>
                          <a:pt x="0" y="20"/>
                        </a:lnTo>
                        <a:lnTo>
                          <a:pt x="0" y="56"/>
                        </a:lnTo>
                        <a:lnTo>
                          <a:pt x="12" y="68"/>
                        </a:lnTo>
                        <a:lnTo>
                          <a:pt x="12" y="88"/>
                        </a:lnTo>
                        <a:lnTo>
                          <a:pt x="0" y="112"/>
                        </a:lnTo>
                        <a:lnTo>
                          <a:pt x="0" y="179"/>
                        </a:lnTo>
                        <a:lnTo>
                          <a:pt x="12" y="191"/>
                        </a:lnTo>
                        <a:lnTo>
                          <a:pt x="59" y="191"/>
                        </a:lnTo>
                        <a:lnTo>
                          <a:pt x="67" y="203"/>
                        </a:lnTo>
                        <a:lnTo>
                          <a:pt x="79" y="235"/>
                        </a:lnTo>
                        <a:lnTo>
                          <a:pt x="91" y="247"/>
                        </a:lnTo>
                        <a:lnTo>
                          <a:pt x="115" y="247"/>
                        </a:lnTo>
                        <a:lnTo>
                          <a:pt x="115" y="235"/>
                        </a:lnTo>
                        <a:lnTo>
                          <a:pt x="135" y="203"/>
                        </a:lnTo>
                        <a:lnTo>
                          <a:pt x="147" y="191"/>
                        </a:lnTo>
                        <a:lnTo>
                          <a:pt x="183" y="156"/>
                        </a:lnTo>
                        <a:lnTo>
                          <a:pt x="202" y="124"/>
                        </a:lnTo>
                        <a:lnTo>
                          <a:pt x="226" y="88"/>
                        </a:lnTo>
                        <a:lnTo>
                          <a:pt x="226" y="68"/>
                        </a:lnTo>
                        <a:lnTo>
                          <a:pt x="202" y="68"/>
                        </a:lnTo>
                        <a:lnTo>
                          <a:pt x="159" y="32"/>
                        </a:lnTo>
                        <a:lnTo>
                          <a:pt x="135" y="20"/>
                        </a:lnTo>
                        <a:lnTo>
                          <a:pt x="135" y="8"/>
                        </a:lnTo>
                        <a:close/>
                      </a:path>
                    </a:pathLst>
                  </a:custGeom>
                  <a:solidFill>
                    <a:srgbClr val="00B050">
                      <a:alpha val="53000"/>
                    </a:srgbClr>
                  </a:solidFill>
                  <a:ln w="9360">
                    <a:solidFill>
                      <a:srgbClr val="969696"/>
                    </a:solidFill>
                    <a:round/>
                    <a:headEnd/>
                    <a:tailEnd/>
                  </a:ln>
                </p:spPr>
                <p:txBody>
                  <a:bodyPr wrap="none" anchor="ctr"/>
                  <a:lstStyle/>
                  <a:p>
                    <a:pPr algn="ctr"/>
                    <a:endParaRPr lang="pt-BR" sz="700"/>
                  </a:p>
                </p:txBody>
              </p:sp>
              <p:sp>
                <p:nvSpPr>
                  <p:cNvPr id="363" name="Freeform 21"/>
                  <p:cNvSpPr>
                    <a:spLocks noChangeArrowheads="1"/>
                  </p:cNvSpPr>
                  <p:nvPr/>
                </p:nvSpPr>
                <p:spPr bwMode="auto">
                  <a:xfrm>
                    <a:off x="6646993" y="1877260"/>
                    <a:ext cx="734229" cy="771708"/>
                  </a:xfrm>
                  <a:custGeom>
                    <a:avLst/>
                    <a:gdLst>
                      <a:gd name="T0" fmla="*/ 2147483647 w 382"/>
                      <a:gd name="T1" fmla="*/ 2147483647 h 394"/>
                      <a:gd name="T2" fmla="*/ 2147483647 w 382"/>
                      <a:gd name="T3" fmla="*/ 2147483647 h 394"/>
                      <a:gd name="T4" fmla="*/ 2147483647 w 382"/>
                      <a:gd name="T5" fmla="*/ 2147483647 h 394"/>
                      <a:gd name="T6" fmla="*/ 2147483647 w 382"/>
                      <a:gd name="T7" fmla="*/ 2147483647 h 394"/>
                      <a:gd name="T8" fmla="*/ 2147483647 w 382"/>
                      <a:gd name="T9" fmla="*/ 2147483647 h 394"/>
                      <a:gd name="T10" fmla="*/ 2147483647 w 382"/>
                      <a:gd name="T11" fmla="*/ 0 h 394"/>
                      <a:gd name="T12" fmla="*/ 2147483647 w 382"/>
                      <a:gd name="T13" fmla="*/ 2147483647 h 394"/>
                      <a:gd name="T14" fmla="*/ 2147483647 w 382"/>
                      <a:gd name="T15" fmla="*/ 2147483647 h 394"/>
                      <a:gd name="T16" fmla="*/ 2147483647 w 382"/>
                      <a:gd name="T17" fmla="*/ 2147483647 h 394"/>
                      <a:gd name="T18" fmla="*/ 2147483647 w 382"/>
                      <a:gd name="T19" fmla="*/ 2147483647 h 394"/>
                      <a:gd name="T20" fmla="*/ 0 w 382"/>
                      <a:gd name="T21" fmla="*/ 2147483647 h 394"/>
                      <a:gd name="T22" fmla="*/ 0 w 382"/>
                      <a:gd name="T23" fmla="*/ 2147483647 h 394"/>
                      <a:gd name="T24" fmla="*/ 2147483647 w 382"/>
                      <a:gd name="T25" fmla="*/ 2147483647 h 394"/>
                      <a:gd name="T26" fmla="*/ 2147483647 w 382"/>
                      <a:gd name="T27" fmla="*/ 2147483647 h 394"/>
                      <a:gd name="T28" fmla="*/ 2147483647 w 382"/>
                      <a:gd name="T29" fmla="*/ 2147483647 h 394"/>
                      <a:gd name="T30" fmla="*/ 2147483647 w 382"/>
                      <a:gd name="T31" fmla="*/ 2147483647 h 394"/>
                      <a:gd name="T32" fmla="*/ 2147483647 w 382"/>
                      <a:gd name="T33" fmla="*/ 2147483647 h 394"/>
                      <a:gd name="T34" fmla="*/ 2147483647 w 382"/>
                      <a:gd name="T35" fmla="*/ 2147483647 h 394"/>
                      <a:gd name="T36" fmla="*/ 2147483647 w 382"/>
                      <a:gd name="T37" fmla="*/ 2147483647 h 394"/>
                      <a:gd name="T38" fmla="*/ 2147483647 w 382"/>
                      <a:gd name="T39" fmla="*/ 2147483647 h 394"/>
                      <a:gd name="T40" fmla="*/ 2147483647 w 382"/>
                      <a:gd name="T41" fmla="*/ 2147483647 h 394"/>
                      <a:gd name="T42" fmla="*/ 2147483647 w 382"/>
                      <a:gd name="T43" fmla="*/ 2147483647 h 394"/>
                      <a:gd name="T44" fmla="*/ 2147483647 w 382"/>
                      <a:gd name="T45" fmla="*/ 2147483647 h 394"/>
                      <a:gd name="T46" fmla="*/ 2147483647 w 382"/>
                      <a:gd name="T47" fmla="*/ 2147483647 h 394"/>
                      <a:gd name="T48" fmla="*/ 2147483647 w 382"/>
                      <a:gd name="T49" fmla="*/ 2147483647 h 394"/>
                      <a:gd name="T50" fmla="*/ 2147483647 w 382"/>
                      <a:gd name="T51" fmla="*/ 2147483647 h 394"/>
                      <a:gd name="T52" fmla="*/ 2147483647 w 382"/>
                      <a:gd name="T53" fmla="*/ 2147483647 h 394"/>
                      <a:gd name="T54" fmla="*/ 2147483647 w 382"/>
                      <a:gd name="T55" fmla="*/ 2147483647 h 394"/>
                      <a:gd name="T56" fmla="*/ 2147483647 w 382"/>
                      <a:gd name="T57" fmla="*/ 2147483647 h 394"/>
                      <a:gd name="T58" fmla="*/ 2147483647 w 382"/>
                      <a:gd name="T59" fmla="*/ 2147483647 h 394"/>
                      <a:gd name="T60" fmla="*/ 2147483647 w 382"/>
                      <a:gd name="T61" fmla="*/ 2147483647 h 394"/>
                      <a:gd name="T62" fmla="*/ 2147483647 w 382"/>
                      <a:gd name="T63" fmla="*/ 2147483647 h 394"/>
                      <a:gd name="T64" fmla="*/ 2147483647 w 382"/>
                      <a:gd name="T65" fmla="*/ 2147483647 h 394"/>
                      <a:gd name="T66" fmla="*/ 2147483647 w 382"/>
                      <a:gd name="T67" fmla="*/ 2147483647 h 394"/>
                      <a:gd name="T68" fmla="*/ 2147483647 w 382"/>
                      <a:gd name="T69" fmla="*/ 2147483647 h 394"/>
                      <a:gd name="T70" fmla="*/ 2147483647 w 382"/>
                      <a:gd name="T71" fmla="*/ 2147483647 h 394"/>
                      <a:gd name="T72" fmla="*/ 2147483647 w 382"/>
                      <a:gd name="T73" fmla="*/ 2147483647 h 394"/>
                      <a:gd name="T74" fmla="*/ 2147483647 w 382"/>
                      <a:gd name="T75" fmla="*/ 2147483647 h 394"/>
                      <a:gd name="T76" fmla="*/ 2147483647 w 382"/>
                      <a:gd name="T77" fmla="*/ 2147483647 h 394"/>
                      <a:gd name="T78" fmla="*/ 2147483647 w 382"/>
                      <a:gd name="T79" fmla="*/ 2147483647 h 394"/>
                      <a:gd name="T80" fmla="*/ 2147483647 w 382"/>
                      <a:gd name="T81" fmla="*/ 2147483647 h 394"/>
                      <a:gd name="T82" fmla="*/ 2147483647 w 382"/>
                      <a:gd name="T83" fmla="*/ 2147483647 h 394"/>
                      <a:gd name="T84" fmla="*/ 2147483647 w 382"/>
                      <a:gd name="T85" fmla="*/ 2147483647 h 394"/>
                      <a:gd name="T86" fmla="*/ 2147483647 w 382"/>
                      <a:gd name="T87" fmla="*/ 2147483647 h 39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82"/>
                      <a:gd name="T133" fmla="*/ 0 h 394"/>
                      <a:gd name="T134" fmla="*/ 382 w 382"/>
                      <a:gd name="T135" fmla="*/ 394 h 39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82" h="394">
                        <a:moveTo>
                          <a:pt x="382" y="88"/>
                        </a:moveTo>
                        <a:lnTo>
                          <a:pt x="179" y="80"/>
                        </a:lnTo>
                        <a:lnTo>
                          <a:pt x="156" y="68"/>
                        </a:lnTo>
                        <a:lnTo>
                          <a:pt x="148" y="56"/>
                        </a:lnTo>
                        <a:lnTo>
                          <a:pt x="136" y="32"/>
                        </a:lnTo>
                        <a:lnTo>
                          <a:pt x="112" y="0"/>
                        </a:lnTo>
                        <a:lnTo>
                          <a:pt x="112" y="20"/>
                        </a:lnTo>
                        <a:lnTo>
                          <a:pt x="100" y="44"/>
                        </a:lnTo>
                        <a:lnTo>
                          <a:pt x="100" y="68"/>
                        </a:lnTo>
                        <a:lnTo>
                          <a:pt x="8" y="68"/>
                        </a:lnTo>
                        <a:lnTo>
                          <a:pt x="0" y="88"/>
                        </a:lnTo>
                        <a:lnTo>
                          <a:pt x="0" y="148"/>
                        </a:lnTo>
                        <a:lnTo>
                          <a:pt x="56" y="156"/>
                        </a:lnTo>
                        <a:lnTo>
                          <a:pt x="56" y="203"/>
                        </a:lnTo>
                        <a:lnTo>
                          <a:pt x="32" y="247"/>
                        </a:lnTo>
                        <a:lnTo>
                          <a:pt x="44" y="283"/>
                        </a:lnTo>
                        <a:lnTo>
                          <a:pt x="32" y="295"/>
                        </a:lnTo>
                        <a:lnTo>
                          <a:pt x="44" y="315"/>
                        </a:lnTo>
                        <a:lnTo>
                          <a:pt x="44" y="339"/>
                        </a:lnTo>
                        <a:lnTo>
                          <a:pt x="100" y="350"/>
                        </a:lnTo>
                        <a:lnTo>
                          <a:pt x="124" y="350"/>
                        </a:lnTo>
                        <a:lnTo>
                          <a:pt x="124" y="362"/>
                        </a:lnTo>
                        <a:lnTo>
                          <a:pt x="136" y="382"/>
                        </a:lnTo>
                        <a:lnTo>
                          <a:pt x="156" y="394"/>
                        </a:lnTo>
                        <a:lnTo>
                          <a:pt x="156" y="382"/>
                        </a:lnTo>
                        <a:lnTo>
                          <a:pt x="168" y="370"/>
                        </a:lnTo>
                        <a:lnTo>
                          <a:pt x="191" y="370"/>
                        </a:lnTo>
                        <a:lnTo>
                          <a:pt x="223" y="382"/>
                        </a:lnTo>
                        <a:lnTo>
                          <a:pt x="247" y="370"/>
                        </a:lnTo>
                        <a:lnTo>
                          <a:pt x="259" y="362"/>
                        </a:lnTo>
                        <a:lnTo>
                          <a:pt x="271" y="362"/>
                        </a:lnTo>
                        <a:lnTo>
                          <a:pt x="283" y="370"/>
                        </a:lnTo>
                        <a:lnTo>
                          <a:pt x="291" y="370"/>
                        </a:lnTo>
                        <a:lnTo>
                          <a:pt x="291" y="362"/>
                        </a:lnTo>
                        <a:lnTo>
                          <a:pt x="303" y="327"/>
                        </a:lnTo>
                        <a:lnTo>
                          <a:pt x="327" y="303"/>
                        </a:lnTo>
                        <a:lnTo>
                          <a:pt x="339" y="283"/>
                        </a:lnTo>
                        <a:lnTo>
                          <a:pt x="358" y="271"/>
                        </a:lnTo>
                        <a:lnTo>
                          <a:pt x="370" y="247"/>
                        </a:lnTo>
                        <a:lnTo>
                          <a:pt x="370" y="223"/>
                        </a:lnTo>
                        <a:lnTo>
                          <a:pt x="382" y="191"/>
                        </a:lnTo>
                        <a:lnTo>
                          <a:pt x="370" y="156"/>
                        </a:lnTo>
                        <a:lnTo>
                          <a:pt x="370" y="124"/>
                        </a:lnTo>
                        <a:lnTo>
                          <a:pt x="382" y="88"/>
                        </a:lnTo>
                        <a:close/>
                      </a:path>
                    </a:pathLst>
                  </a:custGeom>
                  <a:solidFill>
                    <a:srgbClr val="00B050">
                      <a:alpha val="53000"/>
                    </a:srgbClr>
                  </a:solidFill>
                  <a:ln w="9360">
                    <a:solidFill>
                      <a:srgbClr val="969696"/>
                    </a:solidFill>
                    <a:round/>
                    <a:headEnd/>
                    <a:tailEnd/>
                  </a:ln>
                </p:spPr>
                <p:txBody>
                  <a:bodyPr wrap="none" anchor="ctr"/>
                  <a:lstStyle/>
                  <a:p>
                    <a:pPr algn="ctr"/>
                    <a:endParaRPr lang="pt-BR" sz="700"/>
                  </a:p>
                </p:txBody>
              </p:sp>
              <p:sp>
                <p:nvSpPr>
                  <p:cNvPr id="364" name="Freeform 22"/>
                  <p:cNvSpPr>
                    <a:spLocks noChangeArrowheads="1"/>
                  </p:cNvSpPr>
                  <p:nvPr/>
                </p:nvSpPr>
                <p:spPr bwMode="auto">
                  <a:xfrm>
                    <a:off x="6274231" y="1941666"/>
                    <a:ext cx="478943" cy="418058"/>
                  </a:xfrm>
                  <a:custGeom>
                    <a:avLst/>
                    <a:gdLst>
                      <a:gd name="T0" fmla="*/ 2147483647 w 250"/>
                      <a:gd name="T1" fmla="*/ 2147483647 h 215"/>
                      <a:gd name="T2" fmla="*/ 2147483647 w 250"/>
                      <a:gd name="T3" fmla="*/ 2147483647 h 215"/>
                      <a:gd name="T4" fmla="*/ 2147483647 w 250"/>
                      <a:gd name="T5" fmla="*/ 2147483647 h 215"/>
                      <a:gd name="T6" fmla="*/ 2147483647 w 250"/>
                      <a:gd name="T7" fmla="*/ 2147483647 h 215"/>
                      <a:gd name="T8" fmla="*/ 2147483647 w 250"/>
                      <a:gd name="T9" fmla="*/ 2147483647 h 215"/>
                      <a:gd name="T10" fmla="*/ 2147483647 w 250"/>
                      <a:gd name="T11" fmla="*/ 2147483647 h 215"/>
                      <a:gd name="T12" fmla="*/ 2147483647 w 250"/>
                      <a:gd name="T13" fmla="*/ 2147483647 h 215"/>
                      <a:gd name="T14" fmla="*/ 2147483647 w 250"/>
                      <a:gd name="T15" fmla="*/ 0 h 215"/>
                      <a:gd name="T16" fmla="*/ 2147483647 w 250"/>
                      <a:gd name="T17" fmla="*/ 2147483647 h 215"/>
                      <a:gd name="T18" fmla="*/ 2147483647 w 250"/>
                      <a:gd name="T19" fmla="*/ 2147483647 h 215"/>
                      <a:gd name="T20" fmla="*/ 2147483647 w 250"/>
                      <a:gd name="T21" fmla="*/ 2147483647 h 215"/>
                      <a:gd name="T22" fmla="*/ 2147483647 w 250"/>
                      <a:gd name="T23" fmla="*/ 2147483647 h 215"/>
                      <a:gd name="T24" fmla="*/ 2147483647 w 250"/>
                      <a:gd name="T25" fmla="*/ 2147483647 h 215"/>
                      <a:gd name="T26" fmla="*/ 2147483647 w 250"/>
                      <a:gd name="T27" fmla="*/ 2147483647 h 215"/>
                      <a:gd name="T28" fmla="*/ 0 w 250"/>
                      <a:gd name="T29" fmla="*/ 2147483647 h 215"/>
                      <a:gd name="T30" fmla="*/ 2147483647 w 250"/>
                      <a:gd name="T31" fmla="*/ 2147483647 h 215"/>
                      <a:gd name="T32" fmla="*/ 2147483647 w 250"/>
                      <a:gd name="T33" fmla="*/ 2147483647 h 215"/>
                      <a:gd name="T34" fmla="*/ 2147483647 w 250"/>
                      <a:gd name="T35" fmla="*/ 2147483647 h 215"/>
                      <a:gd name="T36" fmla="*/ 2147483647 w 250"/>
                      <a:gd name="T37" fmla="*/ 2147483647 h 215"/>
                      <a:gd name="T38" fmla="*/ 2147483647 w 250"/>
                      <a:gd name="T39" fmla="*/ 2147483647 h 215"/>
                      <a:gd name="T40" fmla="*/ 2147483647 w 250"/>
                      <a:gd name="T41" fmla="*/ 2147483647 h 215"/>
                      <a:gd name="T42" fmla="*/ 2147483647 w 250"/>
                      <a:gd name="T43" fmla="*/ 2147483647 h 215"/>
                      <a:gd name="T44" fmla="*/ 2147483647 w 250"/>
                      <a:gd name="T45" fmla="*/ 2147483647 h 215"/>
                      <a:gd name="T46" fmla="*/ 2147483647 w 250"/>
                      <a:gd name="T47" fmla="*/ 2147483647 h 215"/>
                      <a:gd name="T48" fmla="*/ 2147483647 w 250"/>
                      <a:gd name="T49" fmla="*/ 2147483647 h 215"/>
                      <a:gd name="T50" fmla="*/ 2147483647 w 250"/>
                      <a:gd name="T51" fmla="*/ 2147483647 h 215"/>
                      <a:gd name="T52" fmla="*/ 2147483647 w 250"/>
                      <a:gd name="T53" fmla="*/ 2147483647 h 215"/>
                      <a:gd name="T54" fmla="*/ 2147483647 w 250"/>
                      <a:gd name="T55" fmla="*/ 2147483647 h 215"/>
                      <a:gd name="T56" fmla="*/ 2147483647 w 250"/>
                      <a:gd name="T57" fmla="*/ 2147483647 h 215"/>
                      <a:gd name="T58" fmla="*/ 2147483647 w 250"/>
                      <a:gd name="T59" fmla="*/ 2147483647 h 21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50"/>
                      <a:gd name="T91" fmla="*/ 0 h 215"/>
                      <a:gd name="T92" fmla="*/ 250 w 250"/>
                      <a:gd name="T93" fmla="*/ 215 h 21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50" h="215">
                        <a:moveTo>
                          <a:pt x="202" y="36"/>
                        </a:moveTo>
                        <a:lnTo>
                          <a:pt x="183" y="36"/>
                        </a:lnTo>
                        <a:lnTo>
                          <a:pt x="171" y="48"/>
                        </a:lnTo>
                        <a:lnTo>
                          <a:pt x="159" y="48"/>
                        </a:lnTo>
                        <a:lnTo>
                          <a:pt x="159" y="24"/>
                        </a:lnTo>
                        <a:lnTo>
                          <a:pt x="147" y="12"/>
                        </a:lnTo>
                        <a:lnTo>
                          <a:pt x="135" y="12"/>
                        </a:lnTo>
                        <a:lnTo>
                          <a:pt x="115" y="0"/>
                        </a:lnTo>
                        <a:lnTo>
                          <a:pt x="91" y="12"/>
                        </a:lnTo>
                        <a:lnTo>
                          <a:pt x="91" y="24"/>
                        </a:lnTo>
                        <a:lnTo>
                          <a:pt x="79" y="36"/>
                        </a:lnTo>
                        <a:lnTo>
                          <a:pt x="59" y="48"/>
                        </a:lnTo>
                        <a:lnTo>
                          <a:pt x="59" y="56"/>
                        </a:lnTo>
                        <a:lnTo>
                          <a:pt x="23" y="68"/>
                        </a:lnTo>
                        <a:lnTo>
                          <a:pt x="0" y="92"/>
                        </a:lnTo>
                        <a:lnTo>
                          <a:pt x="12" y="104"/>
                        </a:lnTo>
                        <a:lnTo>
                          <a:pt x="35" y="92"/>
                        </a:lnTo>
                        <a:lnTo>
                          <a:pt x="47" y="92"/>
                        </a:lnTo>
                        <a:lnTo>
                          <a:pt x="59" y="104"/>
                        </a:lnTo>
                        <a:lnTo>
                          <a:pt x="59" y="135"/>
                        </a:lnTo>
                        <a:lnTo>
                          <a:pt x="79" y="171"/>
                        </a:lnTo>
                        <a:lnTo>
                          <a:pt x="127" y="183"/>
                        </a:lnTo>
                        <a:lnTo>
                          <a:pt x="147" y="191"/>
                        </a:lnTo>
                        <a:lnTo>
                          <a:pt x="202" y="203"/>
                        </a:lnTo>
                        <a:lnTo>
                          <a:pt x="226" y="215"/>
                        </a:lnTo>
                        <a:lnTo>
                          <a:pt x="250" y="171"/>
                        </a:lnTo>
                        <a:lnTo>
                          <a:pt x="250" y="124"/>
                        </a:lnTo>
                        <a:lnTo>
                          <a:pt x="194" y="116"/>
                        </a:lnTo>
                        <a:lnTo>
                          <a:pt x="194" y="56"/>
                        </a:lnTo>
                        <a:lnTo>
                          <a:pt x="202" y="36"/>
                        </a:lnTo>
                        <a:close/>
                      </a:path>
                    </a:pathLst>
                  </a:custGeom>
                  <a:solidFill>
                    <a:srgbClr val="00B050">
                      <a:alpha val="53000"/>
                    </a:srgbClr>
                  </a:solidFill>
                  <a:ln w="9360">
                    <a:solidFill>
                      <a:srgbClr val="969696"/>
                    </a:solidFill>
                    <a:round/>
                    <a:headEnd/>
                    <a:tailEnd/>
                  </a:ln>
                </p:spPr>
                <p:txBody>
                  <a:bodyPr wrap="none" anchor="ctr"/>
                  <a:lstStyle/>
                  <a:p>
                    <a:pPr algn="ctr"/>
                    <a:endParaRPr lang="pt-BR" sz="700"/>
                  </a:p>
                </p:txBody>
              </p:sp>
              <p:sp>
                <p:nvSpPr>
                  <p:cNvPr id="365" name="Freeform 23"/>
                  <p:cNvSpPr>
                    <a:spLocks noChangeArrowheads="1"/>
                  </p:cNvSpPr>
                  <p:nvPr/>
                </p:nvSpPr>
                <p:spPr bwMode="auto">
                  <a:xfrm>
                    <a:off x="5795288" y="1916719"/>
                    <a:ext cx="498145" cy="262311"/>
                  </a:xfrm>
                  <a:custGeom>
                    <a:avLst/>
                    <a:gdLst>
                      <a:gd name="T0" fmla="*/ 0 w 259"/>
                      <a:gd name="T1" fmla="*/ 0 h 135"/>
                      <a:gd name="T2" fmla="*/ 2147483647 w 259"/>
                      <a:gd name="T3" fmla="*/ 2147483647 h 135"/>
                      <a:gd name="T4" fmla="*/ 2147483647 w 259"/>
                      <a:gd name="T5" fmla="*/ 2147483647 h 135"/>
                      <a:gd name="T6" fmla="*/ 2147483647 w 259"/>
                      <a:gd name="T7" fmla="*/ 2147483647 h 135"/>
                      <a:gd name="T8" fmla="*/ 2147483647 w 259"/>
                      <a:gd name="T9" fmla="*/ 2147483647 h 135"/>
                      <a:gd name="T10" fmla="*/ 2147483647 w 259"/>
                      <a:gd name="T11" fmla="*/ 2147483647 h 135"/>
                      <a:gd name="T12" fmla="*/ 2147483647 w 259"/>
                      <a:gd name="T13" fmla="*/ 2147483647 h 135"/>
                      <a:gd name="T14" fmla="*/ 2147483647 w 259"/>
                      <a:gd name="T15" fmla="*/ 2147483647 h 135"/>
                      <a:gd name="T16" fmla="*/ 2147483647 w 259"/>
                      <a:gd name="T17" fmla="*/ 2147483647 h 135"/>
                      <a:gd name="T18" fmla="*/ 2147483647 w 259"/>
                      <a:gd name="T19" fmla="*/ 2147483647 h 135"/>
                      <a:gd name="T20" fmla="*/ 2147483647 w 259"/>
                      <a:gd name="T21" fmla="*/ 2147483647 h 135"/>
                      <a:gd name="T22" fmla="*/ 2147483647 w 259"/>
                      <a:gd name="T23" fmla="*/ 2147483647 h 135"/>
                      <a:gd name="T24" fmla="*/ 2147483647 w 259"/>
                      <a:gd name="T25" fmla="*/ 2147483647 h 135"/>
                      <a:gd name="T26" fmla="*/ 2147483647 w 259"/>
                      <a:gd name="T27" fmla="*/ 2147483647 h 135"/>
                      <a:gd name="T28" fmla="*/ 2147483647 w 259"/>
                      <a:gd name="T29" fmla="*/ 2147483647 h 135"/>
                      <a:gd name="T30" fmla="*/ 2147483647 w 259"/>
                      <a:gd name="T31" fmla="*/ 2147483647 h 135"/>
                      <a:gd name="T32" fmla="*/ 2147483647 w 259"/>
                      <a:gd name="T33" fmla="*/ 2147483647 h 135"/>
                      <a:gd name="T34" fmla="*/ 2147483647 w 259"/>
                      <a:gd name="T35" fmla="*/ 2147483647 h 135"/>
                      <a:gd name="T36" fmla="*/ 2147483647 w 259"/>
                      <a:gd name="T37" fmla="*/ 2147483647 h 135"/>
                      <a:gd name="T38" fmla="*/ 2147483647 w 259"/>
                      <a:gd name="T39" fmla="*/ 2147483647 h 135"/>
                      <a:gd name="T40" fmla="*/ 0 w 259"/>
                      <a:gd name="T41" fmla="*/ 2147483647 h 135"/>
                      <a:gd name="T42" fmla="*/ 0 w 259"/>
                      <a:gd name="T43" fmla="*/ 0 h 13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59"/>
                      <a:gd name="T67" fmla="*/ 0 h 135"/>
                      <a:gd name="T68" fmla="*/ 259 w 259"/>
                      <a:gd name="T69" fmla="*/ 135 h 13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59" h="135">
                        <a:moveTo>
                          <a:pt x="0" y="0"/>
                        </a:moveTo>
                        <a:lnTo>
                          <a:pt x="24" y="12"/>
                        </a:lnTo>
                        <a:lnTo>
                          <a:pt x="56" y="24"/>
                        </a:lnTo>
                        <a:lnTo>
                          <a:pt x="91" y="24"/>
                        </a:lnTo>
                        <a:lnTo>
                          <a:pt x="123" y="36"/>
                        </a:lnTo>
                        <a:lnTo>
                          <a:pt x="171" y="56"/>
                        </a:lnTo>
                        <a:lnTo>
                          <a:pt x="203" y="80"/>
                        </a:lnTo>
                        <a:lnTo>
                          <a:pt x="247" y="92"/>
                        </a:lnTo>
                        <a:lnTo>
                          <a:pt x="259" y="104"/>
                        </a:lnTo>
                        <a:lnTo>
                          <a:pt x="227" y="124"/>
                        </a:lnTo>
                        <a:lnTo>
                          <a:pt x="179" y="135"/>
                        </a:lnTo>
                        <a:lnTo>
                          <a:pt x="123" y="135"/>
                        </a:lnTo>
                        <a:lnTo>
                          <a:pt x="111" y="124"/>
                        </a:lnTo>
                        <a:lnTo>
                          <a:pt x="111" y="92"/>
                        </a:lnTo>
                        <a:lnTo>
                          <a:pt x="91" y="116"/>
                        </a:lnTo>
                        <a:lnTo>
                          <a:pt x="68" y="116"/>
                        </a:lnTo>
                        <a:lnTo>
                          <a:pt x="56" y="104"/>
                        </a:lnTo>
                        <a:lnTo>
                          <a:pt x="44" y="104"/>
                        </a:lnTo>
                        <a:lnTo>
                          <a:pt x="36" y="80"/>
                        </a:lnTo>
                        <a:lnTo>
                          <a:pt x="12" y="56"/>
                        </a:lnTo>
                        <a:lnTo>
                          <a:pt x="0" y="36"/>
                        </a:lnTo>
                        <a:lnTo>
                          <a:pt x="0" y="0"/>
                        </a:lnTo>
                        <a:close/>
                      </a:path>
                    </a:pathLst>
                  </a:custGeom>
                  <a:solidFill>
                    <a:srgbClr val="FFC000">
                      <a:alpha val="46000"/>
                    </a:srgbClr>
                  </a:solidFill>
                  <a:ln w="9360">
                    <a:solidFill>
                      <a:srgbClr val="969696"/>
                    </a:solidFill>
                    <a:round/>
                    <a:headEnd/>
                    <a:tailEnd/>
                  </a:ln>
                </p:spPr>
                <p:txBody>
                  <a:bodyPr wrap="none" anchor="ctr"/>
                  <a:lstStyle/>
                  <a:p>
                    <a:pPr algn="ctr"/>
                    <a:endParaRPr lang="pt-BR" sz="700"/>
                  </a:p>
                </p:txBody>
              </p:sp>
              <p:sp>
                <p:nvSpPr>
                  <p:cNvPr id="366" name="Freeform 24"/>
                  <p:cNvSpPr>
                    <a:spLocks noChangeArrowheads="1"/>
                  </p:cNvSpPr>
                  <p:nvPr/>
                </p:nvSpPr>
                <p:spPr bwMode="auto">
                  <a:xfrm>
                    <a:off x="6753174" y="1169960"/>
                    <a:ext cx="908185" cy="880613"/>
                  </a:xfrm>
                  <a:custGeom>
                    <a:avLst/>
                    <a:gdLst>
                      <a:gd name="T0" fmla="*/ 0 w 473"/>
                      <a:gd name="T1" fmla="*/ 2147483647 h 450"/>
                      <a:gd name="T2" fmla="*/ 2147483647 w 473"/>
                      <a:gd name="T3" fmla="*/ 2147483647 h 450"/>
                      <a:gd name="T4" fmla="*/ 2147483647 w 473"/>
                      <a:gd name="T5" fmla="*/ 2147483647 h 450"/>
                      <a:gd name="T6" fmla="*/ 2147483647 w 473"/>
                      <a:gd name="T7" fmla="*/ 2147483647 h 450"/>
                      <a:gd name="T8" fmla="*/ 2147483647 w 473"/>
                      <a:gd name="T9" fmla="*/ 2147483647 h 450"/>
                      <a:gd name="T10" fmla="*/ 2147483647 w 473"/>
                      <a:gd name="T11" fmla="*/ 2147483647 h 450"/>
                      <a:gd name="T12" fmla="*/ 2147483647 w 473"/>
                      <a:gd name="T13" fmla="*/ 2147483647 h 450"/>
                      <a:gd name="T14" fmla="*/ 2147483647 w 473"/>
                      <a:gd name="T15" fmla="*/ 2147483647 h 450"/>
                      <a:gd name="T16" fmla="*/ 2147483647 w 473"/>
                      <a:gd name="T17" fmla="*/ 2147483647 h 450"/>
                      <a:gd name="T18" fmla="*/ 2147483647 w 473"/>
                      <a:gd name="T19" fmla="*/ 2147483647 h 450"/>
                      <a:gd name="T20" fmla="*/ 2147483647 w 473"/>
                      <a:gd name="T21" fmla="*/ 2147483647 h 450"/>
                      <a:gd name="T22" fmla="*/ 2147483647 w 473"/>
                      <a:gd name="T23" fmla="*/ 2147483647 h 450"/>
                      <a:gd name="T24" fmla="*/ 2147483647 w 473"/>
                      <a:gd name="T25" fmla="*/ 2147483647 h 450"/>
                      <a:gd name="T26" fmla="*/ 2147483647 w 473"/>
                      <a:gd name="T27" fmla="*/ 2147483647 h 450"/>
                      <a:gd name="T28" fmla="*/ 2147483647 w 473"/>
                      <a:gd name="T29" fmla="*/ 2147483647 h 450"/>
                      <a:gd name="T30" fmla="*/ 2147483647 w 473"/>
                      <a:gd name="T31" fmla="*/ 2147483647 h 450"/>
                      <a:gd name="T32" fmla="*/ 2147483647 w 473"/>
                      <a:gd name="T33" fmla="*/ 2147483647 h 450"/>
                      <a:gd name="T34" fmla="*/ 2147483647 w 473"/>
                      <a:gd name="T35" fmla="*/ 2147483647 h 450"/>
                      <a:gd name="T36" fmla="*/ 2147483647 w 473"/>
                      <a:gd name="T37" fmla="*/ 2147483647 h 450"/>
                      <a:gd name="T38" fmla="*/ 2147483647 w 473"/>
                      <a:gd name="T39" fmla="*/ 2147483647 h 450"/>
                      <a:gd name="T40" fmla="*/ 2147483647 w 473"/>
                      <a:gd name="T41" fmla="*/ 2147483647 h 450"/>
                      <a:gd name="T42" fmla="*/ 2147483647 w 473"/>
                      <a:gd name="T43" fmla="*/ 2147483647 h 450"/>
                      <a:gd name="T44" fmla="*/ 2147483647 w 473"/>
                      <a:gd name="T45" fmla="*/ 2147483647 h 450"/>
                      <a:gd name="T46" fmla="*/ 2147483647 w 473"/>
                      <a:gd name="T47" fmla="*/ 2147483647 h 450"/>
                      <a:gd name="T48" fmla="*/ 2147483647 w 473"/>
                      <a:gd name="T49" fmla="*/ 2147483647 h 450"/>
                      <a:gd name="T50" fmla="*/ 2147483647 w 473"/>
                      <a:gd name="T51" fmla="*/ 2147483647 h 450"/>
                      <a:gd name="T52" fmla="*/ 2147483647 w 473"/>
                      <a:gd name="T53" fmla="*/ 2147483647 h 450"/>
                      <a:gd name="T54" fmla="*/ 2147483647 w 473"/>
                      <a:gd name="T55" fmla="*/ 2147483647 h 450"/>
                      <a:gd name="T56" fmla="*/ 2147483647 w 473"/>
                      <a:gd name="T57" fmla="*/ 2147483647 h 450"/>
                      <a:gd name="T58" fmla="*/ 2147483647 w 473"/>
                      <a:gd name="T59" fmla="*/ 2147483647 h 450"/>
                      <a:gd name="T60" fmla="*/ 2147483647 w 473"/>
                      <a:gd name="T61" fmla="*/ 2147483647 h 450"/>
                      <a:gd name="T62" fmla="*/ 2147483647 w 473"/>
                      <a:gd name="T63" fmla="*/ 2147483647 h 450"/>
                      <a:gd name="T64" fmla="*/ 2147483647 w 473"/>
                      <a:gd name="T65" fmla="*/ 2147483647 h 450"/>
                      <a:gd name="T66" fmla="*/ 2147483647 w 473"/>
                      <a:gd name="T67" fmla="*/ 2147483647 h 450"/>
                      <a:gd name="T68" fmla="*/ 2147483647 w 473"/>
                      <a:gd name="T69" fmla="*/ 2147483647 h 450"/>
                      <a:gd name="T70" fmla="*/ 2147483647 w 473"/>
                      <a:gd name="T71" fmla="*/ 2147483647 h 450"/>
                      <a:gd name="T72" fmla="*/ 2147483647 w 473"/>
                      <a:gd name="T73" fmla="*/ 2147483647 h 450"/>
                      <a:gd name="T74" fmla="*/ 2147483647 w 473"/>
                      <a:gd name="T75" fmla="*/ 2147483647 h 450"/>
                      <a:gd name="T76" fmla="*/ 2147483647 w 473"/>
                      <a:gd name="T77" fmla="*/ 2147483647 h 450"/>
                      <a:gd name="T78" fmla="*/ 2147483647 w 473"/>
                      <a:gd name="T79" fmla="*/ 2147483647 h 450"/>
                      <a:gd name="T80" fmla="*/ 2147483647 w 473"/>
                      <a:gd name="T81" fmla="*/ 2147483647 h 450"/>
                      <a:gd name="T82" fmla="*/ 2147483647 w 473"/>
                      <a:gd name="T83" fmla="*/ 2147483647 h 450"/>
                      <a:gd name="T84" fmla="*/ 2147483647 w 473"/>
                      <a:gd name="T85" fmla="*/ 2147483647 h 450"/>
                      <a:gd name="T86" fmla="*/ 2147483647 w 473"/>
                      <a:gd name="T87" fmla="*/ 2147483647 h 450"/>
                      <a:gd name="T88" fmla="*/ 2147483647 w 473"/>
                      <a:gd name="T89" fmla="*/ 2147483647 h 450"/>
                      <a:gd name="T90" fmla="*/ 2147483647 w 473"/>
                      <a:gd name="T91" fmla="*/ 0 h 450"/>
                      <a:gd name="T92" fmla="*/ 2147483647 w 473"/>
                      <a:gd name="T93" fmla="*/ 0 h 450"/>
                      <a:gd name="T94" fmla="*/ 2147483647 w 473"/>
                      <a:gd name="T95" fmla="*/ 2147483647 h 450"/>
                      <a:gd name="T96" fmla="*/ 2147483647 w 473"/>
                      <a:gd name="T97" fmla="*/ 2147483647 h 450"/>
                      <a:gd name="T98" fmla="*/ 2147483647 w 473"/>
                      <a:gd name="T99" fmla="*/ 2147483647 h 450"/>
                      <a:gd name="T100" fmla="*/ 2147483647 w 473"/>
                      <a:gd name="T101" fmla="*/ 2147483647 h 450"/>
                      <a:gd name="T102" fmla="*/ 2147483647 w 473"/>
                      <a:gd name="T103" fmla="*/ 2147483647 h 450"/>
                      <a:gd name="T104" fmla="*/ 2147483647 w 473"/>
                      <a:gd name="T105" fmla="*/ 2147483647 h 450"/>
                      <a:gd name="T106" fmla="*/ 0 w 473"/>
                      <a:gd name="T107" fmla="*/ 2147483647 h 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73"/>
                      <a:gd name="T163" fmla="*/ 0 h 450"/>
                      <a:gd name="T164" fmla="*/ 473 w 473"/>
                      <a:gd name="T165" fmla="*/ 450 h 45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73" h="450">
                        <a:moveTo>
                          <a:pt x="0" y="44"/>
                        </a:moveTo>
                        <a:lnTo>
                          <a:pt x="12" y="80"/>
                        </a:lnTo>
                        <a:lnTo>
                          <a:pt x="12" y="104"/>
                        </a:lnTo>
                        <a:lnTo>
                          <a:pt x="32" y="148"/>
                        </a:lnTo>
                        <a:lnTo>
                          <a:pt x="44" y="160"/>
                        </a:lnTo>
                        <a:lnTo>
                          <a:pt x="68" y="160"/>
                        </a:lnTo>
                        <a:lnTo>
                          <a:pt x="92" y="171"/>
                        </a:lnTo>
                        <a:lnTo>
                          <a:pt x="92" y="191"/>
                        </a:lnTo>
                        <a:lnTo>
                          <a:pt x="100" y="203"/>
                        </a:lnTo>
                        <a:lnTo>
                          <a:pt x="56" y="327"/>
                        </a:lnTo>
                        <a:lnTo>
                          <a:pt x="56" y="362"/>
                        </a:lnTo>
                        <a:lnTo>
                          <a:pt x="80" y="394"/>
                        </a:lnTo>
                        <a:lnTo>
                          <a:pt x="92" y="418"/>
                        </a:lnTo>
                        <a:lnTo>
                          <a:pt x="100" y="430"/>
                        </a:lnTo>
                        <a:lnTo>
                          <a:pt x="123" y="442"/>
                        </a:lnTo>
                        <a:lnTo>
                          <a:pt x="326" y="450"/>
                        </a:lnTo>
                        <a:lnTo>
                          <a:pt x="350" y="418"/>
                        </a:lnTo>
                        <a:lnTo>
                          <a:pt x="362" y="394"/>
                        </a:lnTo>
                        <a:lnTo>
                          <a:pt x="362" y="362"/>
                        </a:lnTo>
                        <a:lnTo>
                          <a:pt x="370" y="339"/>
                        </a:lnTo>
                        <a:lnTo>
                          <a:pt x="406" y="307"/>
                        </a:lnTo>
                        <a:lnTo>
                          <a:pt x="406" y="295"/>
                        </a:lnTo>
                        <a:lnTo>
                          <a:pt x="394" y="283"/>
                        </a:lnTo>
                        <a:lnTo>
                          <a:pt x="406" y="271"/>
                        </a:lnTo>
                        <a:lnTo>
                          <a:pt x="430" y="259"/>
                        </a:lnTo>
                        <a:lnTo>
                          <a:pt x="450" y="239"/>
                        </a:lnTo>
                        <a:lnTo>
                          <a:pt x="462" y="203"/>
                        </a:lnTo>
                        <a:lnTo>
                          <a:pt x="473" y="160"/>
                        </a:lnTo>
                        <a:lnTo>
                          <a:pt x="473" y="124"/>
                        </a:lnTo>
                        <a:lnTo>
                          <a:pt x="462" y="112"/>
                        </a:lnTo>
                        <a:lnTo>
                          <a:pt x="418" y="104"/>
                        </a:lnTo>
                        <a:lnTo>
                          <a:pt x="406" y="124"/>
                        </a:lnTo>
                        <a:lnTo>
                          <a:pt x="382" y="148"/>
                        </a:lnTo>
                        <a:lnTo>
                          <a:pt x="370" y="171"/>
                        </a:lnTo>
                        <a:lnTo>
                          <a:pt x="362" y="203"/>
                        </a:lnTo>
                        <a:lnTo>
                          <a:pt x="362" y="171"/>
                        </a:lnTo>
                        <a:lnTo>
                          <a:pt x="314" y="160"/>
                        </a:lnTo>
                        <a:lnTo>
                          <a:pt x="294" y="136"/>
                        </a:lnTo>
                        <a:lnTo>
                          <a:pt x="271" y="136"/>
                        </a:lnTo>
                        <a:lnTo>
                          <a:pt x="247" y="112"/>
                        </a:lnTo>
                        <a:lnTo>
                          <a:pt x="235" y="80"/>
                        </a:lnTo>
                        <a:lnTo>
                          <a:pt x="215" y="44"/>
                        </a:lnTo>
                        <a:lnTo>
                          <a:pt x="191" y="36"/>
                        </a:lnTo>
                        <a:lnTo>
                          <a:pt x="179" y="36"/>
                        </a:lnTo>
                        <a:lnTo>
                          <a:pt x="159" y="24"/>
                        </a:lnTo>
                        <a:lnTo>
                          <a:pt x="159" y="0"/>
                        </a:lnTo>
                        <a:lnTo>
                          <a:pt x="123" y="0"/>
                        </a:lnTo>
                        <a:lnTo>
                          <a:pt x="112" y="12"/>
                        </a:lnTo>
                        <a:lnTo>
                          <a:pt x="123" y="12"/>
                        </a:lnTo>
                        <a:lnTo>
                          <a:pt x="112" y="24"/>
                        </a:lnTo>
                        <a:lnTo>
                          <a:pt x="80" y="24"/>
                        </a:lnTo>
                        <a:lnTo>
                          <a:pt x="44" y="36"/>
                        </a:lnTo>
                        <a:lnTo>
                          <a:pt x="12" y="44"/>
                        </a:lnTo>
                        <a:lnTo>
                          <a:pt x="0" y="44"/>
                        </a:lnTo>
                        <a:close/>
                      </a:path>
                    </a:pathLst>
                  </a:custGeom>
                  <a:solidFill>
                    <a:srgbClr val="FFC000">
                      <a:alpha val="46000"/>
                    </a:srgbClr>
                  </a:solidFill>
                  <a:ln w="9360">
                    <a:solidFill>
                      <a:srgbClr val="969696"/>
                    </a:solidFill>
                    <a:round/>
                    <a:headEnd/>
                    <a:tailEnd/>
                  </a:ln>
                </p:spPr>
                <p:txBody>
                  <a:bodyPr wrap="none" anchor="ctr"/>
                  <a:lstStyle/>
                  <a:p>
                    <a:pPr algn="ctr"/>
                    <a:endParaRPr lang="pt-BR" sz="700"/>
                  </a:p>
                </p:txBody>
              </p:sp>
              <p:sp>
                <p:nvSpPr>
                  <p:cNvPr id="367" name="Freeform 27"/>
                  <p:cNvSpPr>
                    <a:spLocks noChangeArrowheads="1"/>
                  </p:cNvSpPr>
                  <p:nvPr/>
                </p:nvSpPr>
                <p:spPr bwMode="auto">
                  <a:xfrm>
                    <a:off x="5799805" y="1216800"/>
                    <a:ext cx="1146527" cy="904034"/>
                  </a:xfrm>
                  <a:custGeom>
                    <a:avLst/>
                    <a:gdLst>
                      <a:gd name="T0" fmla="*/ 2147483647 w 597"/>
                      <a:gd name="T1" fmla="*/ 2147483647 h 462"/>
                      <a:gd name="T2" fmla="*/ 2147483647 w 597"/>
                      <a:gd name="T3" fmla="*/ 2147483647 h 462"/>
                      <a:gd name="T4" fmla="*/ 2147483647 w 597"/>
                      <a:gd name="T5" fmla="*/ 2147483647 h 462"/>
                      <a:gd name="T6" fmla="*/ 2147483647 w 597"/>
                      <a:gd name="T7" fmla="*/ 2147483647 h 462"/>
                      <a:gd name="T8" fmla="*/ 2147483647 w 597"/>
                      <a:gd name="T9" fmla="*/ 2147483647 h 462"/>
                      <a:gd name="T10" fmla="*/ 2147483647 w 597"/>
                      <a:gd name="T11" fmla="*/ 2147483647 h 462"/>
                      <a:gd name="T12" fmla="*/ 2147483647 w 597"/>
                      <a:gd name="T13" fmla="*/ 2147483647 h 462"/>
                      <a:gd name="T14" fmla="*/ 2147483647 w 597"/>
                      <a:gd name="T15" fmla="*/ 2147483647 h 462"/>
                      <a:gd name="T16" fmla="*/ 2147483647 w 597"/>
                      <a:gd name="T17" fmla="*/ 2147483647 h 462"/>
                      <a:gd name="T18" fmla="*/ 2147483647 w 597"/>
                      <a:gd name="T19" fmla="*/ 2147483647 h 462"/>
                      <a:gd name="T20" fmla="*/ 2147483647 w 597"/>
                      <a:gd name="T21" fmla="*/ 2147483647 h 462"/>
                      <a:gd name="T22" fmla="*/ 2147483647 w 597"/>
                      <a:gd name="T23" fmla="*/ 2147483647 h 462"/>
                      <a:gd name="T24" fmla="*/ 2147483647 w 597"/>
                      <a:gd name="T25" fmla="*/ 2147483647 h 462"/>
                      <a:gd name="T26" fmla="*/ 2147483647 w 597"/>
                      <a:gd name="T27" fmla="*/ 2147483647 h 462"/>
                      <a:gd name="T28" fmla="*/ 2147483647 w 597"/>
                      <a:gd name="T29" fmla="*/ 2147483647 h 462"/>
                      <a:gd name="T30" fmla="*/ 2147483647 w 597"/>
                      <a:gd name="T31" fmla="*/ 2147483647 h 462"/>
                      <a:gd name="T32" fmla="*/ 2147483647 w 597"/>
                      <a:gd name="T33" fmla="*/ 2147483647 h 462"/>
                      <a:gd name="T34" fmla="*/ 2147483647 w 597"/>
                      <a:gd name="T35" fmla="*/ 2147483647 h 462"/>
                      <a:gd name="T36" fmla="*/ 2147483647 w 597"/>
                      <a:gd name="T37" fmla="*/ 2147483647 h 462"/>
                      <a:gd name="T38" fmla="*/ 2147483647 w 597"/>
                      <a:gd name="T39" fmla="*/ 2147483647 h 462"/>
                      <a:gd name="T40" fmla="*/ 2147483647 w 597"/>
                      <a:gd name="T41" fmla="*/ 2147483647 h 462"/>
                      <a:gd name="T42" fmla="*/ 2147483647 w 597"/>
                      <a:gd name="T43" fmla="*/ 2147483647 h 462"/>
                      <a:gd name="T44" fmla="*/ 2147483647 w 597"/>
                      <a:gd name="T45" fmla="*/ 2147483647 h 462"/>
                      <a:gd name="T46" fmla="*/ 0 w 597"/>
                      <a:gd name="T47" fmla="*/ 2147483647 h 462"/>
                      <a:gd name="T48" fmla="*/ 2147483647 w 597"/>
                      <a:gd name="T49" fmla="*/ 2147483647 h 462"/>
                      <a:gd name="T50" fmla="*/ 2147483647 w 597"/>
                      <a:gd name="T51" fmla="*/ 2147483647 h 462"/>
                      <a:gd name="T52" fmla="*/ 2147483647 w 597"/>
                      <a:gd name="T53" fmla="*/ 2147483647 h 462"/>
                      <a:gd name="T54" fmla="*/ 2147483647 w 597"/>
                      <a:gd name="T55" fmla="*/ 2147483647 h 462"/>
                      <a:gd name="T56" fmla="*/ 2147483647 w 597"/>
                      <a:gd name="T57" fmla="*/ 2147483647 h 462"/>
                      <a:gd name="T58" fmla="*/ 2147483647 w 597"/>
                      <a:gd name="T59" fmla="*/ 2147483647 h 462"/>
                      <a:gd name="T60" fmla="*/ 2147483647 w 597"/>
                      <a:gd name="T61" fmla="*/ 2147483647 h 462"/>
                      <a:gd name="T62" fmla="*/ 2147483647 w 597"/>
                      <a:gd name="T63" fmla="*/ 2147483647 h 462"/>
                      <a:gd name="T64" fmla="*/ 2147483647 w 597"/>
                      <a:gd name="T65" fmla="*/ 2147483647 h 462"/>
                      <a:gd name="T66" fmla="*/ 2147483647 w 597"/>
                      <a:gd name="T67" fmla="*/ 2147483647 h 462"/>
                      <a:gd name="T68" fmla="*/ 2147483647 w 597"/>
                      <a:gd name="T69" fmla="*/ 2147483647 h 462"/>
                      <a:gd name="T70" fmla="*/ 2147483647 w 597"/>
                      <a:gd name="T71" fmla="*/ 2147483647 h 46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97"/>
                      <a:gd name="T109" fmla="*/ 0 h 462"/>
                      <a:gd name="T110" fmla="*/ 597 w 597"/>
                      <a:gd name="T111" fmla="*/ 462 h 46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97" h="462">
                        <a:moveTo>
                          <a:pt x="362" y="0"/>
                        </a:moveTo>
                        <a:lnTo>
                          <a:pt x="374" y="12"/>
                        </a:lnTo>
                        <a:lnTo>
                          <a:pt x="374" y="32"/>
                        </a:lnTo>
                        <a:lnTo>
                          <a:pt x="382" y="56"/>
                        </a:lnTo>
                        <a:lnTo>
                          <a:pt x="382" y="88"/>
                        </a:lnTo>
                        <a:lnTo>
                          <a:pt x="374" y="100"/>
                        </a:lnTo>
                        <a:lnTo>
                          <a:pt x="382" y="112"/>
                        </a:lnTo>
                        <a:lnTo>
                          <a:pt x="406" y="124"/>
                        </a:lnTo>
                        <a:lnTo>
                          <a:pt x="418" y="100"/>
                        </a:lnTo>
                        <a:lnTo>
                          <a:pt x="430" y="100"/>
                        </a:lnTo>
                        <a:lnTo>
                          <a:pt x="441" y="112"/>
                        </a:lnTo>
                        <a:lnTo>
                          <a:pt x="449" y="112"/>
                        </a:lnTo>
                        <a:lnTo>
                          <a:pt x="461" y="100"/>
                        </a:lnTo>
                        <a:lnTo>
                          <a:pt x="461" y="88"/>
                        </a:lnTo>
                        <a:lnTo>
                          <a:pt x="473" y="80"/>
                        </a:lnTo>
                        <a:lnTo>
                          <a:pt x="509" y="80"/>
                        </a:lnTo>
                        <a:lnTo>
                          <a:pt x="529" y="124"/>
                        </a:lnTo>
                        <a:lnTo>
                          <a:pt x="541" y="136"/>
                        </a:lnTo>
                        <a:lnTo>
                          <a:pt x="565" y="136"/>
                        </a:lnTo>
                        <a:lnTo>
                          <a:pt x="589" y="147"/>
                        </a:lnTo>
                        <a:lnTo>
                          <a:pt x="589" y="167"/>
                        </a:lnTo>
                        <a:lnTo>
                          <a:pt x="597" y="179"/>
                        </a:lnTo>
                        <a:lnTo>
                          <a:pt x="553" y="303"/>
                        </a:lnTo>
                        <a:lnTo>
                          <a:pt x="553" y="358"/>
                        </a:lnTo>
                        <a:lnTo>
                          <a:pt x="541" y="382"/>
                        </a:lnTo>
                        <a:lnTo>
                          <a:pt x="541" y="406"/>
                        </a:lnTo>
                        <a:lnTo>
                          <a:pt x="449" y="406"/>
                        </a:lnTo>
                        <a:lnTo>
                          <a:pt x="430" y="406"/>
                        </a:lnTo>
                        <a:lnTo>
                          <a:pt x="418" y="418"/>
                        </a:lnTo>
                        <a:lnTo>
                          <a:pt x="406" y="418"/>
                        </a:lnTo>
                        <a:lnTo>
                          <a:pt x="406" y="394"/>
                        </a:lnTo>
                        <a:lnTo>
                          <a:pt x="394" y="382"/>
                        </a:lnTo>
                        <a:lnTo>
                          <a:pt x="382" y="382"/>
                        </a:lnTo>
                        <a:lnTo>
                          <a:pt x="362" y="370"/>
                        </a:lnTo>
                        <a:lnTo>
                          <a:pt x="338" y="382"/>
                        </a:lnTo>
                        <a:lnTo>
                          <a:pt x="338" y="394"/>
                        </a:lnTo>
                        <a:lnTo>
                          <a:pt x="326" y="406"/>
                        </a:lnTo>
                        <a:lnTo>
                          <a:pt x="306" y="418"/>
                        </a:lnTo>
                        <a:lnTo>
                          <a:pt x="306" y="426"/>
                        </a:lnTo>
                        <a:lnTo>
                          <a:pt x="270" y="438"/>
                        </a:lnTo>
                        <a:lnTo>
                          <a:pt x="247" y="462"/>
                        </a:lnTo>
                        <a:lnTo>
                          <a:pt x="203" y="450"/>
                        </a:lnTo>
                        <a:lnTo>
                          <a:pt x="171" y="426"/>
                        </a:lnTo>
                        <a:lnTo>
                          <a:pt x="123" y="406"/>
                        </a:lnTo>
                        <a:lnTo>
                          <a:pt x="91" y="394"/>
                        </a:lnTo>
                        <a:lnTo>
                          <a:pt x="56" y="394"/>
                        </a:lnTo>
                        <a:lnTo>
                          <a:pt x="24" y="382"/>
                        </a:lnTo>
                        <a:lnTo>
                          <a:pt x="0" y="370"/>
                        </a:lnTo>
                        <a:lnTo>
                          <a:pt x="12" y="350"/>
                        </a:lnTo>
                        <a:lnTo>
                          <a:pt x="24" y="338"/>
                        </a:lnTo>
                        <a:lnTo>
                          <a:pt x="24" y="326"/>
                        </a:lnTo>
                        <a:lnTo>
                          <a:pt x="36" y="303"/>
                        </a:lnTo>
                        <a:lnTo>
                          <a:pt x="56" y="283"/>
                        </a:lnTo>
                        <a:lnTo>
                          <a:pt x="111" y="259"/>
                        </a:lnTo>
                        <a:lnTo>
                          <a:pt x="123" y="259"/>
                        </a:lnTo>
                        <a:lnTo>
                          <a:pt x="135" y="215"/>
                        </a:lnTo>
                        <a:lnTo>
                          <a:pt x="147" y="147"/>
                        </a:lnTo>
                        <a:lnTo>
                          <a:pt x="123" y="124"/>
                        </a:lnTo>
                        <a:lnTo>
                          <a:pt x="111" y="80"/>
                        </a:lnTo>
                        <a:lnTo>
                          <a:pt x="123" y="68"/>
                        </a:lnTo>
                        <a:lnTo>
                          <a:pt x="147" y="68"/>
                        </a:lnTo>
                        <a:lnTo>
                          <a:pt x="147" y="56"/>
                        </a:lnTo>
                        <a:lnTo>
                          <a:pt x="123" y="44"/>
                        </a:lnTo>
                        <a:lnTo>
                          <a:pt x="123" y="32"/>
                        </a:lnTo>
                        <a:lnTo>
                          <a:pt x="179" y="20"/>
                        </a:lnTo>
                        <a:lnTo>
                          <a:pt x="215" y="20"/>
                        </a:lnTo>
                        <a:lnTo>
                          <a:pt x="227" y="32"/>
                        </a:lnTo>
                        <a:lnTo>
                          <a:pt x="239" y="56"/>
                        </a:lnTo>
                        <a:lnTo>
                          <a:pt x="259" y="68"/>
                        </a:lnTo>
                        <a:lnTo>
                          <a:pt x="306" y="56"/>
                        </a:lnTo>
                        <a:lnTo>
                          <a:pt x="326" y="32"/>
                        </a:lnTo>
                        <a:lnTo>
                          <a:pt x="362" y="12"/>
                        </a:lnTo>
                        <a:lnTo>
                          <a:pt x="362" y="0"/>
                        </a:lnTo>
                        <a:close/>
                      </a:path>
                    </a:pathLst>
                  </a:custGeom>
                  <a:solidFill>
                    <a:srgbClr val="FFC000">
                      <a:alpha val="46000"/>
                    </a:srgbClr>
                  </a:solidFill>
                  <a:ln w="9360">
                    <a:solidFill>
                      <a:srgbClr val="969696"/>
                    </a:solidFill>
                    <a:round/>
                    <a:headEnd/>
                    <a:tailEnd/>
                  </a:ln>
                </p:spPr>
                <p:txBody>
                  <a:bodyPr wrap="none" anchor="ctr"/>
                  <a:lstStyle/>
                  <a:p>
                    <a:pPr algn="ctr"/>
                    <a:endParaRPr lang="pt-BR" sz="700"/>
                  </a:p>
                </p:txBody>
              </p:sp>
              <p:sp>
                <p:nvSpPr>
                  <p:cNvPr id="368" name="Freeform 28"/>
                  <p:cNvSpPr>
                    <a:spLocks noChangeArrowheads="1"/>
                  </p:cNvSpPr>
                  <p:nvPr/>
                </p:nvSpPr>
                <p:spPr bwMode="auto">
                  <a:xfrm>
                    <a:off x="7333779" y="1343271"/>
                    <a:ext cx="190899" cy="132326"/>
                  </a:xfrm>
                  <a:custGeom>
                    <a:avLst/>
                    <a:gdLst>
                      <a:gd name="T0" fmla="*/ 2147483647 w 100"/>
                      <a:gd name="T1" fmla="*/ 2147483647 h 68"/>
                      <a:gd name="T2" fmla="*/ 2147483647 w 100"/>
                      <a:gd name="T3" fmla="*/ 2147483647 h 68"/>
                      <a:gd name="T4" fmla="*/ 2147483647 w 100"/>
                      <a:gd name="T5" fmla="*/ 2147483647 h 68"/>
                      <a:gd name="T6" fmla="*/ 2147483647 w 100"/>
                      <a:gd name="T7" fmla="*/ 2147483647 h 68"/>
                      <a:gd name="T8" fmla="*/ 2147483647 w 100"/>
                      <a:gd name="T9" fmla="*/ 2147483647 h 68"/>
                      <a:gd name="T10" fmla="*/ 0 w 100"/>
                      <a:gd name="T11" fmla="*/ 2147483647 h 68"/>
                      <a:gd name="T12" fmla="*/ 2147483647 w 100"/>
                      <a:gd name="T13" fmla="*/ 2147483647 h 68"/>
                      <a:gd name="T14" fmla="*/ 2147483647 w 100"/>
                      <a:gd name="T15" fmla="*/ 0 h 68"/>
                      <a:gd name="T16" fmla="*/ 2147483647 w 100"/>
                      <a:gd name="T17" fmla="*/ 0 h 68"/>
                      <a:gd name="T18" fmla="*/ 2147483647 w 100"/>
                      <a:gd name="T19" fmla="*/ 2147483647 h 68"/>
                      <a:gd name="T20" fmla="*/ 2147483647 w 100"/>
                      <a:gd name="T21" fmla="*/ 0 h 68"/>
                      <a:gd name="T22" fmla="*/ 2147483647 w 100"/>
                      <a:gd name="T23" fmla="*/ 2147483647 h 6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0"/>
                      <a:gd name="T37" fmla="*/ 0 h 68"/>
                      <a:gd name="T38" fmla="*/ 100 w 100"/>
                      <a:gd name="T39" fmla="*/ 68 h 6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0" h="68">
                        <a:moveTo>
                          <a:pt x="100" y="12"/>
                        </a:moveTo>
                        <a:lnTo>
                          <a:pt x="92" y="36"/>
                        </a:lnTo>
                        <a:lnTo>
                          <a:pt x="68" y="56"/>
                        </a:lnTo>
                        <a:lnTo>
                          <a:pt x="44" y="68"/>
                        </a:lnTo>
                        <a:lnTo>
                          <a:pt x="24" y="56"/>
                        </a:lnTo>
                        <a:lnTo>
                          <a:pt x="0" y="48"/>
                        </a:lnTo>
                        <a:lnTo>
                          <a:pt x="12" y="12"/>
                        </a:lnTo>
                        <a:lnTo>
                          <a:pt x="32" y="0"/>
                        </a:lnTo>
                        <a:lnTo>
                          <a:pt x="44" y="0"/>
                        </a:lnTo>
                        <a:lnTo>
                          <a:pt x="68" y="12"/>
                        </a:lnTo>
                        <a:lnTo>
                          <a:pt x="92" y="0"/>
                        </a:lnTo>
                        <a:lnTo>
                          <a:pt x="100" y="12"/>
                        </a:lnTo>
                        <a:close/>
                      </a:path>
                    </a:pathLst>
                  </a:custGeom>
                  <a:solidFill>
                    <a:srgbClr val="FFC000">
                      <a:alpha val="46000"/>
                    </a:srgbClr>
                  </a:solidFill>
                  <a:ln w="9360">
                    <a:solidFill>
                      <a:srgbClr val="969696"/>
                    </a:solidFill>
                    <a:round/>
                    <a:headEnd/>
                    <a:tailEnd/>
                  </a:ln>
                </p:spPr>
                <p:txBody>
                  <a:bodyPr wrap="none" anchor="ctr"/>
                  <a:lstStyle/>
                  <a:p>
                    <a:pPr algn="ctr"/>
                    <a:endParaRPr lang="pt-BR" sz="700"/>
                  </a:p>
                </p:txBody>
              </p:sp>
              <p:sp>
                <p:nvSpPr>
                  <p:cNvPr id="369" name="Freeform 29"/>
                  <p:cNvSpPr>
                    <a:spLocks noChangeArrowheads="1"/>
                  </p:cNvSpPr>
                  <p:nvPr/>
                </p:nvSpPr>
                <p:spPr bwMode="auto">
                  <a:xfrm>
                    <a:off x="7380092" y="1305798"/>
                    <a:ext cx="60998" cy="15223"/>
                  </a:xfrm>
                  <a:custGeom>
                    <a:avLst/>
                    <a:gdLst>
                      <a:gd name="T0" fmla="*/ 0 w 32"/>
                      <a:gd name="T1" fmla="*/ 2147483647 h 8"/>
                      <a:gd name="T2" fmla="*/ 2147483647 w 32"/>
                      <a:gd name="T3" fmla="*/ 0 h 8"/>
                      <a:gd name="T4" fmla="*/ 2147483647 w 32"/>
                      <a:gd name="T5" fmla="*/ 0 h 8"/>
                      <a:gd name="T6" fmla="*/ 2147483647 w 32"/>
                      <a:gd name="T7" fmla="*/ 2147483647 h 8"/>
                      <a:gd name="T8" fmla="*/ 0 w 32"/>
                      <a:gd name="T9" fmla="*/ 2147483647 h 8"/>
                      <a:gd name="T10" fmla="*/ 0 60000 65536"/>
                      <a:gd name="T11" fmla="*/ 0 60000 65536"/>
                      <a:gd name="T12" fmla="*/ 0 60000 65536"/>
                      <a:gd name="T13" fmla="*/ 0 60000 65536"/>
                      <a:gd name="T14" fmla="*/ 0 60000 65536"/>
                      <a:gd name="T15" fmla="*/ 0 w 32"/>
                      <a:gd name="T16" fmla="*/ 0 h 8"/>
                      <a:gd name="T17" fmla="*/ 32 w 32"/>
                      <a:gd name="T18" fmla="*/ 8 h 8"/>
                    </a:gdLst>
                    <a:ahLst/>
                    <a:cxnLst>
                      <a:cxn ang="T10">
                        <a:pos x="T0" y="T1"/>
                      </a:cxn>
                      <a:cxn ang="T11">
                        <a:pos x="T2" y="T3"/>
                      </a:cxn>
                      <a:cxn ang="T12">
                        <a:pos x="T4" y="T5"/>
                      </a:cxn>
                      <a:cxn ang="T13">
                        <a:pos x="T6" y="T7"/>
                      </a:cxn>
                      <a:cxn ang="T14">
                        <a:pos x="T8" y="T9"/>
                      </a:cxn>
                    </a:cxnLst>
                    <a:rect l="T15" t="T16" r="T17" b="T18"/>
                    <a:pathLst>
                      <a:path w="32" h="8">
                        <a:moveTo>
                          <a:pt x="0" y="8"/>
                        </a:moveTo>
                        <a:lnTo>
                          <a:pt x="8" y="0"/>
                        </a:lnTo>
                        <a:lnTo>
                          <a:pt x="20" y="0"/>
                        </a:lnTo>
                        <a:lnTo>
                          <a:pt x="32" y="8"/>
                        </a:lnTo>
                        <a:lnTo>
                          <a:pt x="0" y="8"/>
                        </a:lnTo>
                        <a:close/>
                      </a:path>
                    </a:pathLst>
                  </a:custGeom>
                  <a:solidFill>
                    <a:srgbClr val="FFFFFF"/>
                  </a:solidFill>
                  <a:ln w="9360">
                    <a:solidFill>
                      <a:srgbClr val="969696"/>
                    </a:solidFill>
                    <a:round/>
                    <a:headEnd/>
                    <a:tailEnd/>
                  </a:ln>
                </p:spPr>
                <p:txBody>
                  <a:bodyPr wrap="none" anchor="ctr"/>
                  <a:lstStyle/>
                  <a:p>
                    <a:pPr algn="ctr"/>
                    <a:endParaRPr lang="pt-BR" sz="700"/>
                  </a:p>
                </p:txBody>
              </p:sp>
              <p:sp>
                <p:nvSpPr>
                  <p:cNvPr id="370" name="Freeform 59"/>
                  <p:cNvSpPr>
                    <a:spLocks noChangeArrowheads="1"/>
                  </p:cNvSpPr>
                  <p:nvPr/>
                </p:nvSpPr>
                <p:spPr bwMode="auto">
                  <a:xfrm>
                    <a:off x="7586805" y="2414763"/>
                    <a:ext cx="242861" cy="237720"/>
                  </a:xfrm>
                  <a:custGeom>
                    <a:avLst/>
                    <a:gdLst>
                      <a:gd name="T0" fmla="*/ 2147483647 w 157"/>
                      <a:gd name="T1" fmla="*/ 2147483647 h 150"/>
                      <a:gd name="T2" fmla="*/ 2147483647 w 157"/>
                      <a:gd name="T3" fmla="*/ 2147483647 h 150"/>
                      <a:gd name="T4" fmla="*/ 0 w 157"/>
                      <a:gd name="T5" fmla="*/ 0 h 150"/>
                      <a:gd name="T6" fmla="*/ 0 60000 65536"/>
                      <a:gd name="T7" fmla="*/ 0 60000 65536"/>
                      <a:gd name="T8" fmla="*/ 0 60000 65536"/>
                      <a:gd name="T9" fmla="*/ 0 w 157"/>
                      <a:gd name="T10" fmla="*/ 0 h 150"/>
                      <a:gd name="T11" fmla="*/ 157 w 157"/>
                      <a:gd name="T12" fmla="*/ 150 h 150"/>
                    </a:gdLst>
                    <a:ahLst/>
                    <a:cxnLst>
                      <a:cxn ang="T6">
                        <a:pos x="T0" y="T1"/>
                      </a:cxn>
                      <a:cxn ang="T7">
                        <a:pos x="T2" y="T3"/>
                      </a:cxn>
                      <a:cxn ang="T8">
                        <a:pos x="T4" y="T5"/>
                      </a:cxn>
                    </a:cxnLst>
                    <a:rect l="T9" t="T10" r="T11" b="T12"/>
                    <a:pathLst>
                      <a:path w="157" h="150">
                        <a:moveTo>
                          <a:pt x="123" y="150"/>
                        </a:moveTo>
                        <a:cubicBezTo>
                          <a:pt x="132" y="136"/>
                          <a:pt x="157" y="89"/>
                          <a:pt x="136" y="64"/>
                        </a:cubicBezTo>
                        <a:cubicBezTo>
                          <a:pt x="115" y="39"/>
                          <a:pt x="37" y="13"/>
                          <a:pt x="0" y="0"/>
                        </a:cubicBezTo>
                      </a:path>
                    </a:pathLst>
                  </a:custGeom>
                  <a:noFill/>
                  <a:ln w="28575">
                    <a:solidFill>
                      <a:srgbClr val="0070C0"/>
                    </a:solidFill>
                    <a:round/>
                    <a:headEnd/>
                    <a:tailEnd/>
                  </a:ln>
                </p:spPr>
                <p:txBody>
                  <a:bodyPr wrap="none" anchor="ctr"/>
                  <a:lstStyle/>
                  <a:p>
                    <a:pPr algn="ctr"/>
                    <a:endParaRPr lang="pt-BR" sz="700"/>
                  </a:p>
                </p:txBody>
              </p:sp>
              <p:sp>
                <p:nvSpPr>
                  <p:cNvPr id="371" name="Freeform 60"/>
                  <p:cNvSpPr>
                    <a:spLocks noChangeArrowheads="1"/>
                  </p:cNvSpPr>
                  <p:nvPr/>
                </p:nvSpPr>
                <p:spPr bwMode="auto">
                  <a:xfrm>
                    <a:off x="7524678" y="3021355"/>
                    <a:ext cx="181864" cy="124128"/>
                  </a:xfrm>
                  <a:custGeom>
                    <a:avLst/>
                    <a:gdLst>
                      <a:gd name="T0" fmla="*/ 2147483647 w 193"/>
                      <a:gd name="T1" fmla="*/ 0 h 138"/>
                      <a:gd name="T2" fmla="*/ 0 w 193"/>
                      <a:gd name="T3" fmla="*/ 2147483647 h 138"/>
                      <a:gd name="T4" fmla="*/ 0 60000 65536"/>
                      <a:gd name="T5" fmla="*/ 0 60000 65536"/>
                      <a:gd name="T6" fmla="*/ 0 w 193"/>
                      <a:gd name="T7" fmla="*/ 0 h 138"/>
                      <a:gd name="T8" fmla="*/ 193 w 193"/>
                      <a:gd name="T9" fmla="*/ 138 h 138"/>
                    </a:gdLst>
                    <a:ahLst/>
                    <a:cxnLst>
                      <a:cxn ang="T4">
                        <a:pos x="T0" y="T1"/>
                      </a:cxn>
                      <a:cxn ang="T5">
                        <a:pos x="T2" y="T3"/>
                      </a:cxn>
                    </a:cxnLst>
                    <a:rect l="T6" t="T7" r="T8" b="T9"/>
                    <a:pathLst>
                      <a:path w="193" h="138">
                        <a:moveTo>
                          <a:pt x="193" y="0"/>
                        </a:moveTo>
                        <a:lnTo>
                          <a:pt x="0" y="138"/>
                        </a:lnTo>
                      </a:path>
                    </a:pathLst>
                  </a:custGeom>
                  <a:noFill/>
                  <a:ln w="28575">
                    <a:solidFill>
                      <a:srgbClr val="0070C0"/>
                    </a:solidFill>
                    <a:round/>
                    <a:headEnd/>
                    <a:tailEnd/>
                  </a:ln>
                </p:spPr>
                <p:txBody>
                  <a:bodyPr wrap="none" anchor="ctr"/>
                  <a:lstStyle/>
                  <a:p>
                    <a:pPr algn="ctr"/>
                    <a:endParaRPr lang="pt-BR" sz="700"/>
                  </a:p>
                </p:txBody>
              </p:sp>
              <p:sp>
                <p:nvSpPr>
                  <p:cNvPr id="372" name="Freeform 61"/>
                  <p:cNvSpPr>
                    <a:spLocks noChangeArrowheads="1"/>
                  </p:cNvSpPr>
                  <p:nvPr/>
                </p:nvSpPr>
                <p:spPr bwMode="auto">
                  <a:xfrm>
                    <a:off x="7502086" y="3151339"/>
                    <a:ext cx="14685" cy="221324"/>
                  </a:xfrm>
                  <a:custGeom>
                    <a:avLst/>
                    <a:gdLst>
                      <a:gd name="T0" fmla="*/ 2147483647 w 16"/>
                      <a:gd name="T1" fmla="*/ 0 h 247"/>
                      <a:gd name="T2" fmla="*/ 2147483647 w 16"/>
                      <a:gd name="T3" fmla="*/ 2147483647 h 247"/>
                      <a:gd name="T4" fmla="*/ 0 w 16"/>
                      <a:gd name="T5" fmla="*/ 2147483647 h 247"/>
                      <a:gd name="T6" fmla="*/ 0 60000 65536"/>
                      <a:gd name="T7" fmla="*/ 0 60000 65536"/>
                      <a:gd name="T8" fmla="*/ 0 60000 65536"/>
                      <a:gd name="T9" fmla="*/ 0 w 16"/>
                      <a:gd name="T10" fmla="*/ 0 h 247"/>
                      <a:gd name="T11" fmla="*/ 16 w 16"/>
                      <a:gd name="T12" fmla="*/ 247 h 247"/>
                    </a:gdLst>
                    <a:ahLst/>
                    <a:cxnLst>
                      <a:cxn ang="T6">
                        <a:pos x="T0" y="T1"/>
                      </a:cxn>
                      <a:cxn ang="T7">
                        <a:pos x="T2" y="T3"/>
                      </a:cxn>
                      <a:cxn ang="T8">
                        <a:pos x="T4" y="T5"/>
                      </a:cxn>
                    </a:cxnLst>
                    <a:rect l="T9" t="T10" r="T11" b="T12"/>
                    <a:pathLst>
                      <a:path w="16" h="247">
                        <a:moveTo>
                          <a:pt x="6" y="0"/>
                        </a:moveTo>
                        <a:cubicBezTo>
                          <a:pt x="5" y="43"/>
                          <a:pt x="16" y="77"/>
                          <a:pt x="15" y="120"/>
                        </a:cubicBezTo>
                        <a:cubicBezTo>
                          <a:pt x="10" y="162"/>
                          <a:pt x="5" y="205"/>
                          <a:pt x="0" y="247"/>
                        </a:cubicBezTo>
                      </a:path>
                    </a:pathLst>
                  </a:custGeom>
                  <a:noFill/>
                  <a:ln w="28575">
                    <a:solidFill>
                      <a:srgbClr val="0070C0"/>
                    </a:solidFill>
                    <a:round/>
                    <a:headEnd/>
                    <a:tailEnd/>
                  </a:ln>
                </p:spPr>
                <p:txBody>
                  <a:bodyPr wrap="none" anchor="ctr"/>
                  <a:lstStyle/>
                  <a:p>
                    <a:pPr algn="ctr"/>
                    <a:endParaRPr lang="pt-BR" sz="700"/>
                  </a:p>
                </p:txBody>
              </p:sp>
              <p:sp>
                <p:nvSpPr>
                  <p:cNvPr id="373" name="Freeform 62"/>
                  <p:cNvSpPr>
                    <a:spLocks noChangeArrowheads="1"/>
                  </p:cNvSpPr>
                  <p:nvPr/>
                </p:nvSpPr>
                <p:spPr bwMode="auto">
                  <a:xfrm>
                    <a:off x="7386869" y="3367978"/>
                    <a:ext cx="116348" cy="94853"/>
                  </a:xfrm>
                  <a:custGeom>
                    <a:avLst/>
                    <a:gdLst>
                      <a:gd name="T0" fmla="*/ 2147483647 w 65"/>
                      <a:gd name="T1" fmla="*/ 0 h 60"/>
                      <a:gd name="T2" fmla="*/ 2147483647 w 65"/>
                      <a:gd name="T3" fmla="*/ 2147483647 h 60"/>
                      <a:gd name="T4" fmla="*/ 0 w 65"/>
                      <a:gd name="T5" fmla="*/ 2147483647 h 60"/>
                      <a:gd name="T6" fmla="*/ 0 60000 65536"/>
                      <a:gd name="T7" fmla="*/ 0 60000 65536"/>
                      <a:gd name="T8" fmla="*/ 0 60000 65536"/>
                      <a:gd name="T9" fmla="*/ 0 w 65"/>
                      <a:gd name="T10" fmla="*/ 0 h 60"/>
                      <a:gd name="T11" fmla="*/ 65 w 65"/>
                      <a:gd name="T12" fmla="*/ 60 h 60"/>
                    </a:gdLst>
                    <a:ahLst/>
                    <a:cxnLst>
                      <a:cxn ang="T6">
                        <a:pos x="T0" y="T1"/>
                      </a:cxn>
                      <a:cxn ang="T7">
                        <a:pos x="T2" y="T3"/>
                      </a:cxn>
                      <a:cxn ang="T8">
                        <a:pos x="T4" y="T5"/>
                      </a:cxn>
                    </a:cxnLst>
                    <a:rect l="T9" t="T10" r="T11" b="T12"/>
                    <a:pathLst>
                      <a:path w="65" h="60">
                        <a:moveTo>
                          <a:pt x="65" y="0"/>
                        </a:moveTo>
                        <a:cubicBezTo>
                          <a:pt x="61" y="5"/>
                          <a:pt x="51" y="21"/>
                          <a:pt x="40" y="31"/>
                        </a:cubicBezTo>
                        <a:cubicBezTo>
                          <a:pt x="29" y="41"/>
                          <a:pt x="8" y="54"/>
                          <a:pt x="0" y="60"/>
                        </a:cubicBezTo>
                      </a:path>
                    </a:pathLst>
                  </a:custGeom>
                  <a:noFill/>
                  <a:ln w="28575">
                    <a:solidFill>
                      <a:srgbClr val="0070C0"/>
                    </a:solidFill>
                    <a:round/>
                    <a:headEnd/>
                    <a:tailEnd/>
                  </a:ln>
                </p:spPr>
                <p:txBody>
                  <a:bodyPr wrap="none" anchor="ctr"/>
                  <a:lstStyle/>
                  <a:p>
                    <a:pPr algn="ctr"/>
                    <a:endParaRPr lang="pt-BR" sz="700"/>
                  </a:p>
                </p:txBody>
              </p:sp>
              <p:sp>
                <p:nvSpPr>
                  <p:cNvPr id="374" name="Freeform 101"/>
                  <p:cNvSpPr>
                    <a:spLocks noChangeArrowheads="1"/>
                  </p:cNvSpPr>
                  <p:nvPr/>
                </p:nvSpPr>
                <p:spPr bwMode="auto">
                  <a:xfrm>
                    <a:off x="7591323" y="2652481"/>
                    <a:ext cx="181862" cy="63235"/>
                  </a:xfrm>
                  <a:custGeom>
                    <a:avLst/>
                    <a:gdLst>
                      <a:gd name="T0" fmla="*/ 2147483647 w 117"/>
                      <a:gd name="T1" fmla="*/ 2147483647 h 39"/>
                      <a:gd name="T2" fmla="*/ 2147483647 w 117"/>
                      <a:gd name="T3" fmla="*/ 2147483647 h 39"/>
                      <a:gd name="T4" fmla="*/ 0 w 117"/>
                      <a:gd name="T5" fmla="*/ 2147483647 h 39"/>
                      <a:gd name="T6" fmla="*/ 0 60000 65536"/>
                      <a:gd name="T7" fmla="*/ 0 60000 65536"/>
                      <a:gd name="T8" fmla="*/ 0 60000 65536"/>
                      <a:gd name="T9" fmla="*/ 0 w 117"/>
                      <a:gd name="T10" fmla="*/ 0 h 39"/>
                      <a:gd name="T11" fmla="*/ 117 w 117"/>
                      <a:gd name="T12" fmla="*/ 39 h 39"/>
                    </a:gdLst>
                    <a:ahLst/>
                    <a:cxnLst>
                      <a:cxn ang="T6">
                        <a:pos x="T0" y="T1"/>
                      </a:cxn>
                      <a:cxn ang="T7">
                        <a:pos x="T2" y="T3"/>
                      </a:cxn>
                      <a:cxn ang="T8">
                        <a:pos x="T4" y="T5"/>
                      </a:cxn>
                    </a:cxnLst>
                    <a:rect l="T9" t="T10" r="T11" b="T12"/>
                    <a:pathLst>
                      <a:path w="117" h="39">
                        <a:moveTo>
                          <a:pt x="117" y="7"/>
                        </a:moveTo>
                        <a:cubicBezTo>
                          <a:pt x="99" y="4"/>
                          <a:pt x="85" y="0"/>
                          <a:pt x="66" y="5"/>
                        </a:cubicBezTo>
                        <a:cubicBezTo>
                          <a:pt x="47" y="10"/>
                          <a:pt x="14" y="32"/>
                          <a:pt x="0" y="39"/>
                        </a:cubicBezTo>
                      </a:path>
                    </a:pathLst>
                  </a:custGeom>
                  <a:noFill/>
                  <a:ln w="28575">
                    <a:solidFill>
                      <a:srgbClr val="0070C0"/>
                    </a:solidFill>
                    <a:round/>
                    <a:headEnd/>
                    <a:tailEnd/>
                  </a:ln>
                </p:spPr>
                <p:txBody>
                  <a:bodyPr wrap="none" anchor="ctr"/>
                  <a:lstStyle/>
                  <a:p>
                    <a:pPr algn="ctr"/>
                    <a:endParaRPr lang="pt-BR" sz="700"/>
                  </a:p>
                </p:txBody>
              </p:sp>
              <p:sp>
                <p:nvSpPr>
                  <p:cNvPr id="375" name="Freeform 105"/>
                  <p:cNvSpPr>
                    <a:spLocks noChangeArrowheads="1"/>
                  </p:cNvSpPr>
                  <p:nvPr/>
                </p:nvSpPr>
                <p:spPr bwMode="auto">
                  <a:xfrm>
                    <a:off x="7509993" y="2528351"/>
                    <a:ext cx="67775" cy="48012"/>
                  </a:xfrm>
                  <a:custGeom>
                    <a:avLst/>
                    <a:gdLst>
                      <a:gd name="T0" fmla="*/ 2147483647 w 64"/>
                      <a:gd name="T1" fmla="*/ 2147483647 h 12"/>
                      <a:gd name="T2" fmla="*/ 0 w 64"/>
                      <a:gd name="T3" fmla="*/ 0 h 12"/>
                      <a:gd name="T4" fmla="*/ 0 60000 65536"/>
                      <a:gd name="T5" fmla="*/ 0 60000 65536"/>
                      <a:gd name="T6" fmla="*/ 0 w 64"/>
                      <a:gd name="T7" fmla="*/ 0 h 12"/>
                      <a:gd name="T8" fmla="*/ 64 w 64"/>
                      <a:gd name="T9" fmla="*/ 12 h 12"/>
                    </a:gdLst>
                    <a:ahLst/>
                    <a:cxnLst>
                      <a:cxn ang="T4">
                        <a:pos x="T0" y="T1"/>
                      </a:cxn>
                      <a:cxn ang="T5">
                        <a:pos x="T2" y="T3"/>
                      </a:cxn>
                    </a:cxnLst>
                    <a:rect l="T6" t="T7" r="T8" b="T9"/>
                    <a:pathLst>
                      <a:path w="64" h="12">
                        <a:moveTo>
                          <a:pt x="64" y="12"/>
                        </a:moveTo>
                        <a:cubicBezTo>
                          <a:pt x="53" y="10"/>
                          <a:pt x="13" y="2"/>
                          <a:pt x="0" y="0"/>
                        </a:cubicBezTo>
                      </a:path>
                    </a:pathLst>
                  </a:custGeom>
                  <a:noFill/>
                  <a:ln w="28575">
                    <a:solidFill>
                      <a:srgbClr val="0070C0"/>
                    </a:solidFill>
                    <a:round/>
                    <a:headEnd/>
                    <a:tailEnd/>
                  </a:ln>
                </p:spPr>
                <p:txBody>
                  <a:bodyPr wrap="none" anchor="ctr"/>
                  <a:lstStyle/>
                  <a:p>
                    <a:pPr algn="ctr"/>
                    <a:endParaRPr lang="pt-BR" sz="700"/>
                  </a:p>
                </p:txBody>
              </p:sp>
              <p:sp>
                <p:nvSpPr>
                  <p:cNvPr id="376" name="Freeform 106"/>
                  <p:cNvSpPr>
                    <a:spLocks noChangeArrowheads="1"/>
                  </p:cNvSpPr>
                  <p:nvPr/>
                </p:nvSpPr>
                <p:spPr bwMode="auto">
                  <a:xfrm>
                    <a:off x="7791260" y="2244963"/>
                    <a:ext cx="452963" cy="412203"/>
                  </a:xfrm>
                  <a:custGeom>
                    <a:avLst/>
                    <a:gdLst>
                      <a:gd name="T0" fmla="*/ 0 w 292"/>
                      <a:gd name="T1" fmla="*/ 2147483647 h 262"/>
                      <a:gd name="T2" fmla="*/ 2147483647 w 292"/>
                      <a:gd name="T3" fmla="*/ 2147483647 h 262"/>
                      <a:gd name="T4" fmla="*/ 2147483647 w 292"/>
                      <a:gd name="T5" fmla="*/ 2147483647 h 262"/>
                      <a:gd name="T6" fmla="*/ 2147483647 w 292"/>
                      <a:gd name="T7" fmla="*/ 2147483647 h 262"/>
                      <a:gd name="T8" fmla="*/ 2147483647 w 292"/>
                      <a:gd name="T9" fmla="*/ 2147483647 h 262"/>
                      <a:gd name="T10" fmla="*/ 2147483647 w 292"/>
                      <a:gd name="T11" fmla="*/ 0 h 262"/>
                      <a:gd name="T12" fmla="*/ 0 60000 65536"/>
                      <a:gd name="T13" fmla="*/ 0 60000 65536"/>
                      <a:gd name="T14" fmla="*/ 0 60000 65536"/>
                      <a:gd name="T15" fmla="*/ 0 60000 65536"/>
                      <a:gd name="T16" fmla="*/ 0 60000 65536"/>
                      <a:gd name="T17" fmla="*/ 0 60000 65536"/>
                      <a:gd name="T18" fmla="*/ 0 w 292"/>
                      <a:gd name="T19" fmla="*/ 0 h 262"/>
                      <a:gd name="T20" fmla="*/ 292 w 292"/>
                      <a:gd name="T21" fmla="*/ 262 h 262"/>
                    </a:gdLst>
                    <a:ahLst/>
                    <a:cxnLst>
                      <a:cxn ang="T12">
                        <a:pos x="T0" y="T1"/>
                      </a:cxn>
                      <a:cxn ang="T13">
                        <a:pos x="T2" y="T3"/>
                      </a:cxn>
                      <a:cxn ang="T14">
                        <a:pos x="T4" y="T5"/>
                      </a:cxn>
                      <a:cxn ang="T15">
                        <a:pos x="T6" y="T7"/>
                      </a:cxn>
                      <a:cxn ang="T16">
                        <a:pos x="T8" y="T9"/>
                      </a:cxn>
                      <a:cxn ang="T17">
                        <a:pos x="T10" y="T11"/>
                      </a:cxn>
                    </a:cxnLst>
                    <a:rect l="T18" t="T19" r="T20" b="T21"/>
                    <a:pathLst>
                      <a:path w="292" h="262">
                        <a:moveTo>
                          <a:pt x="0" y="262"/>
                        </a:moveTo>
                        <a:cubicBezTo>
                          <a:pt x="12" y="247"/>
                          <a:pt x="55" y="198"/>
                          <a:pt x="70" y="174"/>
                        </a:cubicBezTo>
                        <a:cubicBezTo>
                          <a:pt x="85" y="150"/>
                          <a:pt x="70" y="134"/>
                          <a:pt x="88" y="118"/>
                        </a:cubicBezTo>
                        <a:cubicBezTo>
                          <a:pt x="106" y="102"/>
                          <a:pt x="160" y="93"/>
                          <a:pt x="178" y="80"/>
                        </a:cubicBezTo>
                        <a:cubicBezTo>
                          <a:pt x="196" y="67"/>
                          <a:pt x="179" y="51"/>
                          <a:pt x="198" y="38"/>
                        </a:cubicBezTo>
                        <a:cubicBezTo>
                          <a:pt x="217" y="25"/>
                          <a:pt x="272" y="8"/>
                          <a:pt x="292" y="0"/>
                        </a:cubicBezTo>
                      </a:path>
                    </a:pathLst>
                  </a:custGeom>
                  <a:noFill/>
                  <a:ln w="28575">
                    <a:solidFill>
                      <a:srgbClr val="990000"/>
                    </a:solidFill>
                    <a:round/>
                    <a:headEnd/>
                    <a:tailEnd/>
                  </a:ln>
                </p:spPr>
                <p:txBody>
                  <a:bodyPr wrap="none" anchor="ctr"/>
                  <a:lstStyle/>
                  <a:p>
                    <a:pPr algn="ctr"/>
                    <a:endParaRPr lang="pt-BR" sz="700"/>
                  </a:p>
                </p:txBody>
              </p:sp>
              <p:sp>
                <p:nvSpPr>
                  <p:cNvPr id="377" name="Text Box 112"/>
                  <p:cNvSpPr txBox="1">
                    <a:spLocks noChangeArrowheads="1"/>
                  </p:cNvSpPr>
                  <p:nvPr/>
                </p:nvSpPr>
                <p:spPr bwMode="auto">
                  <a:xfrm>
                    <a:off x="6337487" y="1692238"/>
                    <a:ext cx="190539" cy="59838"/>
                  </a:xfrm>
                  <a:prstGeom prst="rect">
                    <a:avLst/>
                  </a:prstGeom>
                  <a:noFill/>
                  <a:ln w="9525">
                    <a:noFill/>
                    <a:round/>
                    <a:headEnd/>
                    <a:tailEnd/>
                  </a:ln>
                </p:spPr>
                <p:txBody>
                  <a:bodyPr wrap="none" lIns="0" tIns="0" rIns="0" bIns="0">
                    <a:spAutoFit/>
                  </a:bodyPr>
                  <a:lstStyle/>
                  <a:p>
                    <a:pPr algn="ct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dirty="0">
                        <a:solidFill>
                          <a:srgbClr val="FFC000"/>
                        </a:solidFill>
                        <a:latin typeface="Calibri" pitchFamily="34" charset="0"/>
                      </a:rPr>
                      <a:t>Manaus</a:t>
                    </a:r>
                  </a:p>
                </p:txBody>
              </p:sp>
              <p:sp>
                <p:nvSpPr>
                  <p:cNvPr id="378" name="Text Box 113"/>
                  <p:cNvSpPr txBox="1">
                    <a:spLocks noChangeArrowheads="1"/>
                  </p:cNvSpPr>
                  <p:nvPr/>
                </p:nvSpPr>
                <p:spPr bwMode="auto">
                  <a:xfrm>
                    <a:off x="6790306" y="2271529"/>
                    <a:ext cx="183975" cy="70851"/>
                  </a:xfrm>
                  <a:prstGeom prst="rect">
                    <a:avLst/>
                  </a:prstGeom>
                  <a:noFill/>
                  <a:ln w="9525">
                    <a:noFill/>
                    <a:round/>
                    <a:headEnd/>
                    <a:tailEnd/>
                  </a:ln>
                </p:spPr>
                <p:txBody>
                  <a:bodyPr wrap="none" lIns="0" tIns="0" rIns="0" bIns="0">
                    <a:spAutoFit/>
                  </a:bodyPr>
                  <a:lstStyle/>
                  <a:p>
                    <a:pPr algn="ct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dirty="0" err="1">
                        <a:solidFill>
                          <a:srgbClr val="FF0000"/>
                        </a:solidFill>
                        <a:latin typeface="Calibri" pitchFamily="34" charset="0"/>
                      </a:rPr>
                      <a:t>Cuiabá</a:t>
                    </a:r>
                    <a:endParaRPr lang="en-GB" sz="900" dirty="0">
                      <a:solidFill>
                        <a:srgbClr val="FF0000"/>
                      </a:solidFill>
                      <a:latin typeface="Calibri" pitchFamily="34" charset="0"/>
                    </a:endParaRPr>
                  </a:p>
                </p:txBody>
              </p:sp>
              <p:sp>
                <p:nvSpPr>
                  <p:cNvPr id="379" name="Text Box 115"/>
                  <p:cNvSpPr txBox="1">
                    <a:spLocks noChangeArrowheads="1"/>
                  </p:cNvSpPr>
                  <p:nvPr/>
                </p:nvSpPr>
                <p:spPr bwMode="auto">
                  <a:xfrm>
                    <a:off x="7506711" y="3338703"/>
                    <a:ext cx="424723" cy="80801"/>
                  </a:xfrm>
                  <a:prstGeom prst="rect">
                    <a:avLst/>
                  </a:prstGeom>
                  <a:noFill/>
                  <a:ln w="9525">
                    <a:noFill/>
                    <a:round/>
                    <a:headEnd/>
                    <a:tailEnd/>
                  </a:ln>
                </p:spPr>
                <p:txBody>
                  <a:bodyPr wrap="none" lIns="0" tIns="0" rIns="0" bIns="0">
                    <a:spAutoFit/>
                  </a:bodyPr>
                  <a:lstStyle/>
                  <a:p>
                    <a:pPr algn="ct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dirty="0" err="1">
                        <a:solidFill>
                          <a:srgbClr val="000000"/>
                        </a:solidFill>
                        <a:latin typeface="Calibri" pitchFamily="34" charset="0"/>
                      </a:rPr>
                      <a:t>Florianópolis</a:t>
                    </a:r>
                    <a:endParaRPr lang="en-GB" sz="900" dirty="0">
                      <a:solidFill>
                        <a:srgbClr val="000000"/>
                      </a:solidFill>
                      <a:latin typeface="Calibri" pitchFamily="34" charset="0"/>
                    </a:endParaRPr>
                  </a:p>
                </p:txBody>
              </p:sp>
              <p:sp>
                <p:nvSpPr>
                  <p:cNvPr id="380" name="Text Box 116"/>
                  <p:cNvSpPr txBox="1">
                    <a:spLocks noChangeArrowheads="1"/>
                  </p:cNvSpPr>
                  <p:nvPr/>
                </p:nvSpPr>
                <p:spPr bwMode="auto">
                  <a:xfrm>
                    <a:off x="7723485" y="3079906"/>
                    <a:ext cx="325319" cy="80802"/>
                  </a:xfrm>
                  <a:prstGeom prst="rect">
                    <a:avLst/>
                  </a:prstGeom>
                  <a:noFill/>
                  <a:ln w="9525">
                    <a:noFill/>
                    <a:round/>
                    <a:headEnd/>
                    <a:tailEnd/>
                  </a:ln>
                </p:spPr>
                <p:txBody>
                  <a:bodyPr wrap="none" lIns="0" tIns="0" rIns="0" bIns="0">
                    <a:spAutoFit/>
                  </a:bodyPr>
                  <a:lstStyle/>
                  <a:p>
                    <a:pPr algn="ct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São Paulo</a:t>
                    </a:r>
                  </a:p>
                </p:txBody>
              </p:sp>
              <p:sp>
                <p:nvSpPr>
                  <p:cNvPr id="381" name="Text Box 121"/>
                  <p:cNvSpPr txBox="1">
                    <a:spLocks noChangeArrowheads="1"/>
                  </p:cNvSpPr>
                  <p:nvPr/>
                </p:nvSpPr>
                <p:spPr bwMode="auto">
                  <a:xfrm>
                    <a:off x="6503535" y="1316338"/>
                    <a:ext cx="311764" cy="80802"/>
                  </a:xfrm>
                  <a:prstGeom prst="rect">
                    <a:avLst/>
                  </a:prstGeom>
                  <a:noFill/>
                  <a:ln w="9525">
                    <a:noFill/>
                    <a:round/>
                    <a:headEnd/>
                    <a:tailEnd/>
                  </a:ln>
                </p:spPr>
                <p:txBody>
                  <a:bodyPr wrap="none" lIns="0" tIns="0" rIns="0" bIns="0">
                    <a:spAutoFit/>
                  </a:bodyPr>
                  <a:lstStyle/>
                  <a:p>
                    <a:pPr algn="ctr" defTabSz="457200">
                      <a:lnSpc>
                        <a:spcPct val="80000"/>
                      </a:lnSpc>
                      <a:buClr>
                        <a:srgbClr val="000000"/>
                      </a:buClr>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Boa Vista</a:t>
                    </a:r>
                  </a:p>
                </p:txBody>
              </p:sp>
              <p:sp>
                <p:nvSpPr>
                  <p:cNvPr id="382" name="Text Box 122"/>
                  <p:cNvSpPr txBox="1">
                    <a:spLocks noChangeArrowheads="1"/>
                  </p:cNvSpPr>
                  <p:nvPr/>
                </p:nvSpPr>
                <p:spPr bwMode="auto">
                  <a:xfrm>
                    <a:off x="6361207" y="2034178"/>
                    <a:ext cx="267711" cy="80801"/>
                  </a:xfrm>
                  <a:prstGeom prst="rect">
                    <a:avLst/>
                  </a:prstGeom>
                  <a:noFill/>
                  <a:ln w="9525">
                    <a:noFill/>
                    <a:round/>
                    <a:headEnd/>
                    <a:tailEnd/>
                  </a:ln>
                </p:spPr>
                <p:txBody>
                  <a:bodyPr wrap="none" lIns="0" tIns="0" rIns="0" bIns="0">
                    <a:spAutoFit/>
                  </a:bodyPr>
                  <a:lstStyle/>
                  <a:p>
                    <a:pPr algn="ctr" defTabSz="457200">
                      <a:lnSpc>
                        <a:spcPct val="80000"/>
                      </a:lnSpc>
                      <a:buClr>
                        <a:srgbClr val="000000"/>
                      </a:buClr>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P. Velho</a:t>
                    </a:r>
                  </a:p>
                </p:txBody>
              </p:sp>
              <p:sp>
                <p:nvSpPr>
                  <p:cNvPr id="383" name="Text Box 123"/>
                  <p:cNvSpPr txBox="1">
                    <a:spLocks noChangeArrowheads="1"/>
                  </p:cNvSpPr>
                  <p:nvPr/>
                </p:nvSpPr>
                <p:spPr bwMode="auto">
                  <a:xfrm>
                    <a:off x="8274722" y="2288292"/>
                    <a:ext cx="233988" cy="70851"/>
                  </a:xfrm>
                  <a:prstGeom prst="rect">
                    <a:avLst/>
                  </a:prstGeom>
                  <a:noFill/>
                  <a:ln w="9525">
                    <a:noFill/>
                    <a:round/>
                    <a:headEnd/>
                    <a:tailEnd/>
                  </a:ln>
                </p:spPr>
                <p:txBody>
                  <a:bodyPr wrap="none" lIns="0" tIns="0" rIns="0" bIns="0">
                    <a:spAutoFit/>
                  </a:bodyPr>
                  <a:lstStyle/>
                  <a:p>
                    <a:pPr algn="ctr" defTabSz="457200">
                      <a:lnSpc>
                        <a:spcPct val="80000"/>
                      </a:lnSpc>
                      <a:buClr>
                        <a:srgbClr val="000000"/>
                      </a:buClr>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dirty="0">
                        <a:solidFill>
                          <a:srgbClr val="FF0000"/>
                        </a:solidFill>
                        <a:latin typeface="Calibri" pitchFamily="34" charset="0"/>
                      </a:rPr>
                      <a:t>Salvador</a:t>
                    </a:r>
                  </a:p>
                </p:txBody>
              </p:sp>
              <p:sp>
                <p:nvSpPr>
                  <p:cNvPr id="384" name="Text Box 131"/>
                  <p:cNvSpPr txBox="1">
                    <a:spLocks noChangeArrowheads="1"/>
                  </p:cNvSpPr>
                  <p:nvPr/>
                </p:nvSpPr>
                <p:spPr bwMode="auto">
                  <a:xfrm>
                    <a:off x="7534806" y="3158963"/>
                    <a:ext cx="262064" cy="80801"/>
                  </a:xfrm>
                  <a:prstGeom prst="rect">
                    <a:avLst/>
                  </a:prstGeom>
                  <a:noFill/>
                  <a:ln w="9525">
                    <a:noFill/>
                    <a:round/>
                    <a:headEnd/>
                    <a:tailEnd/>
                  </a:ln>
                </p:spPr>
                <p:txBody>
                  <a:bodyPr wrap="none" lIns="0" tIns="0" rIns="0" bIns="0">
                    <a:spAutoFit/>
                  </a:bodyPr>
                  <a:lstStyle/>
                  <a:p>
                    <a:pPr algn="ct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Curitiba</a:t>
                    </a:r>
                  </a:p>
                </p:txBody>
              </p:sp>
              <p:sp>
                <p:nvSpPr>
                  <p:cNvPr id="385" name="Text Box 133"/>
                  <p:cNvSpPr txBox="1">
                    <a:spLocks noChangeArrowheads="1"/>
                  </p:cNvSpPr>
                  <p:nvPr/>
                </p:nvSpPr>
                <p:spPr bwMode="auto">
                  <a:xfrm>
                    <a:off x="8418957" y="1981482"/>
                    <a:ext cx="245121" cy="80802"/>
                  </a:xfrm>
                  <a:prstGeom prst="rect">
                    <a:avLst/>
                  </a:prstGeom>
                  <a:noFill/>
                  <a:ln w="9525">
                    <a:noFill/>
                    <a:round/>
                    <a:headEnd/>
                    <a:tailEnd/>
                  </a:ln>
                </p:spPr>
                <p:txBody>
                  <a:bodyPr wrap="none" lIns="0" tIns="0" rIns="0" bIns="0">
                    <a:spAutoFit/>
                  </a:bodyPr>
                  <a:lstStyle/>
                  <a:p>
                    <a:pPr algn="ctr" defTabSz="457200">
                      <a:lnSpc>
                        <a:spcPct val="80000"/>
                      </a:lnSpc>
                      <a:buClr>
                        <a:srgbClr val="000000"/>
                      </a:buClr>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dirty="0" err="1">
                        <a:solidFill>
                          <a:srgbClr val="000000"/>
                        </a:solidFill>
                        <a:latin typeface="Calibri" pitchFamily="34" charset="0"/>
                      </a:rPr>
                      <a:t>Maceió</a:t>
                    </a:r>
                    <a:endParaRPr lang="en-GB" sz="900" dirty="0">
                      <a:solidFill>
                        <a:srgbClr val="000000"/>
                      </a:solidFill>
                      <a:latin typeface="Calibri" pitchFamily="34" charset="0"/>
                    </a:endParaRPr>
                  </a:p>
                </p:txBody>
              </p:sp>
              <p:sp>
                <p:nvSpPr>
                  <p:cNvPr id="386" name="Text Box 134"/>
                  <p:cNvSpPr txBox="1">
                    <a:spLocks noChangeArrowheads="1"/>
                  </p:cNvSpPr>
                  <p:nvPr/>
                </p:nvSpPr>
                <p:spPr bwMode="auto">
                  <a:xfrm>
                    <a:off x="8471429" y="1866721"/>
                    <a:ext cx="198807" cy="80802"/>
                  </a:xfrm>
                  <a:prstGeom prst="rect">
                    <a:avLst/>
                  </a:prstGeom>
                  <a:noFill/>
                  <a:ln w="9525">
                    <a:noFill/>
                    <a:round/>
                    <a:headEnd/>
                    <a:tailEnd/>
                  </a:ln>
                </p:spPr>
                <p:txBody>
                  <a:bodyPr wrap="none" lIns="0" tIns="0" rIns="0" bIns="0">
                    <a:spAutoFit/>
                  </a:bodyPr>
                  <a:lstStyle/>
                  <a:p>
                    <a:pPr algn="ctr" defTabSz="457200">
                      <a:lnSpc>
                        <a:spcPct val="80000"/>
                      </a:lnSpc>
                      <a:buClr>
                        <a:srgbClr val="000000"/>
                      </a:buClr>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Recife</a:t>
                    </a:r>
                  </a:p>
                </p:txBody>
              </p:sp>
              <p:sp>
                <p:nvSpPr>
                  <p:cNvPr id="387" name="Text Box 135"/>
                  <p:cNvSpPr txBox="1">
                    <a:spLocks noChangeArrowheads="1"/>
                  </p:cNvSpPr>
                  <p:nvPr/>
                </p:nvSpPr>
                <p:spPr bwMode="auto">
                  <a:xfrm>
                    <a:off x="8170800" y="1481453"/>
                    <a:ext cx="307246" cy="80801"/>
                  </a:xfrm>
                  <a:prstGeom prst="rect">
                    <a:avLst/>
                  </a:prstGeom>
                  <a:noFill/>
                  <a:ln w="9525">
                    <a:noFill/>
                    <a:round/>
                    <a:headEnd/>
                    <a:tailEnd/>
                  </a:ln>
                </p:spPr>
                <p:txBody>
                  <a:bodyPr wrap="none" lIns="0" tIns="0" rIns="0" bIns="0">
                    <a:spAutoFit/>
                  </a:bodyPr>
                  <a:lstStyle/>
                  <a:p>
                    <a:pPr algn="ct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Fortaleza</a:t>
                    </a:r>
                  </a:p>
                </p:txBody>
              </p:sp>
              <p:sp>
                <p:nvSpPr>
                  <p:cNvPr id="388" name="Text Box 139"/>
                  <p:cNvSpPr txBox="1">
                    <a:spLocks noChangeArrowheads="1"/>
                  </p:cNvSpPr>
                  <p:nvPr/>
                </p:nvSpPr>
                <p:spPr bwMode="auto">
                  <a:xfrm>
                    <a:off x="7944515" y="2995592"/>
                    <a:ext cx="377774" cy="72614"/>
                  </a:xfrm>
                  <a:prstGeom prst="rect">
                    <a:avLst/>
                  </a:prstGeom>
                  <a:noFill/>
                  <a:ln w="9525">
                    <a:noFill/>
                    <a:round/>
                    <a:headEnd/>
                    <a:tailEnd/>
                  </a:ln>
                </p:spPr>
                <p:txBody>
                  <a:bodyPr wrap="none" lIns="0" tIns="0" rIns="0" bIns="0">
                    <a:spAutoFit/>
                  </a:bodyPr>
                  <a:lstStyle/>
                  <a:p>
                    <a:pPr algn="ctr" defTabSz="457200">
                      <a:lnSpc>
                        <a:spcPct val="80000"/>
                      </a:lnSpc>
                      <a:buClr>
                        <a:srgbClr val="000000"/>
                      </a:buClr>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dirty="0">
                        <a:solidFill>
                          <a:srgbClr val="00B050"/>
                        </a:solidFill>
                        <a:latin typeface="Calibri" pitchFamily="34" charset="0"/>
                      </a:rPr>
                      <a:t>Rio de Janeiro</a:t>
                    </a:r>
                  </a:p>
                </p:txBody>
              </p:sp>
              <p:sp>
                <p:nvSpPr>
                  <p:cNvPr id="389" name="Text Box 140"/>
                  <p:cNvSpPr txBox="1">
                    <a:spLocks noChangeArrowheads="1"/>
                  </p:cNvSpPr>
                  <p:nvPr/>
                </p:nvSpPr>
                <p:spPr bwMode="auto">
                  <a:xfrm>
                    <a:off x="7267909" y="3500305"/>
                    <a:ext cx="543329" cy="80801"/>
                  </a:xfrm>
                  <a:prstGeom prst="rect">
                    <a:avLst/>
                  </a:prstGeom>
                  <a:noFill/>
                  <a:ln w="9525">
                    <a:noFill/>
                    <a:round/>
                    <a:headEnd/>
                    <a:tailEnd/>
                  </a:ln>
                </p:spPr>
                <p:txBody>
                  <a:bodyPr lIns="0" tIns="0" rIns="0" bIns="0">
                    <a:spAutoFit/>
                  </a:bodyPr>
                  <a:lstStyle/>
                  <a:p>
                    <a:pPr algn="ct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Porto Alegre</a:t>
                    </a:r>
                  </a:p>
                </p:txBody>
              </p:sp>
              <p:sp>
                <p:nvSpPr>
                  <p:cNvPr id="390" name="Freeform 256"/>
                  <p:cNvSpPr>
                    <a:spLocks noChangeArrowheads="1"/>
                  </p:cNvSpPr>
                  <p:nvPr/>
                </p:nvSpPr>
                <p:spPr bwMode="auto">
                  <a:xfrm>
                    <a:off x="7385740" y="3139629"/>
                    <a:ext cx="143457" cy="332572"/>
                  </a:xfrm>
                  <a:custGeom>
                    <a:avLst/>
                    <a:gdLst>
                      <a:gd name="T0" fmla="*/ 2147483647 w 153"/>
                      <a:gd name="T1" fmla="*/ 0 h 372"/>
                      <a:gd name="T2" fmla="*/ 2147483647 w 153"/>
                      <a:gd name="T3" fmla="*/ 2147483647 h 372"/>
                      <a:gd name="T4" fmla="*/ 2147483647 w 153"/>
                      <a:gd name="T5" fmla="*/ 2147483647 h 372"/>
                      <a:gd name="T6" fmla="*/ 0 w 153"/>
                      <a:gd name="T7" fmla="*/ 2147483647 h 372"/>
                      <a:gd name="T8" fmla="*/ 0 60000 65536"/>
                      <a:gd name="T9" fmla="*/ 0 60000 65536"/>
                      <a:gd name="T10" fmla="*/ 0 60000 65536"/>
                      <a:gd name="T11" fmla="*/ 0 60000 65536"/>
                      <a:gd name="T12" fmla="*/ 0 w 153"/>
                      <a:gd name="T13" fmla="*/ 0 h 372"/>
                      <a:gd name="T14" fmla="*/ 153 w 153"/>
                      <a:gd name="T15" fmla="*/ 372 h 372"/>
                    </a:gdLst>
                    <a:ahLst/>
                    <a:cxnLst>
                      <a:cxn ang="T8">
                        <a:pos x="T0" y="T1"/>
                      </a:cxn>
                      <a:cxn ang="T9">
                        <a:pos x="T2" y="T3"/>
                      </a:cxn>
                      <a:cxn ang="T10">
                        <a:pos x="T4" y="T5"/>
                      </a:cxn>
                      <a:cxn ang="T11">
                        <a:pos x="T6" y="T7"/>
                      </a:cxn>
                    </a:cxnLst>
                    <a:rect l="T12" t="T13" r="T14" b="T15"/>
                    <a:pathLst>
                      <a:path w="153" h="372">
                        <a:moveTo>
                          <a:pt x="153" y="0"/>
                        </a:moveTo>
                        <a:cubicBezTo>
                          <a:pt x="144" y="5"/>
                          <a:pt x="119" y="4"/>
                          <a:pt x="96" y="33"/>
                        </a:cubicBezTo>
                        <a:cubicBezTo>
                          <a:pt x="73" y="62"/>
                          <a:pt x="32" y="116"/>
                          <a:pt x="16" y="172"/>
                        </a:cubicBezTo>
                        <a:cubicBezTo>
                          <a:pt x="0" y="228"/>
                          <a:pt x="0" y="318"/>
                          <a:pt x="0" y="372"/>
                        </a:cubicBezTo>
                      </a:path>
                    </a:pathLst>
                  </a:custGeom>
                  <a:noFill/>
                  <a:ln w="28575">
                    <a:solidFill>
                      <a:srgbClr val="0070C0"/>
                    </a:solidFill>
                    <a:round/>
                    <a:headEnd/>
                    <a:tailEnd/>
                  </a:ln>
                </p:spPr>
                <p:txBody>
                  <a:bodyPr wrap="none" anchor="ctr"/>
                  <a:lstStyle/>
                  <a:p>
                    <a:pPr algn="ctr"/>
                    <a:endParaRPr lang="pt-BR" sz="700"/>
                  </a:p>
                </p:txBody>
              </p:sp>
              <p:graphicFrame>
                <p:nvGraphicFramePr>
                  <p:cNvPr id="391" name="Object 24"/>
                  <p:cNvGraphicFramePr>
                    <a:graphicFrameLocks noChangeAspect="1"/>
                  </p:cNvGraphicFramePr>
                  <p:nvPr/>
                </p:nvGraphicFramePr>
                <p:xfrm>
                  <a:off x="7755113" y="2640772"/>
                  <a:ext cx="54220" cy="55038"/>
                </p:xfrm>
                <a:graphic>
                  <a:graphicData uri="http://schemas.openxmlformats.org/presentationml/2006/ole">
                    <p:oleObj spid="_x0000_s2098779" r:id="rId6" imgW="312983" imgH="312983" progId="">
                      <p:embed/>
                    </p:oleObj>
                  </a:graphicData>
                </a:graphic>
              </p:graphicFrame>
              <p:sp>
                <p:nvSpPr>
                  <p:cNvPr id="392" name="Text Box 119"/>
                  <p:cNvSpPr txBox="1">
                    <a:spLocks noChangeArrowheads="1"/>
                  </p:cNvSpPr>
                  <p:nvPr/>
                </p:nvSpPr>
                <p:spPr bwMode="auto">
                  <a:xfrm>
                    <a:off x="7307710" y="2437012"/>
                    <a:ext cx="207195" cy="72614"/>
                  </a:xfrm>
                  <a:prstGeom prst="rect">
                    <a:avLst/>
                  </a:prstGeom>
                  <a:noFill/>
                  <a:ln w="9525">
                    <a:noFill/>
                    <a:round/>
                    <a:headEnd/>
                    <a:tailEnd/>
                  </a:ln>
                </p:spPr>
                <p:txBody>
                  <a:bodyPr wrap="none" lIns="0" tIns="0" rIns="0" bIns="0">
                    <a:spAutoFit/>
                  </a:bodyPr>
                  <a:lstStyle/>
                  <a:p>
                    <a:pPr algn="ct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FF0000"/>
                        </a:solidFill>
                        <a:latin typeface="Calibri" pitchFamily="34" charset="0"/>
                      </a:rPr>
                      <a:t>Goiânia</a:t>
                    </a:r>
                  </a:p>
                </p:txBody>
              </p:sp>
              <p:graphicFrame>
                <p:nvGraphicFramePr>
                  <p:cNvPr id="393" name="Object 25"/>
                  <p:cNvGraphicFramePr>
                    <a:graphicFrameLocks noChangeAspect="1"/>
                  </p:cNvGraphicFramePr>
                  <p:nvPr/>
                </p:nvGraphicFramePr>
                <p:xfrm>
                  <a:off x="7477236" y="3126747"/>
                  <a:ext cx="56480" cy="56209"/>
                </p:xfrm>
                <a:graphic>
                  <a:graphicData uri="http://schemas.openxmlformats.org/presentationml/2006/ole">
                    <p:oleObj spid="_x0000_s2098780" r:id="rId7" imgW="312983" imgH="312983" progId="">
                      <p:embed/>
                    </p:oleObj>
                  </a:graphicData>
                </a:graphic>
              </p:graphicFrame>
              <p:graphicFrame>
                <p:nvGraphicFramePr>
                  <p:cNvPr id="394" name="Object 26"/>
                  <p:cNvGraphicFramePr>
                    <a:graphicFrameLocks noChangeAspect="1"/>
                  </p:cNvGraphicFramePr>
                  <p:nvPr/>
                </p:nvGraphicFramePr>
                <p:xfrm>
                  <a:off x="7476107" y="2507274"/>
                  <a:ext cx="50831" cy="52696"/>
                </p:xfrm>
                <a:graphic>
                  <a:graphicData uri="http://schemas.openxmlformats.org/presentationml/2006/ole">
                    <p:oleObj spid="_x0000_s2098781" r:id="rId8" imgW="312983" imgH="312983" progId="">
                      <p:embed/>
                    </p:oleObj>
                  </a:graphicData>
                </a:graphic>
              </p:graphicFrame>
              <p:graphicFrame>
                <p:nvGraphicFramePr>
                  <p:cNvPr id="395" name="Object 27"/>
                  <p:cNvGraphicFramePr>
                    <a:graphicFrameLocks noChangeAspect="1"/>
                  </p:cNvGraphicFramePr>
                  <p:nvPr/>
                </p:nvGraphicFramePr>
                <p:xfrm>
                  <a:off x="7576638" y="2686441"/>
                  <a:ext cx="50832" cy="52697"/>
                </p:xfrm>
                <a:graphic>
                  <a:graphicData uri="http://schemas.openxmlformats.org/presentationml/2006/ole">
                    <p:oleObj spid="_x0000_s2098782" r:id="rId9" imgW="312983" imgH="312983" progId="">
                      <p:embed/>
                    </p:oleObj>
                  </a:graphicData>
                </a:graphic>
              </p:graphicFrame>
              <p:graphicFrame>
                <p:nvGraphicFramePr>
                  <p:cNvPr id="396" name="Object 28"/>
                  <p:cNvGraphicFramePr>
                    <a:graphicFrameLocks noChangeAspect="1"/>
                  </p:cNvGraphicFramePr>
                  <p:nvPr/>
                </p:nvGraphicFramePr>
                <p:xfrm>
                  <a:off x="8448678" y="1865551"/>
                  <a:ext cx="50832" cy="52696"/>
                </p:xfrm>
                <a:graphic>
                  <a:graphicData uri="http://schemas.openxmlformats.org/presentationml/2006/ole">
                    <p:oleObj spid="_x0000_s2098783" r:id="rId10" imgW="312983" imgH="312983" progId="">
                      <p:embed/>
                    </p:oleObj>
                  </a:graphicData>
                </a:graphic>
              </p:graphicFrame>
              <p:graphicFrame>
                <p:nvGraphicFramePr>
                  <p:cNvPr id="397" name="Object 29"/>
                  <p:cNvGraphicFramePr>
                    <a:graphicFrameLocks noChangeAspect="1"/>
                  </p:cNvGraphicFramePr>
                  <p:nvPr/>
                </p:nvGraphicFramePr>
                <p:xfrm>
                  <a:off x="8398976" y="1967429"/>
                  <a:ext cx="51961" cy="52697"/>
                </p:xfrm>
                <a:graphic>
                  <a:graphicData uri="http://schemas.openxmlformats.org/presentationml/2006/ole">
                    <p:oleObj spid="_x0000_s2098784" r:id="rId11" imgW="312983" imgH="312983" progId="">
                      <p:embed/>
                    </p:oleObj>
                  </a:graphicData>
                </a:graphic>
              </p:graphicFrame>
              <p:graphicFrame>
                <p:nvGraphicFramePr>
                  <p:cNvPr id="398" name="Object 30"/>
                  <p:cNvGraphicFramePr>
                    <a:graphicFrameLocks noChangeAspect="1"/>
                  </p:cNvGraphicFramePr>
                  <p:nvPr/>
                </p:nvGraphicFramePr>
                <p:xfrm>
                  <a:off x="7668135" y="3001448"/>
                  <a:ext cx="54220" cy="55038"/>
                </p:xfrm>
                <a:graphic>
                  <a:graphicData uri="http://schemas.openxmlformats.org/presentationml/2006/ole">
                    <p:oleObj spid="_x0000_s2098785" r:id="rId12" imgW="312983" imgH="312983" progId="">
                      <p:embed/>
                    </p:oleObj>
                  </a:graphicData>
                </a:graphic>
              </p:graphicFrame>
              <p:graphicFrame>
                <p:nvGraphicFramePr>
                  <p:cNvPr id="399" name="Object 31"/>
                  <p:cNvGraphicFramePr>
                    <a:graphicFrameLocks noChangeAspect="1"/>
                  </p:cNvGraphicFramePr>
                  <p:nvPr/>
                </p:nvGraphicFramePr>
                <p:xfrm>
                  <a:off x="7474976" y="3337533"/>
                  <a:ext cx="55350" cy="56209"/>
                </p:xfrm>
                <a:graphic>
                  <a:graphicData uri="http://schemas.openxmlformats.org/presentationml/2006/ole">
                    <p:oleObj spid="_x0000_s2098786" r:id="rId13" imgW="312983" imgH="312983" progId="">
                      <p:embed/>
                    </p:oleObj>
                  </a:graphicData>
                </a:graphic>
              </p:graphicFrame>
              <p:sp>
                <p:nvSpPr>
                  <p:cNvPr id="400" name="Text Box 136"/>
                  <p:cNvSpPr txBox="1">
                    <a:spLocks noChangeArrowheads="1"/>
                  </p:cNvSpPr>
                  <p:nvPr/>
                </p:nvSpPr>
                <p:spPr bwMode="auto">
                  <a:xfrm>
                    <a:off x="7526938" y="1350297"/>
                    <a:ext cx="145845" cy="61327"/>
                  </a:xfrm>
                  <a:prstGeom prst="rect">
                    <a:avLst/>
                  </a:prstGeom>
                  <a:noFill/>
                  <a:ln w="9525">
                    <a:noFill/>
                    <a:round/>
                    <a:headEnd/>
                    <a:tailEnd/>
                  </a:ln>
                </p:spPr>
                <p:txBody>
                  <a:bodyPr wrap="none" lIns="0" tIns="0" rIns="0" bIns="0">
                    <a:spAutoFit/>
                  </a:bodyPr>
                  <a:lstStyle/>
                  <a:p>
                    <a:pPr algn="ct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dirty="0" err="1">
                        <a:solidFill>
                          <a:srgbClr val="FFC000"/>
                        </a:solidFill>
                        <a:latin typeface="Calibri" pitchFamily="34" charset="0"/>
                      </a:rPr>
                      <a:t>Belém</a:t>
                    </a:r>
                    <a:endParaRPr lang="en-GB" sz="900" dirty="0">
                      <a:solidFill>
                        <a:srgbClr val="FFC000"/>
                      </a:solidFill>
                      <a:latin typeface="Calibri" pitchFamily="34" charset="0"/>
                    </a:endParaRPr>
                  </a:p>
                </p:txBody>
              </p:sp>
              <p:sp>
                <p:nvSpPr>
                  <p:cNvPr id="401" name="Text Box 117"/>
                  <p:cNvSpPr txBox="1">
                    <a:spLocks noChangeArrowheads="1"/>
                  </p:cNvSpPr>
                  <p:nvPr/>
                </p:nvSpPr>
                <p:spPr bwMode="auto">
                  <a:xfrm>
                    <a:off x="7686630" y="2594903"/>
                    <a:ext cx="239699" cy="110800"/>
                  </a:xfrm>
                  <a:prstGeom prst="rect">
                    <a:avLst/>
                  </a:prstGeom>
                  <a:noFill/>
                  <a:ln w="9525">
                    <a:noFill/>
                    <a:round/>
                    <a:headEnd/>
                    <a:tailEnd/>
                  </a:ln>
                </p:spPr>
                <p:txBody>
                  <a:bodyPr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dirty="0" smtClean="0">
                        <a:solidFill>
                          <a:srgbClr val="000000"/>
                        </a:solidFill>
                        <a:latin typeface="Calibri" pitchFamily="34" charset="0"/>
                      </a:rPr>
                      <a:t>BHE</a:t>
                    </a:r>
                    <a:endParaRPr lang="en-GB" sz="900" dirty="0">
                      <a:solidFill>
                        <a:srgbClr val="000000"/>
                      </a:solidFill>
                      <a:latin typeface="Calibri" pitchFamily="34" charset="0"/>
                    </a:endParaRPr>
                  </a:p>
                </p:txBody>
              </p:sp>
              <p:graphicFrame>
                <p:nvGraphicFramePr>
                  <p:cNvPr id="402" name="Object 33"/>
                  <p:cNvGraphicFramePr>
                    <a:graphicFrameLocks noChangeAspect="1"/>
                  </p:cNvGraphicFramePr>
                  <p:nvPr/>
                </p:nvGraphicFramePr>
                <p:xfrm>
                  <a:off x="6466259" y="1959232"/>
                  <a:ext cx="51961" cy="53867"/>
                </p:xfrm>
                <a:graphic>
                  <a:graphicData uri="http://schemas.openxmlformats.org/presentationml/2006/ole">
                    <p:oleObj spid="_x0000_s2098787" r:id="rId14" imgW="312983" imgH="312983" progId="">
                      <p:embed/>
                    </p:oleObj>
                  </a:graphicData>
                </a:graphic>
              </p:graphicFrame>
              <p:graphicFrame>
                <p:nvGraphicFramePr>
                  <p:cNvPr id="403" name="Object 34"/>
                  <p:cNvGraphicFramePr>
                    <a:graphicFrameLocks noChangeAspect="1"/>
                  </p:cNvGraphicFramePr>
                  <p:nvPr/>
                </p:nvGraphicFramePr>
                <p:xfrm>
                  <a:off x="6578087" y="1638371"/>
                  <a:ext cx="50832" cy="52696"/>
                </p:xfrm>
                <a:graphic>
                  <a:graphicData uri="http://schemas.openxmlformats.org/presentationml/2006/ole">
                    <p:oleObj spid="_x0000_s2098788" r:id="rId15" imgW="312983" imgH="312983" progId="">
                      <p:embed/>
                    </p:oleObj>
                  </a:graphicData>
                </a:graphic>
              </p:graphicFrame>
              <p:graphicFrame>
                <p:nvGraphicFramePr>
                  <p:cNvPr id="404" name="Object 35"/>
                  <p:cNvGraphicFramePr>
                    <a:graphicFrameLocks noChangeAspect="1"/>
                  </p:cNvGraphicFramePr>
                  <p:nvPr/>
                </p:nvGraphicFramePr>
                <p:xfrm>
                  <a:off x="6628919" y="1262471"/>
                  <a:ext cx="51961" cy="53867"/>
                </p:xfrm>
                <a:graphic>
                  <a:graphicData uri="http://schemas.openxmlformats.org/presentationml/2006/ole">
                    <p:oleObj spid="_x0000_s2098789" r:id="rId16" imgW="312983" imgH="312983" progId="">
                      <p:embed/>
                    </p:oleObj>
                  </a:graphicData>
                </a:graphic>
              </p:graphicFrame>
              <p:graphicFrame>
                <p:nvGraphicFramePr>
                  <p:cNvPr id="405" name="Object 36"/>
                  <p:cNvGraphicFramePr>
                    <a:graphicFrameLocks noChangeAspect="1"/>
                  </p:cNvGraphicFramePr>
                  <p:nvPr/>
                </p:nvGraphicFramePr>
                <p:xfrm>
                  <a:off x="7294243" y="1247247"/>
                  <a:ext cx="51961" cy="52696"/>
                </p:xfrm>
                <a:graphic>
                  <a:graphicData uri="http://schemas.openxmlformats.org/presentationml/2006/ole">
                    <p:oleObj spid="_x0000_s2098790" r:id="rId17" imgW="312983" imgH="312983" progId="">
                      <p:embed/>
                    </p:oleObj>
                  </a:graphicData>
                </a:graphic>
              </p:graphicFrame>
              <p:graphicFrame>
                <p:nvGraphicFramePr>
                  <p:cNvPr id="406" name="Object 37"/>
                  <p:cNvGraphicFramePr>
                    <a:graphicFrameLocks noChangeAspect="1"/>
                  </p:cNvGraphicFramePr>
                  <p:nvPr/>
                </p:nvGraphicFramePr>
                <p:xfrm>
                  <a:off x="7572121" y="2393683"/>
                  <a:ext cx="50832" cy="52697"/>
                </p:xfrm>
                <a:graphic>
                  <a:graphicData uri="http://schemas.openxmlformats.org/presentationml/2006/ole">
                    <p:oleObj spid="_x0000_s2098791" r:id="rId18" imgW="312983" imgH="312983" progId="">
                      <p:embed/>
                    </p:oleObj>
                  </a:graphicData>
                </a:graphic>
              </p:graphicFrame>
              <p:graphicFrame>
                <p:nvGraphicFramePr>
                  <p:cNvPr id="407" name="Object 38"/>
                  <p:cNvGraphicFramePr>
                    <a:graphicFrameLocks noChangeAspect="1"/>
                  </p:cNvGraphicFramePr>
                  <p:nvPr/>
                </p:nvGraphicFramePr>
                <p:xfrm>
                  <a:off x="7502086" y="1433440"/>
                  <a:ext cx="51961" cy="56209"/>
                </p:xfrm>
                <a:graphic>
                  <a:graphicData uri="http://schemas.openxmlformats.org/presentationml/2006/ole">
                    <p:oleObj spid="_x0000_s2098792" r:id="rId19" imgW="312983" imgH="312983" progId="">
                      <p:embed/>
                    </p:oleObj>
                  </a:graphicData>
                </a:graphic>
              </p:graphicFrame>
              <p:graphicFrame>
                <p:nvGraphicFramePr>
                  <p:cNvPr id="408" name="Object 39"/>
                  <p:cNvGraphicFramePr>
                    <a:graphicFrameLocks noChangeAspect="1"/>
                  </p:cNvGraphicFramePr>
                  <p:nvPr/>
                </p:nvGraphicFramePr>
                <p:xfrm>
                  <a:off x="7922291" y="2946409"/>
                  <a:ext cx="54220" cy="55039"/>
                </p:xfrm>
                <a:graphic>
                  <a:graphicData uri="http://schemas.openxmlformats.org/presentationml/2006/ole">
                    <p:oleObj spid="_x0000_s2098793" r:id="rId20" imgW="312983" imgH="312983" progId="">
                      <p:embed/>
                    </p:oleObj>
                  </a:graphicData>
                </a:graphic>
              </p:graphicFrame>
              <p:graphicFrame>
                <p:nvGraphicFramePr>
                  <p:cNvPr id="409" name="Object 40"/>
                  <p:cNvGraphicFramePr>
                    <a:graphicFrameLocks noChangeAspect="1"/>
                  </p:cNvGraphicFramePr>
                  <p:nvPr/>
                </p:nvGraphicFramePr>
                <p:xfrm>
                  <a:off x="7547270" y="2809399"/>
                  <a:ext cx="51961" cy="52696"/>
                </p:xfrm>
                <a:graphic>
                  <a:graphicData uri="http://schemas.openxmlformats.org/presentationml/2006/ole">
                    <p:oleObj spid="_x0000_s2098794" r:id="rId21" imgW="312983" imgH="312983" progId="">
                      <p:embed/>
                    </p:oleObj>
                  </a:graphicData>
                </a:graphic>
              </p:graphicFrame>
              <p:graphicFrame>
                <p:nvGraphicFramePr>
                  <p:cNvPr id="410" name="Object 41"/>
                  <p:cNvGraphicFramePr>
                    <a:graphicFrameLocks noChangeAspect="1"/>
                  </p:cNvGraphicFramePr>
                  <p:nvPr/>
                </p:nvGraphicFramePr>
                <p:xfrm>
                  <a:off x="7355241" y="3441755"/>
                  <a:ext cx="56480" cy="56209"/>
                </p:xfrm>
                <a:graphic>
                  <a:graphicData uri="http://schemas.openxmlformats.org/presentationml/2006/ole">
                    <p:oleObj spid="_x0000_s2098795" r:id="rId22" imgW="312983" imgH="312983" progId="">
                      <p:embed/>
                    </p:oleObj>
                  </a:graphicData>
                </a:graphic>
              </p:graphicFrame>
              <p:graphicFrame>
                <p:nvGraphicFramePr>
                  <p:cNvPr id="411" name="Object 42"/>
                  <p:cNvGraphicFramePr>
                    <a:graphicFrameLocks noChangeAspect="1"/>
                  </p:cNvGraphicFramePr>
                  <p:nvPr/>
                </p:nvGraphicFramePr>
                <p:xfrm>
                  <a:off x="8153857" y="1565766"/>
                  <a:ext cx="51961" cy="52696"/>
                </p:xfrm>
                <a:graphic>
                  <a:graphicData uri="http://schemas.openxmlformats.org/presentationml/2006/ole">
                    <p:oleObj spid="_x0000_s2098796" r:id="rId23" imgW="312983" imgH="312983" progId="">
                      <p:embed/>
                    </p:oleObj>
                  </a:graphicData>
                </a:graphic>
              </p:graphicFrame>
              <p:sp>
                <p:nvSpPr>
                  <p:cNvPr id="412" name="Oval 411"/>
                  <p:cNvSpPr/>
                  <p:nvPr/>
                </p:nvSpPr>
                <p:spPr bwMode="auto">
                  <a:xfrm>
                    <a:off x="8408418" y="1983165"/>
                    <a:ext cx="37370" cy="40810"/>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graphicFrame>
                <p:nvGraphicFramePr>
                  <p:cNvPr id="413" name="Object 43"/>
                  <p:cNvGraphicFramePr>
                    <a:graphicFrameLocks noChangeAspect="1"/>
                  </p:cNvGraphicFramePr>
                  <p:nvPr/>
                </p:nvGraphicFramePr>
                <p:xfrm>
                  <a:off x="8300703" y="2119663"/>
                  <a:ext cx="51961" cy="52697"/>
                </p:xfrm>
                <a:graphic>
                  <a:graphicData uri="http://schemas.openxmlformats.org/presentationml/2006/ole">
                    <p:oleObj spid="_x0000_s2098797" r:id="rId24" imgW="312983" imgH="312983" progId="">
                      <p:embed/>
                    </p:oleObj>
                  </a:graphicData>
                </a:graphic>
              </p:graphicFrame>
              <p:sp>
                <p:nvSpPr>
                  <p:cNvPr id="414" name="Oval 413"/>
                  <p:cNvSpPr/>
                  <p:nvPr/>
                </p:nvSpPr>
                <p:spPr bwMode="auto">
                  <a:xfrm>
                    <a:off x="8309866" y="2136283"/>
                    <a:ext cx="38865" cy="41116"/>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15" name="Text Box 132"/>
                  <p:cNvSpPr txBox="1">
                    <a:spLocks noChangeArrowheads="1"/>
                  </p:cNvSpPr>
                  <p:nvPr/>
                </p:nvSpPr>
                <p:spPr bwMode="auto">
                  <a:xfrm>
                    <a:off x="8370736" y="2125519"/>
                    <a:ext cx="254156" cy="80801"/>
                  </a:xfrm>
                  <a:prstGeom prst="rect">
                    <a:avLst/>
                  </a:prstGeom>
                  <a:noFill/>
                  <a:ln w="9525">
                    <a:noFill/>
                    <a:round/>
                    <a:headEnd/>
                    <a:tailEnd/>
                  </a:ln>
                </p:spPr>
                <p:txBody>
                  <a:bodyPr wrap="none" lIns="0" tIns="0" rIns="0" bIns="0">
                    <a:spAutoFit/>
                  </a:bodyPr>
                  <a:lstStyle/>
                  <a:p>
                    <a:pPr algn="ct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Aracaju</a:t>
                    </a:r>
                  </a:p>
                </p:txBody>
              </p:sp>
              <p:sp>
                <p:nvSpPr>
                  <p:cNvPr id="416" name="Oval 415"/>
                  <p:cNvSpPr/>
                  <p:nvPr/>
                </p:nvSpPr>
                <p:spPr bwMode="auto">
                  <a:xfrm>
                    <a:off x="8105328" y="1822062"/>
                    <a:ext cx="37733" cy="41116"/>
                  </a:xfrm>
                  <a:prstGeom prst="ellipse">
                    <a:avLst/>
                  </a:prstGeom>
                  <a:solidFill>
                    <a:srgbClr val="FF0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17" name="Oval 416"/>
                  <p:cNvSpPr/>
                  <p:nvPr/>
                </p:nvSpPr>
                <p:spPr bwMode="auto">
                  <a:xfrm>
                    <a:off x="7568518" y="2095422"/>
                    <a:ext cx="38865" cy="41798"/>
                  </a:xfrm>
                  <a:prstGeom prst="ellipse">
                    <a:avLst/>
                  </a:prstGeom>
                  <a:solidFill>
                    <a:srgbClr val="FF0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18" name="Oval 417"/>
                  <p:cNvSpPr/>
                  <p:nvPr/>
                </p:nvSpPr>
                <p:spPr bwMode="auto">
                  <a:xfrm>
                    <a:off x="7304099" y="1263689"/>
                    <a:ext cx="37370" cy="42118"/>
                  </a:xfrm>
                  <a:prstGeom prst="ellipse">
                    <a:avLst/>
                  </a:prstGeom>
                  <a:solidFill>
                    <a:srgbClr val="FF0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19" name="Oval 418"/>
                  <p:cNvSpPr/>
                  <p:nvPr/>
                </p:nvSpPr>
                <p:spPr bwMode="auto">
                  <a:xfrm>
                    <a:off x="6639204" y="1277155"/>
                    <a:ext cx="37733" cy="40811"/>
                  </a:xfrm>
                  <a:prstGeom prst="ellipse">
                    <a:avLst/>
                  </a:prstGeom>
                  <a:solidFill>
                    <a:srgbClr val="FF0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20" name="Oval 419"/>
                  <p:cNvSpPr/>
                  <p:nvPr/>
                </p:nvSpPr>
                <p:spPr bwMode="auto">
                  <a:xfrm>
                    <a:off x="6585186" y="1654541"/>
                    <a:ext cx="37733" cy="42118"/>
                  </a:xfrm>
                  <a:prstGeom prst="ellipse">
                    <a:avLst/>
                  </a:prstGeom>
                  <a:solidFill>
                    <a:srgbClr val="FF0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21" name="Oval 420"/>
                  <p:cNvSpPr/>
                  <p:nvPr/>
                </p:nvSpPr>
                <p:spPr bwMode="auto">
                  <a:xfrm>
                    <a:off x="6473742" y="1978040"/>
                    <a:ext cx="38865" cy="41797"/>
                  </a:xfrm>
                  <a:prstGeom prst="ellipse">
                    <a:avLst/>
                  </a:prstGeom>
                  <a:solidFill>
                    <a:srgbClr val="FF0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22" name="Oval 421"/>
                  <p:cNvSpPr/>
                  <p:nvPr/>
                </p:nvSpPr>
                <p:spPr bwMode="auto">
                  <a:xfrm>
                    <a:off x="6990694" y="2294671"/>
                    <a:ext cx="37733" cy="41368"/>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23" name="Oval 422"/>
                  <p:cNvSpPr/>
                  <p:nvPr/>
                </p:nvSpPr>
                <p:spPr bwMode="auto">
                  <a:xfrm>
                    <a:off x="7582504" y="2413600"/>
                    <a:ext cx="37370" cy="41858"/>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24" name="Oval 423"/>
                  <p:cNvSpPr/>
                  <p:nvPr/>
                </p:nvSpPr>
                <p:spPr bwMode="auto">
                  <a:xfrm>
                    <a:off x="7587030" y="2703400"/>
                    <a:ext cx="37733" cy="41115"/>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25" name="Oval 424"/>
                  <p:cNvSpPr/>
                  <p:nvPr/>
                </p:nvSpPr>
                <p:spPr bwMode="auto">
                  <a:xfrm>
                    <a:off x="7485960" y="2524283"/>
                    <a:ext cx="37733" cy="41368"/>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26" name="Oval 425"/>
                  <p:cNvSpPr/>
                  <p:nvPr/>
                </p:nvSpPr>
                <p:spPr bwMode="auto">
                  <a:xfrm>
                    <a:off x="7632329" y="2980535"/>
                    <a:ext cx="37370" cy="41623"/>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27" name="Oval 426"/>
                  <p:cNvSpPr/>
                  <p:nvPr/>
                </p:nvSpPr>
                <p:spPr bwMode="auto">
                  <a:xfrm>
                    <a:off x="7486249" y="3355481"/>
                    <a:ext cx="37370" cy="41062"/>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28" name="Oval 427"/>
                  <p:cNvSpPr/>
                  <p:nvPr/>
                </p:nvSpPr>
                <p:spPr bwMode="auto">
                  <a:xfrm>
                    <a:off x="7370077" y="3458961"/>
                    <a:ext cx="37733" cy="41116"/>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29" name="Oval 428"/>
                  <p:cNvSpPr/>
                  <p:nvPr/>
                </p:nvSpPr>
                <p:spPr bwMode="auto">
                  <a:xfrm>
                    <a:off x="7863518" y="2972745"/>
                    <a:ext cx="37733" cy="41116"/>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30" name="Oval 429"/>
                  <p:cNvSpPr/>
                  <p:nvPr/>
                </p:nvSpPr>
                <p:spPr bwMode="auto">
                  <a:xfrm>
                    <a:off x="8175754" y="2246041"/>
                    <a:ext cx="38865" cy="41369"/>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31" name="Oval 430"/>
                  <p:cNvSpPr/>
                  <p:nvPr/>
                </p:nvSpPr>
                <p:spPr bwMode="auto">
                  <a:xfrm>
                    <a:off x="8104019" y="2418067"/>
                    <a:ext cx="37733" cy="41623"/>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32" name="Oval 431"/>
                  <p:cNvSpPr/>
                  <p:nvPr/>
                </p:nvSpPr>
                <p:spPr bwMode="auto">
                  <a:xfrm>
                    <a:off x="7957150" y="2612759"/>
                    <a:ext cx="37370" cy="41116"/>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33" name="Oval 432"/>
                  <p:cNvSpPr/>
                  <p:nvPr/>
                </p:nvSpPr>
                <p:spPr bwMode="auto">
                  <a:xfrm>
                    <a:off x="7883436" y="2503977"/>
                    <a:ext cx="38865" cy="41622"/>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34" name="Oval 433"/>
                  <p:cNvSpPr/>
                  <p:nvPr/>
                </p:nvSpPr>
                <p:spPr bwMode="auto">
                  <a:xfrm>
                    <a:off x="7868565" y="2837744"/>
                    <a:ext cx="37370" cy="41116"/>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35" name="Oval 434"/>
                  <p:cNvSpPr/>
                  <p:nvPr/>
                </p:nvSpPr>
                <p:spPr bwMode="auto">
                  <a:xfrm>
                    <a:off x="7381698" y="3301932"/>
                    <a:ext cx="38865" cy="41062"/>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36" name="Oval 435"/>
                  <p:cNvSpPr/>
                  <p:nvPr/>
                </p:nvSpPr>
                <p:spPr bwMode="auto">
                  <a:xfrm>
                    <a:off x="7465076" y="3275151"/>
                    <a:ext cx="37370" cy="41063"/>
                  </a:xfrm>
                  <a:prstGeom prst="ellipse">
                    <a:avLst/>
                  </a:prstGeom>
                  <a:solidFill>
                    <a:srgbClr val="FF0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37" name="Oval 436"/>
                  <p:cNvSpPr/>
                  <p:nvPr/>
                </p:nvSpPr>
                <p:spPr bwMode="auto">
                  <a:xfrm>
                    <a:off x="7700340" y="3044442"/>
                    <a:ext cx="37733" cy="40811"/>
                  </a:xfrm>
                  <a:prstGeom prst="ellipse">
                    <a:avLst/>
                  </a:prstGeom>
                  <a:solidFill>
                    <a:srgbClr val="FF0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38" name="Oval 437"/>
                  <p:cNvSpPr/>
                  <p:nvPr/>
                </p:nvSpPr>
                <p:spPr bwMode="auto">
                  <a:xfrm>
                    <a:off x="7728741" y="2998912"/>
                    <a:ext cx="37370" cy="41798"/>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39" name="Text Box 135"/>
                  <p:cNvSpPr txBox="1">
                    <a:spLocks noChangeArrowheads="1"/>
                  </p:cNvSpPr>
                  <p:nvPr/>
                </p:nvSpPr>
                <p:spPr bwMode="auto">
                  <a:xfrm>
                    <a:off x="7791260" y="1397140"/>
                    <a:ext cx="265453" cy="80801"/>
                  </a:xfrm>
                  <a:prstGeom prst="rect">
                    <a:avLst/>
                  </a:prstGeom>
                  <a:noFill/>
                  <a:ln w="9525">
                    <a:noFill/>
                    <a:round/>
                    <a:headEnd/>
                    <a:tailEnd/>
                  </a:ln>
                </p:spPr>
                <p:txBody>
                  <a:bodyPr wrap="none" lIns="0" tIns="0" rIns="0" bIns="0">
                    <a:spAutoFit/>
                  </a:bodyPr>
                  <a:lstStyle/>
                  <a:p>
                    <a:pPr algn="ct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dirty="0">
                        <a:solidFill>
                          <a:srgbClr val="000000"/>
                        </a:solidFill>
                        <a:latin typeface="Calibri" pitchFamily="34" charset="0"/>
                      </a:rPr>
                      <a:t>São Luis</a:t>
                    </a:r>
                  </a:p>
                </p:txBody>
              </p:sp>
              <p:sp>
                <p:nvSpPr>
                  <p:cNvPr id="440" name="Text Box 135"/>
                  <p:cNvSpPr txBox="1">
                    <a:spLocks noChangeArrowheads="1"/>
                  </p:cNvSpPr>
                  <p:nvPr/>
                </p:nvSpPr>
                <p:spPr bwMode="auto">
                  <a:xfrm>
                    <a:off x="8441899" y="1614950"/>
                    <a:ext cx="181864" cy="80801"/>
                  </a:xfrm>
                  <a:prstGeom prst="rect">
                    <a:avLst/>
                  </a:prstGeom>
                  <a:noFill/>
                  <a:ln w="9525">
                    <a:noFill/>
                    <a:round/>
                    <a:headEnd/>
                    <a:tailEnd/>
                  </a:ln>
                </p:spPr>
                <p:txBody>
                  <a:bodyPr wrap="none" lIns="0" tIns="0" rIns="0" bIns="0">
                    <a:spAutoFit/>
                  </a:bodyPr>
                  <a:lstStyle/>
                  <a:p>
                    <a:pPr algn="ct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Natal</a:t>
                    </a:r>
                  </a:p>
                </p:txBody>
              </p:sp>
              <p:sp>
                <p:nvSpPr>
                  <p:cNvPr id="441" name="Text Box 135"/>
                  <p:cNvSpPr txBox="1">
                    <a:spLocks noChangeArrowheads="1"/>
                  </p:cNvSpPr>
                  <p:nvPr/>
                </p:nvSpPr>
                <p:spPr bwMode="auto">
                  <a:xfrm>
                    <a:off x="7309572" y="2079262"/>
                    <a:ext cx="240601" cy="80801"/>
                  </a:xfrm>
                  <a:prstGeom prst="rect">
                    <a:avLst/>
                  </a:prstGeom>
                  <a:noFill/>
                  <a:ln w="9525">
                    <a:noFill/>
                    <a:round/>
                    <a:headEnd/>
                    <a:tailEnd/>
                  </a:ln>
                </p:spPr>
                <p:txBody>
                  <a:bodyPr wrap="none" lIns="0" tIns="0" rIns="0" bIns="0">
                    <a:spAutoFit/>
                  </a:bodyPr>
                  <a:lstStyle/>
                  <a:p>
                    <a:pPr algn="ct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Palmas</a:t>
                    </a:r>
                  </a:p>
                </p:txBody>
              </p:sp>
              <p:sp>
                <p:nvSpPr>
                  <p:cNvPr id="442" name="Text Box 123"/>
                  <p:cNvSpPr txBox="1">
                    <a:spLocks noChangeArrowheads="1"/>
                  </p:cNvSpPr>
                  <p:nvPr/>
                </p:nvSpPr>
                <p:spPr bwMode="auto">
                  <a:xfrm>
                    <a:off x="8086626" y="2791791"/>
                    <a:ext cx="183082" cy="72614"/>
                  </a:xfrm>
                  <a:prstGeom prst="rect">
                    <a:avLst/>
                  </a:prstGeom>
                  <a:noFill/>
                  <a:ln w="9525">
                    <a:noFill/>
                    <a:round/>
                    <a:headEnd/>
                    <a:tailEnd/>
                  </a:ln>
                </p:spPr>
                <p:txBody>
                  <a:bodyPr wrap="none" lIns="0" tIns="0" rIns="0" bIns="0">
                    <a:spAutoFit/>
                  </a:bodyPr>
                  <a:lstStyle/>
                  <a:p>
                    <a:pPr algn="ctr" defTabSz="457200">
                      <a:lnSpc>
                        <a:spcPct val="80000"/>
                      </a:lnSpc>
                      <a:buClr>
                        <a:srgbClr val="000000"/>
                      </a:buClr>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FF0000"/>
                        </a:solidFill>
                        <a:latin typeface="Calibri" pitchFamily="34" charset="0"/>
                      </a:rPr>
                      <a:t>Vitoria</a:t>
                    </a:r>
                  </a:p>
                </p:txBody>
              </p:sp>
              <p:sp>
                <p:nvSpPr>
                  <p:cNvPr id="443" name="Text Box 135"/>
                  <p:cNvSpPr txBox="1">
                    <a:spLocks noChangeArrowheads="1"/>
                  </p:cNvSpPr>
                  <p:nvPr/>
                </p:nvSpPr>
                <p:spPr bwMode="auto">
                  <a:xfrm>
                    <a:off x="7740428" y="1750789"/>
                    <a:ext cx="279007" cy="80801"/>
                  </a:xfrm>
                  <a:prstGeom prst="rect">
                    <a:avLst/>
                  </a:prstGeom>
                  <a:noFill/>
                  <a:ln w="9525">
                    <a:noFill/>
                    <a:round/>
                    <a:headEnd/>
                    <a:tailEnd/>
                  </a:ln>
                </p:spPr>
                <p:txBody>
                  <a:bodyPr wrap="none" lIns="0" tIns="0" rIns="0" bIns="0">
                    <a:spAutoFit/>
                  </a:bodyPr>
                  <a:lstStyle/>
                  <a:p>
                    <a:pPr algn="ct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Teresina</a:t>
                    </a:r>
                  </a:p>
                </p:txBody>
              </p:sp>
              <p:sp>
                <p:nvSpPr>
                  <p:cNvPr id="444" name="Text Box 122"/>
                  <p:cNvSpPr txBox="1">
                    <a:spLocks noChangeArrowheads="1"/>
                  </p:cNvSpPr>
                  <p:nvPr/>
                </p:nvSpPr>
                <p:spPr bwMode="auto">
                  <a:xfrm>
                    <a:off x="5994095" y="2162991"/>
                    <a:ext cx="354689" cy="80801"/>
                  </a:xfrm>
                  <a:prstGeom prst="rect">
                    <a:avLst/>
                  </a:prstGeom>
                  <a:noFill/>
                  <a:ln w="9525">
                    <a:noFill/>
                    <a:round/>
                    <a:headEnd/>
                    <a:tailEnd/>
                  </a:ln>
                </p:spPr>
                <p:txBody>
                  <a:bodyPr wrap="none" lIns="0" tIns="0" rIns="0" bIns="0">
                    <a:spAutoFit/>
                  </a:bodyPr>
                  <a:lstStyle/>
                  <a:p>
                    <a:pPr algn="ctr" defTabSz="457200">
                      <a:lnSpc>
                        <a:spcPct val="80000"/>
                      </a:lnSpc>
                      <a:buClr>
                        <a:srgbClr val="000000"/>
                      </a:buClr>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Rio Branco</a:t>
                    </a:r>
                  </a:p>
                </p:txBody>
              </p:sp>
              <p:sp>
                <p:nvSpPr>
                  <p:cNvPr id="445" name="Freeform 63"/>
                  <p:cNvSpPr>
                    <a:spLocks noChangeArrowheads="1"/>
                  </p:cNvSpPr>
                  <p:nvPr/>
                </p:nvSpPr>
                <p:spPr bwMode="auto">
                  <a:xfrm>
                    <a:off x="7618878" y="2986849"/>
                    <a:ext cx="78541" cy="51146"/>
                  </a:xfrm>
                  <a:custGeom>
                    <a:avLst/>
                    <a:gdLst>
                      <a:gd name="T0" fmla="*/ 190582785 w 51"/>
                      <a:gd name="T1" fmla="*/ 0 h 31"/>
                      <a:gd name="T2" fmla="*/ 0 w 51"/>
                      <a:gd name="T3" fmla="*/ 216449299 h 31"/>
                      <a:gd name="T4" fmla="*/ 462842688 w 51"/>
                      <a:gd name="T5" fmla="*/ 248515327 h 31"/>
                      <a:gd name="T6" fmla="*/ 0 60000 65536"/>
                      <a:gd name="T7" fmla="*/ 0 60000 65536"/>
                      <a:gd name="T8" fmla="*/ 0 60000 65536"/>
                      <a:gd name="T9" fmla="*/ 0 w 51"/>
                      <a:gd name="T10" fmla="*/ 0 h 31"/>
                      <a:gd name="T11" fmla="*/ 51 w 51"/>
                      <a:gd name="T12" fmla="*/ 31 h 31"/>
                    </a:gdLst>
                    <a:ahLst/>
                    <a:cxnLst>
                      <a:cxn ang="T6">
                        <a:pos x="T0" y="T1"/>
                      </a:cxn>
                      <a:cxn ang="T7">
                        <a:pos x="T2" y="T3"/>
                      </a:cxn>
                      <a:cxn ang="T8">
                        <a:pos x="T4" y="T5"/>
                      </a:cxn>
                    </a:cxnLst>
                    <a:rect l="T9" t="T10" r="T11" b="T12"/>
                    <a:pathLst>
                      <a:path w="51" h="31">
                        <a:moveTo>
                          <a:pt x="21" y="0"/>
                        </a:moveTo>
                        <a:cubicBezTo>
                          <a:pt x="16" y="9"/>
                          <a:pt x="5" y="18"/>
                          <a:pt x="0" y="27"/>
                        </a:cubicBezTo>
                        <a:cubicBezTo>
                          <a:pt x="17" y="28"/>
                          <a:pt x="34" y="30"/>
                          <a:pt x="51" y="31"/>
                        </a:cubicBezTo>
                      </a:path>
                    </a:pathLst>
                  </a:custGeom>
                  <a:noFill/>
                  <a:ln w="28575">
                    <a:solidFill>
                      <a:schemeClr val="accent4">
                        <a:lumMod val="65000"/>
                        <a:lumOff val="35000"/>
                      </a:schemeClr>
                    </a:solidFill>
                    <a:round/>
                    <a:headEnd/>
                    <a:tailEnd/>
                  </a:ln>
                </p:spPr>
                <p:txBody>
                  <a:bodyPr wrap="none" anchor="ctr"/>
                  <a:lstStyle/>
                  <a:p>
                    <a:pPr algn="ctr">
                      <a:defRPr/>
                    </a:pPr>
                    <a:endParaRPr lang="pt-BR" sz="700">
                      <a:latin typeface="Arial" charset="0"/>
                      <a:cs typeface="Arial" charset="0"/>
                    </a:endParaRPr>
                  </a:p>
                </p:txBody>
              </p:sp>
              <p:sp>
                <p:nvSpPr>
                  <p:cNvPr id="446" name="Oval 445"/>
                  <p:cNvSpPr/>
                  <p:nvPr/>
                </p:nvSpPr>
                <p:spPr bwMode="auto">
                  <a:xfrm>
                    <a:off x="7676948" y="3018243"/>
                    <a:ext cx="38864" cy="41062"/>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47" name="Oval 446"/>
                  <p:cNvSpPr/>
                  <p:nvPr/>
                </p:nvSpPr>
                <p:spPr bwMode="auto">
                  <a:xfrm>
                    <a:off x="7252768" y="3041459"/>
                    <a:ext cx="36844" cy="39928"/>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p>
                </p:txBody>
              </p:sp>
              <p:sp>
                <p:nvSpPr>
                  <p:cNvPr id="448" name="Oval 447"/>
                  <p:cNvSpPr/>
                  <p:nvPr/>
                </p:nvSpPr>
                <p:spPr bwMode="auto">
                  <a:xfrm>
                    <a:off x="7434531" y="2833102"/>
                    <a:ext cx="37369" cy="41115"/>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49" name="Oval 448"/>
                  <p:cNvSpPr/>
                  <p:nvPr/>
                </p:nvSpPr>
                <p:spPr bwMode="auto">
                  <a:xfrm>
                    <a:off x="7330504" y="2913431"/>
                    <a:ext cx="37370" cy="41797"/>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50" name="Oval 449"/>
                  <p:cNvSpPr/>
                  <p:nvPr/>
                </p:nvSpPr>
                <p:spPr bwMode="auto">
                  <a:xfrm>
                    <a:off x="7480860" y="2955814"/>
                    <a:ext cx="37733" cy="41116"/>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51" name="Oval 450"/>
                  <p:cNvSpPr/>
                  <p:nvPr/>
                </p:nvSpPr>
                <p:spPr bwMode="auto">
                  <a:xfrm>
                    <a:off x="7615584" y="3017434"/>
                    <a:ext cx="37732" cy="40811"/>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52" name="Freeform 155"/>
                  <p:cNvSpPr>
                    <a:spLocks/>
                  </p:cNvSpPr>
                  <p:nvPr/>
                </p:nvSpPr>
                <p:spPr bwMode="auto">
                  <a:xfrm>
                    <a:off x="8182096" y="1589189"/>
                    <a:ext cx="290303" cy="266995"/>
                  </a:xfrm>
                  <a:custGeom>
                    <a:avLst/>
                    <a:gdLst>
                      <a:gd name="T0" fmla="*/ 2147483647 w 274"/>
                      <a:gd name="T1" fmla="*/ 2147483647 h 306"/>
                      <a:gd name="T2" fmla="*/ 2147483647 w 274"/>
                      <a:gd name="T3" fmla="*/ 2147483647 h 306"/>
                      <a:gd name="T4" fmla="*/ 2147483647 w 274"/>
                      <a:gd name="T5" fmla="*/ 2147483647 h 306"/>
                      <a:gd name="T6" fmla="*/ 2147483647 w 274"/>
                      <a:gd name="T7" fmla="*/ 2147483647 h 306"/>
                      <a:gd name="T8" fmla="*/ 0 w 274"/>
                      <a:gd name="T9" fmla="*/ 0 h 306"/>
                      <a:gd name="T10" fmla="*/ 0 60000 65536"/>
                      <a:gd name="T11" fmla="*/ 0 60000 65536"/>
                      <a:gd name="T12" fmla="*/ 0 60000 65536"/>
                      <a:gd name="T13" fmla="*/ 0 60000 65536"/>
                      <a:gd name="T14" fmla="*/ 0 60000 65536"/>
                      <a:gd name="T15" fmla="*/ 0 w 274"/>
                      <a:gd name="T16" fmla="*/ 0 h 306"/>
                      <a:gd name="T17" fmla="*/ 274 w 274"/>
                      <a:gd name="T18" fmla="*/ 306 h 306"/>
                    </a:gdLst>
                    <a:ahLst/>
                    <a:cxnLst>
                      <a:cxn ang="T10">
                        <a:pos x="T0" y="T1"/>
                      </a:cxn>
                      <a:cxn ang="T11">
                        <a:pos x="T2" y="T3"/>
                      </a:cxn>
                      <a:cxn ang="T12">
                        <a:pos x="T4" y="T5"/>
                      </a:cxn>
                      <a:cxn ang="T13">
                        <a:pos x="T6" y="T7"/>
                      </a:cxn>
                      <a:cxn ang="T14">
                        <a:pos x="T8" y="T9"/>
                      </a:cxn>
                    </a:cxnLst>
                    <a:rect l="T15" t="T16" r="T17" b="T18"/>
                    <a:pathLst>
                      <a:path w="274" h="306">
                        <a:moveTo>
                          <a:pt x="270" y="306"/>
                        </a:moveTo>
                        <a:cubicBezTo>
                          <a:pt x="266" y="284"/>
                          <a:pt x="274" y="191"/>
                          <a:pt x="262" y="160"/>
                        </a:cubicBezTo>
                        <a:cubicBezTo>
                          <a:pt x="250" y="129"/>
                          <a:pt x="218" y="132"/>
                          <a:pt x="195" y="120"/>
                        </a:cubicBezTo>
                        <a:cubicBezTo>
                          <a:pt x="172" y="108"/>
                          <a:pt x="156" y="108"/>
                          <a:pt x="124" y="88"/>
                        </a:cubicBezTo>
                        <a:lnTo>
                          <a:pt x="0" y="0"/>
                        </a:lnTo>
                      </a:path>
                    </a:pathLst>
                  </a:custGeom>
                  <a:noFill/>
                  <a:ln w="28575">
                    <a:solidFill>
                      <a:srgbClr val="0070C0"/>
                    </a:solidFill>
                    <a:round/>
                    <a:headEnd/>
                    <a:tailEnd/>
                  </a:ln>
                </p:spPr>
                <p:txBody>
                  <a:bodyPr wrap="none" anchor="ctr"/>
                  <a:lstStyle/>
                  <a:p>
                    <a:pPr algn="ctr"/>
                    <a:endParaRPr lang="pt-BR" sz="700"/>
                  </a:p>
                </p:txBody>
              </p:sp>
              <p:sp>
                <p:nvSpPr>
                  <p:cNvPr id="453" name="Oval 452"/>
                  <p:cNvSpPr/>
                  <p:nvPr/>
                </p:nvSpPr>
                <p:spPr bwMode="auto">
                  <a:xfrm>
                    <a:off x="8457186" y="1881559"/>
                    <a:ext cx="37733" cy="41369"/>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54" name="Oval 453"/>
                  <p:cNvSpPr/>
                  <p:nvPr/>
                </p:nvSpPr>
                <p:spPr bwMode="auto">
                  <a:xfrm>
                    <a:off x="7488228" y="3143994"/>
                    <a:ext cx="37370" cy="41115"/>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55" name="Text Box 113"/>
                  <p:cNvSpPr txBox="1">
                    <a:spLocks noChangeArrowheads="1"/>
                  </p:cNvSpPr>
                  <p:nvPr/>
                </p:nvSpPr>
                <p:spPr bwMode="auto">
                  <a:xfrm>
                    <a:off x="6710704" y="2792771"/>
                    <a:ext cx="400994" cy="72614"/>
                  </a:xfrm>
                  <a:prstGeom prst="rect">
                    <a:avLst/>
                  </a:prstGeom>
                  <a:noFill/>
                  <a:ln w="9525">
                    <a:noFill/>
                    <a:round/>
                    <a:headEnd/>
                    <a:tailEnd/>
                  </a:ln>
                </p:spPr>
                <p:txBody>
                  <a:bodyPr wrap="none" lIns="0" tIns="0" rIns="0" bIns="0">
                    <a:spAutoFit/>
                  </a:bodyPr>
                  <a:lstStyle/>
                  <a:p>
                    <a:pPr algn="ct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FF0000"/>
                        </a:solidFill>
                        <a:latin typeface="Calibri" pitchFamily="34" charset="0"/>
                      </a:rPr>
                      <a:t>Campo Grande</a:t>
                    </a:r>
                  </a:p>
                </p:txBody>
              </p:sp>
              <p:sp>
                <p:nvSpPr>
                  <p:cNvPr id="456" name="Oval 455"/>
                  <p:cNvSpPr/>
                  <p:nvPr/>
                </p:nvSpPr>
                <p:spPr bwMode="auto">
                  <a:xfrm>
                    <a:off x="8425089" y="1701316"/>
                    <a:ext cx="38865" cy="41063"/>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57" name="Oval 456"/>
                  <p:cNvSpPr/>
                  <p:nvPr/>
                </p:nvSpPr>
                <p:spPr bwMode="auto">
                  <a:xfrm>
                    <a:off x="8452149" y="1798162"/>
                    <a:ext cx="37733" cy="42118"/>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58" name="Oval 457"/>
                  <p:cNvSpPr/>
                  <p:nvPr/>
                </p:nvSpPr>
                <p:spPr bwMode="auto">
                  <a:xfrm>
                    <a:off x="8161248" y="1581865"/>
                    <a:ext cx="37370" cy="41798"/>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59" name="Oval 458"/>
                  <p:cNvSpPr/>
                  <p:nvPr/>
                </p:nvSpPr>
                <p:spPr bwMode="auto">
                  <a:xfrm>
                    <a:off x="7892150" y="1715268"/>
                    <a:ext cx="37370" cy="41369"/>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60" name="Oval 459"/>
                  <p:cNvSpPr/>
                  <p:nvPr/>
                </p:nvSpPr>
                <p:spPr bwMode="auto">
                  <a:xfrm>
                    <a:off x="7757374" y="1484585"/>
                    <a:ext cx="37370" cy="41115"/>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61" name="Oval 460"/>
                  <p:cNvSpPr/>
                  <p:nvPr/>
                </p:nvSpPr>
                <p:spPr bwMode="auto">
                  <a:xfrm>
                    <a:off x="7511636" y="1451327"/>
                    <a:ext cx="37733" cy="41314"/>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62" name="Oval 461"/>
                  <p:cNvSpPr/>
                  <p:nvPr/>
                </p:nvSpPr>
                <p:spPr bwMode="auto">
                  <a:xfrm>
                    <a:off x="7997050" y="2884497"/>
                    <a:ext cx="37733" cy="41063"/>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63" name="Oval 462"/>
                  <p:cNvSpPr/>
                  <p:nvPr/>
                </p:nvSpPr>
                <p:spPr bwMode="auto">
                  <a:xfrm>
                    <a:off x="7936026" y="2962858"/>
                    <a:ext cx="37370" cy="41797"/>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64" name="Oval 463"/>
                  <p:cNvSpPr/>
                  <p:nvPr/>
                </p:nvSpPr>
                <p:spPr bwMode="auto">
                  <a:xfrm>
                    <a:off x="7556208" y="2826431"/>
                    <a:ext cx="37370" cy="41314"/>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65" name="Freeform 354"/>
                  <p:cNvSpPr>
                    <a:spLocks noChangeArrowheads="1"/>
                  </p:cNvSpPr>
                  <p:nvPr/>
                </p:nvSpPr>
                <p:spPr bwMode="auto">
                  <a:xfrm>
                    <a:off x="7152203" y="2834782"/>
                    <a:ext cx="102183" cy="212120"/>
                  </a:xfrm>
                  <a:custGeom>
                    <a:avLst/>
                    <a:gdLst>
                      <a:gd name="T0" fmla="*/ 86457 w 120770"/>
                      <a:gd name="T1" fmla="*/ 193183 h 232913"/>
                      <a:gd name="T2" fmla="*/ 49404 w 120770"/>
                      <a:gd name="T3" fmla="*/ 164564 h 232913"/>
                      <a:gd name="T4" fmla="*/ 24702 w 120770"/>
                      <a:gd name="T5" fmla="*/ 121634 h 232913"/>
                      <a:gd name="T6" fmla="*/ 18526 w 120770"/>
                      <a:gd name="T7" fmla="*/ 42930 h 232913"/>
                      <a:gd name="T8" fmla="*/ 6176 w 120770"/>
                      <a:gd name="T9" fmla="*/ 21465 h 232913"/>
                      <a:gd name="T10" fmla="*/ 0 w 120770"/>
                      <a:gd name="T11" fmla="*/ 0 h 232913"/>
                      <a:gd name="T12" fmla="*/ 0 60000 65536"/>
                      <a:gd name="T13" fmla="*/ 0 60000 65536"/>
                      <a:gd name="T14" fmla="*/ 0 60000 65536"/>
                      <a:gd name="T15" fmla="*/ 0 60000 65536"/>
                      <a:gd name="T16" fmla="*/ 0 60000 65536"/>
                      <a:gd name="T17" fmla="*/ 0 60000 65536"/>
                      <a:gd name="T18" fmla="*/ 0 w 120770"/>
                      <a:gd name="T19" fmla="*/ 0 h 232913"/>
                      <a:gd name="T20" fmla="*/ 120770 w 120770"/>
                      <a:gd name="T21" fmla="*/ 232913 h 232913"/>
                    </a:gdLst>
                    <a:ahLst/>
                    <a:cxnLst>
                      <a:cxn ang="T12">
                        <a:pos x="T0" y="T1"/>
                      </a:cxn>
                      <a:cxn ang="T13">
                        <a:pos x="T2" y="T3"/>
                      </a:cxn>
                      <a:cxn ang="T14">
                        <a:pos x="T4" y="T5"/>
                      </a:cxn>
                      <a:cxn ang="T15">
                        <a:pos x="T6" y="T7"/>
                      </a:cxn>
                      <a:cxn ang="T16">
                        <a:pos x="T8" y="T9"/>
                      </a:cxn>
                      <a:cxn ang="T17">
                        <a:pos x="T10" y="T11"/>
                      </a:cxn>
                    </a:cxnLst>
                    <a:rect l="T18" t="T19" r="T20" b="T21"/>
                    <a:pathLst>
                      <a:path w="120770" h="232913">
                        <a:moveTo>
                          <a:pt x="120770" y="232913"/>
                        </a:moveTo>
                        <a:cubicBezTo>
                          <a:pt x="103517" y="221411"/>
                          <a:pt x="80514" y="215661"/>
                          <a:pt x="69012" y="198408"/>
                        </a:cubicBezTo>
                        <a:lnTo>
                          <a:pt x="34506" y="146649"/>
                        </a:lnTo>
                        <a:cubicBezTo>
                          <a:pt x="31630" y="115019"/>
                          <a:pt x="32534" y="82814"/>
                          <a:pt x="25879" y="51759"/>
                        </a:cubicBezTo>
                        <a:cubicBezTo>
                          <a:pt x="23707" y="41621"/>
                          <a:pt x="13264" y="35152"/>
                          <a:pt x="8627" y="25879"/>
                        </a:cubicBezTo>
                        <a:cubicBezTo>
                          <a:pt x="4561" y="17746"/>
                          <a:pt x="0" y="0"/>
                          <a:pt x="0" y="0"/>
                        </a:cubicBezTo>
                      </a:path>
                    </a:pathLst>
                  </a:custGeom>
                  <a:solidFill>
                    <a:schemeClr val="bg1"/>
                  </a:solidFill>
                  <a:ln w="28575" algn="ctr">
                    <a:solidFill>
                      <a:srgbClr val="FF0000"/>
                    </a:solidFill>
                    <a:round/>
                    <a:headEnd/>
                    <a:tailEnd/>
                  </a:ln>
                </p:spPr>
                <p:txBody>
                  <a:bodyPr wrap="none" lIns="0" tIns="0" rIns="0" bIns="0" anchor="ctr"/>
                  <a:lstStyle/>
                  <a:p>
                    <a:pPr algn="ctr" defTabSz="873125" eaLnBrk="0" hangingPunct="0"/>
                    <a:endParaRPr lang="pt-BR"/>
                  </a:p>
                </p:txBody>
              </p:sp>
              <p:sp>
                <p:nvSpPr>
                  <p:cNvPr id="466" name="Freeform 357"/>
                  <p:cNvSpPr>
                    <a:spLocks noChangeArrowheads="1"/>
                  </p:cNvSpPr>
                  <p:nvPr/>
                </p:nvSpPr>
                <p:spPr bwMode="auto">
                  <a:xfrm flipV="1">
                    <a:off x="7188694" y="2457677"/>
                    <a:ext cx="318018" cy="87938"/>
                  </a:xfrm>
                  <a:custGeom>
                    <a:avLst/>
                    <a:gdLst>
                      <a:gd name="T0" fmla="*/ 0 w 467464"/>
                      <a:gd name="T1" fmla="*/ 128063 h 60385"/>
                      <a:gd name="T2" fmla="*/ 51902 w 467464"/>
                      <a:gd name="T3" fmla="*/ 91474 h 60385"/>
                      <a:gd name="T4" fmla="*/ 107796 w 467464"/>
                      <a:gd name="T5" fmla="*/ 73180 h 60385"/>
                      <a:gd name="T6" fmla="*/ 195629 w 467464"/>
                      <a:gd name="T7" fmla="*/ 36589 h 60385"/>
                      <a:gd name="T8" fmla="*/ 199622 w 467464"/>
                      <a:gd name="T9" fmla="*/ 0 h 60385"/>
                      <a:gd name="T10" fmla="*/ 0 60000 65536"/>
                      <a:gd name="T11" fmla="*/ 0 60000 65536"/>
                      <a:gd name="T12" fmla="*/ 0 60000 65536"/>
                      <a:gd name="T13" fmla="*/ 0 60000 65536"/>
                      <a:gd name="T14" fmla="*/ 0 60000 65536"/>
                      <a:gd name="T15" fmla="*/ 0 w 467464"/>
                      <a:gd name="T16" fmla="*/ 0 h 60385"/>
                      <a:gd name="T17" fmla="*/ 467464 w 467464"/>
                      <a:gd name="T18" fmla="*/ 60385 h 60385"/>
                    </a:gdLst>
                    <a:ahLst/>
                    <a:cxnLst>
                      <a:cxn ang="T10">
                        <a:pos x="T0" y="T1"/>
                      </a:cxn>
                      <a:cxn ang="T11">
                        <a:pos x="T2" y="T3"/>
                      </a:cxn>
                      <a:cxn ang="T12">
                        <a:pos x="T4" y="T5"/>
                      </a:cxn>
                      <a:cxn ang="T13">
                        <a:pos x="T6" y="T7"/>
                      </a:cxn>
                      <a:cxn ang="T14">
                        <a:pos x="T8" y="T9"/>
                      </a:cxn>
                    </a:cxnLst>
                    <a:rect l="T15" t="T16" r="T17" b="T18"/>
                    <a:pathLst>
                      <a:path w="467464" h="60385">
                        <a:moveTo>
                          <a:pt x="0" y="60385"/>
                        </a:moveTo>
                        <a:cubicBezTo>
                          <a:pt x="51295" y="43288"/>
                          <a:pt x="23189" y="50545"/>
                          <a:pt x="112144" y="43132"/>
                        </a:cubicBezTo>
                        <a:cubicBezTo>
                          <a:pt x="152364" y="39780"/>
                          <a:pt x="192657" y="37381"/>
                          <a:pt x="232914" y="34506"/>
                        </a:cubicBezTo>
                        <a:cubicBezTo>
                          <a:pt x="327509" y="10858"/>
                          <a:pt x="212733" y="37250"/>
                          <a:pt x="422695" y="17253"/>
                        </a:cubicBezTo>
                        <a:cubicBezTo>
                          <a:pt x="467464" y="12989"/>
                          <a:pt x="447663" y="8171"/>
                          <a:pt x="431321" y="0"/>
                        </a:cubicBezTo>
                      </a:path>
                    </a:pathLst>
                  </a:custGeom>
                  <a:solidFill>
                    <a:schemeClr val="bg1"/>
                  </a:solidFill>
                  <a:ln w="28575" algn="ctr">
                    <a:solidFill>
                      <a:srgbClr val="FF0000"/>
                    </a:solidFill>
                    <a:round/>
                    <a:headEnd/>
                    <a:tailEnd/>
                  </a:ln>
                </p:spPr>
                <p:txBody>
                  <a:bodyPr wrap="none" lIns="0" tIns="0" rIns="0" bIns="0" anchor="ctr"/>
                  <a:lstStyle/>
                  <a:p>
                    <a:pPr algn="ctr" defTabSz="873125" eaLnBrk="0" hangingPunct="0"/>
                    <a:endParaRPr lang="pt-BR"/>
                  </a:p>
                </p:txBody>
              </p:sp>
              <p:sp>
                <p:nvSpPr>
                  <p:cNvPr id="467" name="Freeform 358"/>
                  <p:cNvSpPr>
                    <a:spLocks noChangeArrowheads="1"/>
                  </p:cNvSpPr>
                  <p:nvPr/>
                </p:nvSpPr>
                <p:spPr bwMode="auto">
                  <a:xfrm>
                    <a:off x="8093744" y="2426254"/>
                    <a:ext cx="73149" cy="337822"/>
                  </a:xfrm>
                  <a:custGeom>
                    <a:avLst/>
                    <a:gdLst>
                      <a:gd name="T0" fmla="*/ 0 w 86455"/>
                      <a:gd name="T1" fmla="*/ 307665 h 370935"/>
                      <a:gd name="T2" fmla="*/ 18526 w 86455"/>
                      <a:gd name="T3" fmla="*/ 293356 h 370935"/>
                      <a:gd name="T4" fmla="*/ 24701 w 86455"/>
                      <a:gd name="T5" fmla="*/ 271890 h 370935"/>
                      <a:gd name="T6" fmla="*/ 30877 w 86455"/>
                      <a:gd name="T7" fmla="*/ 214650 h 370935"/>
                      <a:gd name="T8" fmla="*/ 43228 w 86455"/>
                      <a:gd name="T9" fmla="*/ 164565 h 370935"/>
                      <a:gd name="T10" fmla="*/ 55579 w 86455"/>
                      <a:gd name="T11" fmla="*/ 114480 h 370935"/>
                      <a:gd name="T12" fmla="*/ 61754 w 86455"/>
                      <a:gd name="T13" fmla="*/ 0 h 370935"/>
                      <a:gd name="T14" fmla="*/ 0 60000 65536"/>
                      <a:gd name="T15" fmla="*/ 0 60000 65536"/>
                      <a:gd name="T16" fmla="*/ 0 60000 65536"/>
                      <a:gd name="T17" fmla="*/ 0 60000 65536"/>
                      <a:gd name="T18" fmla="*/ 0 60000 65536"/>
                      <a:gd name="T19" fmla="*/ 0 60000 65536"/>
                      <a:gd name="T20" fmla="*/ 0 60000 65536"/>
                      <a:gd name="T21" fmla="*/ 0 w 86455"/>
                      <a:gd name="T22" fmla="*/ 0 h 370935"/>
                      <a:gd name="T23" fmla="*/ 86455 w 86455"/>
                      <a:gd name="T24" fmla="*/ 370935 h 3709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6455" h="370935">
                        <a:moveTo>
                          <a:pt x="0" y="370935"/>
                        </a:moveTo>
                        <a:cubicBezTo>
                          <a:pt x="8626" y="365184"/>
                          <a:pt x="19403" y="361779"/>
                          <a:pt x="25879" y="353683"/>
                        </a:cubicBezTo>
                        <a:cubicBezTo>
                          <a:pt x="31559" y="346582"/>
                          <a:pt x="32878" y="336750"/>
                          <a:pt x="34505" y="327803"/>
                        </a:cubicBezTo>
                        <a:cubicBezTo>
                          <a:pt x="38652" y="304994"/>
                          <a:pt x="39321" y="281659"/>
                          <a:pt x="43132" y="258792"/>
                        </a:cubicBezTo>
                        <a:cubicBezTo>
                          <a:pt x="48528" y="226415"/>
                          <a:pt x="52177" y="227135"/>
                          <a:pt x="60385" y="198407"/>
                        </a:cubicBezTo>
                        <a:cubicBezTo>
                          <a:pt x="82049" y="122584"/>
                          <a:pt x="56953" y="200071"/>
                          <a:pt x="77638" y="138022"/>
                        </a:cubicBezTo>
                        <a:cubicBezTo>
                          <a:pt x="86455" y="5757"/>
                          <a:pt x="86264" y="51854"/>
                          <a:pt x="86264" y="0"/>
                        </a:cubicBezTo>
                      </a:path>
                    </a:pathLst>
                  </a:custGeom>
                  <a:solidFill>
                    <a:schemeClr val="bg1"/>
                  </a:solidFill>
                  <a:ln w="28575" algn="ctr">
                    <a:solidFill>
                      <a:srgbClr val="FF0000"/>
                    </a:solidFill>
                    <a:round/>
                    <a:headEnd/>
                    <a:tailEnd/>
                  </a:ln>
                </p:spPr>
                <p:txBody>
                  <a:bodyPr wrap="none" lIns="0" tIns="0" rIns="0" bIns="0" anchor="ctr"/>
                  <a:lstStyle/>
                  <a:p>
                    <a:pPr algn="ctr" defTabSz="873125" eaLnBrk="0" hangingPunct="0"/>
                    <a:endParaRPr lang="pt-BR"/>
                  </a:p>
                </p:txBody>
              </p:sp>
              <p:sp>
                <p:nvSpPr>
                  <p:cNvPr id="468" name="Freeform 360"/>
                  <p:cNvSpPr>
                    <a:spLocks noChangeArrowheads="1"/>
                  </p:cNvSpPr>
                  <p:nvPr/>
                </p:nvSpPr>
                <p:spPr bwMode="auto">
                  <a:xfrm>
                    <a:off x="8187562" y="2245338"/>
                    <a:ext cx="71002" cy="185127"/>
                  </a:xfrm>
                  <a:custGeom>
                    <a:avLst/>
                    <a:gdLst>
                      <a:gd name="T0" fmla="*/ 3520 w 92199"/>
                      <a:gd name="T1" fmla="*/ 233701 h 146649"/>
                      <a:gd name="T2" fmla="*/ 8635 w 92199"/>
                      <a:gd name="T3" fmla="*/ 96230 h 146649"/>
                      <a:gd name="T4" fmla="*/ 39331 w 92199"/>
                      <a:gd name="T5" fmla="*/ 68735 h 146649"/>
                      <a:gd name="T6" fmla="*/ 54678 w 92199"/>
                      <a:gd name="T7" fmla="*/ 0 h 146649"/>
                      <a:gd name="T8" fmla="*/ 0 60000 65536"/>
                      <a:gd name="T9" fmla="*/ 0 60000 65536"/>
                      <a:gd name="T10" fmla="*/ 0 60000 65536"/>
                      <a:gd name="T11" fmla="*/ 0 60000 65536"/>
                      <a:gd name="T12" fmla="*/ 0 w 92199"/>
                      <a:gd name="T13" fmla="*/ 0 h 146649"/>
                      <a:gd name="T14" fmla="*/ 92199 w 92199"/>
                      <a:gd name="T15" fmla="*/ 146649 h 146649"/>
                    </a:gdLst>
                    <a:ahLst/>
                    <a:cxnLst>
                      <a:cxn ang="T8">
                        <a:pos x="T0" y="T1"/>
                      </a:cxn>
                      <a:cxn ang="T9">
                        <a:pos x="T2" y="T3"/>
                      </a:cxn>
                      <a:cxn ang="T10">
                        <a:pos x="T4" y="T5"/>
                      </a:cxn>
                      <a:cxn ang="T11">
                        <a:pos x="T6" y="T7"/>
                      </a:cxn>
                    </a:cxnLst>
                    <a:rect l="T12" t="T13" r="T14" b="T15"/>
                    <a:pathLst>
                      <a:path w="92199" h="146649">
                        <a:moveTo>
                          <a:pt x="5935" y="146649"/>
                        </a:moveTo>
                        <a:cubicBezTo>
                          <a:pt x="8810" y="117894"/>
                          <a:pt x="0" y="85347"/>
                          <a:pt x="14561" y="60385"/>
                        </a:cubicBezTo>
                        <a:cubicBezTo>
                          <a:pt x="23725" y="44676"/>
                          <a:pt x="66320" y="43132"/>
                          <a:pt x="66320" y="43132"/>
                        </a:cubicBezTo>
                        <a:cubicBezTo>
                          <a:pt x="87139" y="11903"/>
                          <a:pt x="78935" y="26526"/>
                          <a:pt x="92199" y="0"/>
                        </a:cubicBezTo>
                      </a:path>
                    </a:pathLst>
                  </a:custGeom>
                  <a:solidFill>
                    <a:schemeClr val="bg1"/>
                  </a:solidFill>
                  <a:ln w="28575" algn="ctr">
                    <a:solidFill>
                      <a:srgbClr val="FF0000"/>
                    </a:solidFill>
                    <a:round/>
                    <a:headEnd/>
                    <a:tailEnd/>
                  </a:ln>
                </p:spPr>
                <p:txBody>
                  <a:bodyPr wrap="none" lIns="0" tIns="0" rIns="0" bIns="0" anchor="ctr"/>
                  <a:lstStyle/>
                  <a:p>
                    <a:pPr algn="ctr" defTabSz="873125" eaLnBrk="0" hangingPunct="0"/>
                    <a:endParaRPr lang="pt-BR"/>
                  </a:p>
                </p:txBody>
              </p:sp>
              <p:sp>
                <p:nvSpPr>
                  <p:cNvPr id="469" name="Freeform 361"/>
                  <p:cNvSpPr>
                    <a:spLocks noChangeArrowheads="1"/>
                  </p:cNvSpPr>
                  <p:nvPr/>
                </p:nvSpPr>
                <p:spPr bwMode="auto">
                  <a:xfrm>
                    <a:off x="7447779" y="2825498"/>
                    <a:ext cx="123444" cy="35378"/>
                  </a:xfrm>
                  <a:custGeom>
                    <a:avLst/>
                    <a:gdLst>
                      <a:gd name="T0" fmla="*/ 123444 w 123444"/>
                      <a:gd name="T1" fmla="*/ 0 h 35378"/>
                      <a:gd name="T2" fmla="*/ 96012 w 123444"/>
                      <a:gd name="T3" fmla="*/ 9144 h 35378"/>
                      <a:gd name="T4" fmla="*/ 82296 w 123444"/>
                      <a:gd name="T5" fmla="*/ 13716 h 35378"/>
                      <a:gd name="T6" fmla="*/ 59436 w 123444"/>
                      <a:gd name="T7" fmla="*/ 18288 h 35378"/>
                      <a:gd name="T8" fmla="*/ 45720 w 123444"/>
                      <a:gd name="T9" fmla="*/ 27432 h 35378"/>
                      <a:gd name="T10" fmla="*/ 0 w 123444"/>
                      <a:gd name="T11" fmla="*/ 32004 h 35378"/>
                      <a:gd name="T12" fmla="*/ 0 60000 65536"/>
                      <a:gd name="T13" fmla="*/ 0 60000 65536"/>
                      <a:gd name="T14" fmla="*/ 0 60000 65536"/>
                      <a:gd name="T15" fmla="*/ 0 60000 65536"/>
                      <a:gd name="T16" fmla="*/ 0 60000 65536"/>
                      <a:gd name="T17" fmla="*/ 0 60000 65536"/>
                      <a:gd name="T18" fmla="*/ 0 w 123444"/>
                      <a:gd name="T19" fmla="*/ 0 h 35378"/>
                      <a:gd name="T20" fmla="*/ 123444 w 123444"/>
                      <a:gd name="T21" fmla="*/ 35378 h 35378"/>
                    </a:gdLst>
                    <a:ahLst/>
                    <a:cxnLst>
                      <a:cxn ang="T12">
                        <a:pos x="T0" y="T1"/>
                      </a:cxn>
                      <a:cxn ang="T13">
                        <a:pos x="T2" y="T3"/>
                      </a:cxn>
                      <a:cxn ang="T14">
                        <a:pos x="T4" y="T5"/>
                      </a:cxn>
                      <a:cxn ang="T15">
                        <a:pos x="T6" y="T7"/>
                      </a:cxn>
                      <a:cxn ang="T16">
                        <a:pos x="T8" y="T9"/>
                      </a:cxn>
                      <a:cxn ang="T17">
                        <a:pos x="T10" y="T11"/>
                      </a:cxn>
                    </a:cxnLst>
                    <a:rect l="T18" t="T19" r="T20" b="T21"/>
                    <a:pathLst>
                      <a:path w="123444" h="35378">
                        <a:moveTo>
                          <a:pt x="123444" y="0"/>
                        </a:moveTo>
                        <a:lnTo>
                          <a:pt x="96012" y="9144"/>
                        </a:lnTo>
                        <a:cubicBezTo>
                          <a:pt x="91440" y="10668"/>
                          <a:pt x="87022" y="12771"/>
                          <a:pt x="82296" y="13716"/>
                        </a:cubicBezTo>
                        <a:lnTo>
                          <a:pt x="59436" y="18288"/>
                        </a:lnTo>
                        <a:cubicBezTo>
                          <a:pt x="54864" y="21336"/>
                          <a:pt x="50635" y="24975"/>
                          <a:pt x="45720" y="27432"/>
                        </a:cubicBezTo>
                        <a:cubicBezTo>
                          <a:pt x="29829" y="35378"/>
                          <a:pt x="19235" y="32004"/>
                          <a:pt x="0" y="32004"/>
                        </a:cubicBezTo>
                      </a:path>
                    </a:pathLst>
                  </a:custGeom>
                  <a:solidFill>
                    <a:schemeClr val="bg1"/>
                  </a:solidFill>
                  <a:ln w="28575" algn="ctr">
                    <a:solidFill>
                      <a:schemeClr val="bg1">
                        <a:lumMod val="50000"/>
                      </a:schemeClr>
                    </a:solidFill>
                    <a:round/>
                    <a:headEnd/>
                    <a:tailEnd/>
                  </a:ln>
                </p:spPr>
                <p:txBody>
                  <a:bodyPr wrap="none" lIns="0" tIns="0" rIns="0" bIns="0" anchor="ctr"/>
                  <a:lstStyle/>
                  <a:p>
                    <a:pPr algn="ctr" defTabSz="873125" eaLnBrk="0" hangingPunct="0"/>
                    <a:endParaRPr lang="pt-BR"/>
                  </a:p>
                </p:txBody>
              </p:sp>
              <p:sp>
                <p:nvSpPr>
                  <p:cNvPr id="470" name="Freeform 362"/>
                  <p:cNvSpPr>
                    <a:spLocks noChangeArrowheads="1"/>
                  </p:cNvSpPr>
                  <p:nvPr/>
                </p:nvSpPr>
                <p:spPr bwMode="auto">
                  <a:xfrm>
                    <a:off x="7351767" y="2857501"/>
                    <a:ext cx="91440" cy="74420"/>
                  </a:xfrm>
                  <a:custGeom>
                    <a:avLst/>
                    <a:gdLst>
                      <a:gd name="T0" fmla="*/ 91440 w 91440"/>
                      <a:gd name="T1" fmla="*/ 0 h 74420"/>
                      <a:gd name="T2" fmla="*/ 73152 w 91440"/>
                      <a:gd name="T3" fmla="*/ 4572 h 74420"/>
                      <a:gd name="T4" fmla="*/ 45720 w 91440"/>
                      <a:gd name="T5" fmla="*/ 22860 h 74420"/>
                      <a:gd name="T6" fmla="*/ 13716 w 91440"/>
                      <a:gd name="T7" fmla="*/ 59436 h 74420"/>
                      <a:gd name="T8" fmla="*/ 0 w 91440"/>
                      <a:gd name="T9" fmla="*/ 73152 h 74420"/>
                      <a:gd name="T10" fmla="*/ 0 60000 65536"/>
                      <a:gd name="T11" fmla="*/ 0 60000 65536"/>
                      <a:gd name="T12" fmla="*/ 0 60000 65536"/>
                      <a:gd name="T13" fmla="*/ 0 60000 65536"/>
                      <a:gd name="T14" fmla="*/ 0 60000 65536"/>
                      <a:gd name="T15" fmla="*/ 0 w 91440"/>
                      <a:gd name="T16" fmla="*/ 0 h 74420"/>
                      <a:gd name="T17" fmla="*/ 91440 w 91440"/>
                      <a:gd name="T18" fmla="*/ 74420 h 74420"/>
                    </a:gdLst>
                    <a:ahLst/>
                    <a:cxnLst>
                      <a:cxn ang="T10">
                        <a:pos x="T0" y="T1"/>
                      </a:cxn>
                      <a:cxn ang="T11">
                        <a:pos x="T2" y="T3"/>
                      </a:cxn>
                      <a:cxn ang="T12">
                        <a:pos x="T4" y="T5"/>
                      </a:cxn>
                      <a:cxn ang="T13">
                        <a:pos x="T6" y="T7"/>
                      </a:cxn>
                      <a:cxn ang="T14">
                        <a:pos x="T8" y="T9"/>
                      </a:cxn>
                    </a:cxnLst>
                    <a:rect l="T15" t="T16" r="T17" b="T18"/>
                    <a:pathLst>
                      <a:path w="91440" h="74420">
                        <a:moveTo>
                          <a:pt x="91440" y="0"/>
                        </a:moveTo>
                        <a:cubicBezTo>
                          <a:pt x="85344" y="1524"/>
                          <a:pt x="78772" y="1762"/>
                          <a:pt x="73152" y="4572"/>
                        </a:cubicBezTo>
                        <a:cubicBezTo>
                          <a:pt x="63322" y="9487"/>
                          <a:pt x="45720" y="22860"/>
                          <a:pt x="45720" y="22860"/>
                        </a:cubicBezTo>
                        <a:cubicBezTo>
                          <a:pt x="24384" y="54864"/>
                          <a:pt x="36576" y="44196"/>
                          <a:pt x="13716" y="59436"/>
                        </a:cubicBezTo>
                        <a:cubicBezTo>
                          <a:pt x="3727" y="74420"/>
                          <a:pt x="10067" y="73152"/>
                          <a:pt x="0" y="73152"/>
                        </a:cubicBezTo>
                      </a:path>
                    </a:pathLst>
                  </a:custGeom>
                  <a:solidFill>
                    <a:schemeClr val="bg1"/>
                  </a:solidFill>
                  <a:ln w="28575" algn="ctr">
                    <a:solidFill>
                      <a:schemeClr val="bg1">
                        <a:lumMod val="50000"/>
                      </a:schemeClr>
                    </a:solidFill>
                    <a:round/>
                    <a:headEnd/>
                    <a:tailEnd/>
                  </a:ln>
                </p:spPr>
                <p:txBody>
                  <a:bodyPr wrap="none" lIns="0" tIns="0" rIns="0" bIns="0" anchor="ctr"/>
                  <a:lstStyle/>
                  <a:p>
                    <a:pPr algn="ctr" defTabSz="873125" eaLnBrk="0" hangingPunct="0"/>
                    <a:endParaRPr lang="pt-BR"/>
                  </a:p>
                </p:txBody>
              </p:sp>
              <p:sp>
                <p:nvSpPr>
                  <p:cNvPr id="471" name="Freeform 363"/>
                  <p:cNvSpPr>
                    <a:spLocks noChangeArrowheads="1"/>
                  </p:cNvSpPr>
                  <p:nvPr/>
                </p:nvSpPr>
                <p:spPr bwMode="auto">
                  <a:xfrm>
                    <a:off x="7463180" y="2966456"/>
                    <a:ext cx="158334" cy="47461"/>
                  </a:xfrm>
                  <a:custGeom>
                    <a:avLst/>
                    <a:gdLst>
                      <a:gd name="T0" fmla="*/ 25746 w 158334"/>
                      <a:gd name="T1" fmla="*/ 9919 h 47461"/>
                      <a:gd name="T2" fmla="*/ 53178 w 158334"/>
                      <a:gd name="T3" fmla="*/ 23635 h 47461"/>
                      <a:gd name="T4" fmla="*/ 80610 w 158334"/>
                      <a:gd name="T5" fmla="*/ 32779 h 47461"/>
                      <a:gd name="T6" fmla="*/ 94326 w 158334"/>
                      <a:gd name="T7" fmla="*/ 37351 h 47461"/>
                      <a:gd name="T8" fmla="*/ 108042 w 158334"/>
                      <a:gd name="T9" fmla="*/ 41923 h 47461"/>
                      <a:gd name="T10" fmla="*/ 126330 w 158334"/>
                      <a:gd name="T11" fmla="*/ 46495 h 47461"/>
                      <a:gd name="T12" fmla="*/ 158334 w 158334"/>
                      <a:gd name="T13" fmla="*/ 46495 h 47461"/>
                      <a:gd name="T14" fmla="*/ 0 60000 65536"/>
                      <a:gd name="T15" fmla="*/ 0 60000 65536"/>
                      <a:gd name="T16" fmla="*/ 0 60000 65536"/>
                      <a:gd name="T17" fmla="*/ 0 60000 65536"/>
                      <a:gd name="T18" fmla="*/ 0 60000 65536"/>
                      <a:gd name="T19" fmla="*/ 0 60000 65536"/>
                      <a:gd name="T20" fmla="*/ 0 60000 65536"/>
                      <a:gd name="T21" fmla="*/ 0 w 158334"/>
                      <a:gd name="T22" fmla="*/ 0 h 47461"/>
                      <a:gd name="T23" fmla="*/ 158334 w 158334"/>
                      <a:gd name="T24" fmla="*/ 47461 h 4746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334" h="47461">
                        <a:moveTo>
                          <a:pt x="25746" y="9919"/>
                        </a:moveTo>
                        <a:cubicBezTo>
                          <a:pt x="75768" y="26593"/>
                          <a:pt x="0" y="0"/>
                          <a:pt x="53178" y="23635"/>
                        </a:cubicBezTo>
                        <a:cubicBezTo>
                          <a:pt x="61986" y="27550"/>
                          <a:pt x="71466" y="29731"/>
                          <a:pt x="80610" y="32779"/>
                        </a:cubicBezTo>
                        <a:lnTo>
                          <a:pt x="94326" y="37351"/>
                        </a:lnTo>
                        <a:cubicBezTo>
                          <a:pt x="98898" y="38875"/>
                          <a:pt x="103367" y="40754"/>
                          <a:pt x="108042" y="41923"/>
                        </a:cubicBezTo>
                        <a:cubicBezTo>
                          <a:pt x="114138" y="43447"/>
                          <a:pt x="120072" y="45926"/>
                          <a:pt x="126330" y="46495"/>
                        </a:cubicBezTo>
                        <a:cubicBezTo>
                          <a:pt x="136954" y="47461"/>
                          <a:pt x="147666" y="46495"/>
                          <a:pt x="158334" y="46495"/>
                        </a:cubicBezTo>
                      </a:path>
                    </a:pathLst>
                  </a:custGeom>
                  <a:solidFill>
                    <a:schemeClr val="bg1"/>
                  </a:solidFill>
                  <a:ln w="28575" algn="ctr">
                    <a:solidFill>
                      <a:schemeClr val="bg1">
                        <a:lumMod val="50000"/>
                      </a:schemeClr>
                    </a:solidFill>
                    <a:round/>
                    <a:headEnd/>
                    <a:tailEnd/>
                  </a:ln>
                </p:spPr>
                <p:txBody>
                  <a:bodyPr wrap="none" lIns="0" tIns="0" rIns="0" bIns="0" anchor="ctr"/>
                  <a:lstStyle/>
                  <a:p>
                    <a:pPr algn="ctr" defTabSz="873125" eaLnBrk="0" hangingPunct="0"/>
                    <a:endParaRPr lang="pt-BR"/>
                  </a:p>
                </p:txBody>
              </p:sp>
              <p:sp>
                <p:nvSpPr>
                  <p:cNvPr id="472" name="Freeform 364"/>
                  <p:cNvSpPr>
                    <a:spLocks noChangeArrowheads="1"/>
                  </p:cNvSpPr>
                  <p:nvPr/>
                </p:nvSpPr>
                <p:spPr bwMode="auto">
                  <a:xfrm>
                    <a:off x="7342623" y="2930654"/>
                    <a:ext cx="137646" cy="42112"/>
                  </a:xfrm>
                  <a:custGeom>
                    <a:avLst/>
                    <a:gdLst>
                      <a:gd name="T0" fmla="*/ 0 w 137646"/>
                      <a:gd name="T1" fmla="*/ 0 h 42112"/>
                      <a:gd name="T2" fmla="*/ 27432 w 137646"/>
                      <a:gd name="T3" fmla="*/ 9144 h 42112"/>
                      <a:gd name="T4" fmla="*/ 41148 w 137646"/>
                      <a:gd name="T5" fmla="*/ 22860 h 42112"/>
                      <a:gd name="T6" fmla="*/ 77724 w 137646"/>
                      <a:gd name="T7" fmla="*/ 27432 h 42112"/>
                      <a:gd name="T8" fmla="*/ 100584 w 137646"/>
                      <a:gd name="T9" fmla="*/ 32004 h 42112"/>
                      <a:gd name="T10" fmla="*/ 137160 w 137646"/>
                      <a:gd name="T11" fmla="*/ 41148 h 42112"/>
                      <a:gd name="T12" fmla="*/ 0 60000 65536"/>
                      <a:gd name="T13" fmla="*/ 0 60000 65536"/>
                      <a:gd name="T14" fmla="*/ 0 60000 65536"/>
                      <a:gd name="T15" fmla="*/ 0 60000 65536"/>
                      <a:gd name="T16" fmla="*/ 0 60000 65536"/>
                      <a:gd name="T17" fmla="*/ 0 60000 65536"/>
                      <a:gd name="T18" fmla="*/ 0 w 137646"/>
                      <a:gd name="T19" fmla="*/ 0 h 42112"/>
                      <a:gd name="T20" fmla="*/ 137646 w 137646"/>
                      <a:gd name="T21" fmla="*/ 42112 h 42112"/>
                    </a:gdLst>
                    <a:ahLst/>
                    <a:cxnLst>
                      <a:cxn ang="T12">
                        <a:pos x="T0" y="T1"/>
                      </a:cxn>
                      <a:cxn ang="T13">
                        <a:pos x="T2" y="T3"/>
                      </a:cxn>
                      <a:cxn ang="T14">
                        <a:pos x="T4" y="T5"/>
                      </a:cxn>
                      <a:cxn ang="T15">
                        <a:pos x="T6" y="T7"/>
                      </a:cxn>
                      <a:cxn ang="T16">
                        <a:pos x="T8" y="T9"/>
                      </a:cxn>
                      <a:cxn ang="T17">
                        <a:pos x="T10" y="T11"/>
                      </a:cxn>
                    </a:cxnLst>
                    <a:rect l="T18" t="T19" r="T20" b="T21"/>
                    <a:pathLst>
                      <a:path w="137646" h="42112">
                        <a:moveTo>
                          <a:pt x="0" y="0"/>
                        </a:moveTo>
                        <a:cubicBezTo>
                          <a:pt x="9144" y="3048"/>
                          <a:pt x="20616" y="2328"/>
                          <a:pt x="27432" y="9144"/>
                        </a:cubicBezTo>
                        <a:cubicBezTo>
                          <a:pt x="32004" y="13716"/>
                          <a:pt x="35071" y="20650"/>
                          <a:pt x="41148" y="22860"/>
                        </a:cubicBezTo>
                        <a:cubicBezTo>
                          <a:pt x="52695" y="27059"/>
                          <a:pt x="65580" y="25564"/>
                          <a:pt x="77724" y="27432"/>
                        </a:cubicBezTo>
                        <a:cubicBezTo>
                          <a:pt x="85405" y="28614"/>
                          <a:pt x="93087" y="29959"/>
                          <a:pt x="100584" y="32004"/>
                        </a:cubicBezTo>
                        <a:cubicBezTo>
                          <a:pt x="137646" y="42112"/>
                          <a:pt x="116246" y="41148"/>
                          <a:pt x="137160" y="41148"/>
                        </a:cubicBezTo>
                      </a:path>
                    </a:pathLst>
                  </a:custGeom>
                  <a:solidFill>
                    <a:schemeClr val="bg1"/>
                  </a:solidFill>
                  <a:ln w="28575" algn="ctr">
                    <a:solidFill>
                      <a:schemeClr val="bg1">
                        <a:lumMod val="50000"/>
                      </a:schemeClr>
                    </a:solidFill>
                    <a:round/>
                    <a:headEnd/>
                    <a:tailEnd/>
                  </a:ln>
                </p:spPr>
                <p:txBody>
                  <a:bodyPr wrap="none" lIns="0" tIns="0" rIns="0" bIns="0" anchor="ctr"/>
                  <a:lstStyle/>
                  <a:p>
                    <a:pPr algn="ctr" defTabSz="873125" eaLnBrk="0" hangingPunct="0"/>
                    <a:endParaRPr lang="pt-BR"/>
                  </a:p>
                </p:txBody>
              </p:sp>
              <p:sp>
                <p:nvSpPr>
                  <p:cNvPr id="474" name="Oval 473"/>
                  <p:cNvSpPr/>
                  <p:nvPr/>
                </p:nvSpPr>
                <p:spPr bwMode="auto">
                  <a:xfrm>
                    <a:off x="8248181" y="2248989"/>
                    <a:ext cx="37370" cy="42118"/>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75" name="Oval 474"/>
                  <p:cNvSpPr/>
                  <p:nvPr/>
                </p:nvSpPr>
                <p:spPr bwMode="auto">
                  <a:xfrm>
                    <a:off x="8161898" y="2419939"/>
                    <a:ext cx="38865" cy="41116"/>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76" name="Oval 475"/>
                  <p:cNvSpPr/>
                  <p:nvPr/>
                </p:nvSpPr>
                <p:spPr bwMode="auto">
                  <a:xfrm>
                    <a:off x="8080697" y="2768987"/>
                    <a:ext cx="37370" cy="41314"/>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77" name="Oval 476"/>
                  <p:cNvSpPr/>
                  <p:nvPr/>
                </p:nvSpPr>
                <p:spPr bwMode="auto">
                  <a:xfrm>
                    <a:off x="7766070" y="2660476"/>
                    <a:ext cx="38865" cy="41314"/>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graphicFrame>
                <p:nvGraphicFramePr>
                  <p:cNvPr id="478" name="Object 32"/>
                  <p:cNvGraphicFramePr>
                    <a:graphicFrameLocks noChangeAspect="1"/>
                  </p:cNvGraphicFramePr>
                  <p:nvPr/>
                </p:nvGraphicFramePr>
                <p:xfrm>
                  <a:off x="6983608" y="2275410"/>
                  <a:ext cx="51961" cy="52696"/>
                </p:xfrm>
                <a:graphic>
                  <a:graphicData uri="http://schemas.openxmlformats.org/presentationml/2006/ole">
                    <p:oleObj spid="_x0000_s2098798" r:id="rId25" imgW="312983" imgH="312983" progId="">
                      <p:embed/>
                    </p:oleObj>
                  </a:graphicData>
                </a:graphic>
              </p:graphicFrame>
              <p:sp>
                <p:nvSpPr>
                  <p:cNvPr id="479" name="Oval 478"/>
                  <p:cNvSpPr/>
                  <p:nvPr/>
                </p:nvSpPr>
                <p:spPr bwMode="auto">
                  <a:xfrm>
                    <a:off x="7157688" y="2434528"/>
                    <a:ext cx="37733" cy="41062"/>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80" name="Oval 479"/>
                  <p:cNvSpPr/>
                  <p:nvPr/>
                </p:nvSpPr>
                <p:spPr bwMode="auto">
                  <a:xfrm>
                    <a:off x="7124825" y="2820013"/>
                    <a:ext cx="37733" cy="42056"/>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81" name="Oval 480"/>
                  <p:cNvSpPr/>
                  <p:nvPr/>
                </p:nvSpPr>
                <p:spPr bwMode="auto">
                  <a:xfrm>
                    <a:off x="7033804" y="1572803"/>
                    <a:ext cx="37370" cy="41623"/>
                  </a:xfrm>
                  <a:prstGeom prst="ellipse">
                    <a:avLst/>
                  </a:prstGeom>
                  <a:solidFill>
                    <a:srgbClr val="FF0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82" name="Oval 481"/>
                  <p:cNvSpPr/>
                  <p:nvPr/>
                </p:nvSpPr>
                <p:spPr bwMode="auto">
                  <a:xfrm>
                    <a:off x="6196327" y="2128531"/>
                    <a:ext cx="38864" cy="41369"/>
                  </a:xfrm>
                  <a:prstGeom prst="ellipse">
                    <a:avLst/>
                  </a:prstGeom>
                  <a:solidFill>
                    <a:srgbClr val="FF0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grpSp>
          </p:grpSp>
          <p:grpSp>
            <p:nvGrpSpPr>
              <p:cNvPr id="296" name="Group 244"/>
              <p:cNvGrpSpPr>
                <a:grpSpLocks/>
              </p:cNvGrpSpPr>
              <p:nvPr/>
            </p:nvGrpSpPr>
            <p:grpSpPr bwMode="auto">
              <a:xfrm>
                <a:off x="2987033" y="4539369"/>
                <a:ext cx="880412" cy="597707"/>
                <a:chOff x="6704919" y="4366260"/>
                <a:chExt cx="1231311" cy="642468"/>
              </a:xfrm>
            </p:grpSpPr>
            <p:sp>
              <p:nvSpPr>
                <p:cNvPr id="335" name="Freeform 205"/>
                <p:cNvSpPr>
                  <a:spLocks noChangeArrowheads="1"/>
                </p:cNvSpPr>
                <p:nvPr/>
              </p:nvSpPr>
              <p:spPr bwMode="auto">
                <a:xfrm>
                  <a:off x="7799070" y="4366260"/>
                  <a:ext cx="137160" cy="202828"/>
                </a:xfrm>
                <a:custGeom>
                  <a:avLst/>
                  <a:gdLst>
                    <a:gd name="T0" fmla="*/ 137160 w 137160"/>
                    <a:gd name="T1" fmla="*/ 0 h 202828"/>
                    <a:gd name="T2" fmla="*/ 129540 w 137160"/>
                    <a:gd name="T3" fmla="*/ 11430 h 202828"/>
                    <a:gd name="T4" fmla="*/ 114300 w 137160"/>
                    <a:gd name="T5" fmla="*/ 22860 h 202828"/>
                    <a:gd name="T6" fmla="*/ 110490 w 137160"/>
                    <a:gd name="T7" fmla="*/ 34290 h 202828"/>
                    <a:gd name="T8" fmla="*/ 95250 w 137160"/>
                    <a:gd name="T9" fmla="*/ 64770 h 202828"/>
                    <a:gd name="T10" fmla="*/ 80010 w 137160"/>
                    <a:gd name="T11" fmla="*/ 87630 h 202828"/>
                    <a:gd name="T12" fmla="*/ 72390 w 137160"/>
                    <a:gd name="T13" fmla="*/ 99060 h 202828"/>
                    <a:gd name="T14" fmla="*/ 60960 w 137160"/>
                    <a:gd name="T15" fmla="*/ 118110 h 202828"/>
                    <a:gd name="T16" fmla="*/ 53340 w 137160"/>
                    <a:gd name="T17" fmla="*/ 140970 h 202828"/>
                    <a:gd name="T18" fmla="*/ 41910 w 137160"/>
                    <a:gd name="T19" fmla="*/ 156210 h 202828"/>
                    <a:gd name="T20" fmla="*/ 34290 w 137160"/>
                    <a:gd name="T21" fmla="*/ 167640 h 202828"/>
                    <a:gd name="T22" fmla="*/ 22860 w 137160"/>
                    <a:gd name="T23" fmla="*/ 175260 h 202828"/>
                    <a:gd name="T24" fmla="*/ 3810 w 137160"/>
                    <a:gd name="T25" fmla="*/ 201930 h 202828"/>
                    <a:gd name="T26" fmla="*/ 0 w 137160"/>
                    <a:gd name="T27" fmla="*/ 201930 h 20282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7160"/>
                    <a:gd name="T43" fmla="*/ 0 h 202828"/>
                    <a:gd name="T44" fmla="*/ 137160 w 137160"/>
                    <a:gd name="T45" fmla="*/ 202828 h 20282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7160" h="202828">
                      <a:moveTo>
                        <a:pt x="137160" y="0"/>
                      </a:moveTo>
                      <a:cubicBezTo>
                        <a:pt x="134620" y="3810"/>
                        <a:pt x="132778" y="8192"/>
                        <a:pt x="129540" y="11430"/>
                      </a:cubicBezTo>
                      <a:cubicBezTo>
                        <a:pt x="125050" y="15920"/>
                        <a:pt x="118365" y="17982"/>
                        <a:pt x="114300" y="22860"/>
                      </a:cubicBezTo>
                      <a:cubicBezTo>
                        <a:pt x="111729" y="25945"/>
                        <a:pt x="112152" y="30634"/>
                        <a:pt x="110490" y="34290"/>
                      </a:cubicBezTo>
                      <a:cubicBezTo>
                        <a:pt x="105790" y="44631"/>
                        <a:pt x="101551" y="55319"/>
                        <a:pt x="95250" y="64770"/>
                      </a:cubicBezTo>
                      <a:lnTo>
                        <a:pt x="80010" y="87630"/>
                      </a:lnTo>
                      <a:cubicBezTo>
                        <a:pt x="77470" y="91440"/>
                        <a:pt x="74746" y="95133"/>
                        <a:pt x="72390" y="99060"/>
                      </a:cubicBezTo>
                      <a:cubicBezTo>
                        <a:pt x="68580" y="105410"/>
                        <a:pt x="64024" y="111368"/>
                        <a:pt x="60960" y="118110"/>
                      </a:cubicBezTo>
                      <a:cubicBezTo>
                        <a:pt x="57636" y="125422"/>
                        <a:pt x="58159" y="134544"/>
                        <a:pt x="53340" y="140970"/>
                      </a:cubicBezTo>
                      <a:cubicBezTo>
                        <a:pt x="49530" y="146050"/>
                        <a:pt x="45601" y="151043"/>
                        <a:pt x="41910" y="156210"/>
                      </a:cubicBezTo>
                      <a:cubicBezTo>
                        <a:pt x="39248" y="159936"/>
                        <a:pt x="37528" y="164402"/>
                        <a:pt x="34290" y="167640"/>
                      </a:cubicBezTo>
                      <a:cubicBezTo>
                        <a:pt x="31052" y="170878"/>
                        <a:pt x="26670" y="172720"/>
                        <a:pt x="22860" y="175260"/>
                      </a:cubicBezTo>
                      <a:cubicBezTo>
                        <a:pt x="18533" y="181750"/>
                        <a:pt x="8536" y="197204"/>
                        <a:pt x="3810" y="201930"/>
                      </a:cubicBezTo>
                      <a:cubicBezTo>
                        <a:pt x="2912" y="202828"/>
                        <a:pt x="1270" y="201930"/>
                        <a:pt x="0" y="201930"/>
                      </a:cubicBezTo>
                    </a:path>
                  </a:pathLst>
                </a:custGeom>
                <a:solidFill>
                  <a:schemeClr val="bg1"/>
                </a:solidFill>
                <a:ln w="28575" algn="ctr">
                  <a:solidFill>
                    <a:srgbClr val="FF0000"/>
                  </a:solidFill>
                  <a:round/>
                  <a:headEnd/>
                  <a:tailEnd/>
                </a:ln>
              </p:spPr>
              <p:txBody>
                <a:bodyPr wrap="none" lIns="0" tIns="0" rIns="0" bIns="0" anchor="ctr"/>
                <a:lstStyle/>
                <a:p>
                  <a:pPr algn="ctr" defTabSz="873125" eaLnBrk="0" hangingPunct="0"/>
                  <a:endParaRPr lang="pt-BR"/>
                </a:p>
              </p:txBody>
            </p:sp>
            <p:sp>
              <p:nvSpPr>
                <p:cNvPr id="336" name="Freeform 335"/>
                <p:cNvSpPr>
                  <a:spLocks noChangeArrowheads="1"/>
                </p:cNvSpPr>
                <p:nvPr/>
              </p:nvSpPr>
              <p:spPr bwMode="auto">
                <a:xfrm>
                  <a:off x="7680815" y="4590589"/>
                  <a:ext cx="68563" cy="106527"/>
                </a:xfrm>
                <a:custGeom>
                  <a:avLst/>
                  <a:gdLst>
                    <a:gd name="T0" fmla="*/ 68580 w 68580"/>
                    <a:gd name="T1" fmla="*/ 0 h 106680"/>
                    <a:gd name="T2" fmla="*/ 57150 w 68580"/>
                    <a:gd name="T3" fmla="*/ 3810 h 106680"/>
                    <a:gd name="T4" fmla="*/ 49530 w 68580"/>
                    <a:gd name="T5" fmla="*/ 15240 h 106680"/>
                    <a:gd name="T6" fmla="*/ 38100 w 68580"/>
                    <a:gd name="T7" fmla="*/ 22860 h 106680"/>
                    <a:gd name="T8" fmla="*/ 22860 w 68580"/>
                    <a:gd name="T9" fmla="*/ 45720 h 106680"/>
                    <a:gd name="T10" fmla="*/ 19050 w 68580"/>
                    <a:gd name="T11" fmla="*/ 57150 h 106680"/>
                    <a:gd name="T12" fmla="*/ 11430 w 68580"/>
                    <a:gd name="T13" fmla="*/ 87630 h 106680"/>
                    <a:gd name="T14" fmla="*/ 0 w 68580"/>
                    <a:gd name="T15" fmla="*/ 106680 h 106680"/>
                    <a:gd name="T16" fmla="*/ 0 60000 65536"/>
                    <a:gd name="T17" fmla="*/ 0 60000 65536"/>
                    <a:gd name="T18" fmla="*/ 0 60000 65536"/>
                    <a:gd name="T19" fmla="*/ 0 60000 65536"/>
                    <a:gd name="T20" fmla="*/ 0 60000 65536"/>
                    <a:gd name="T21" fmla="*/ 0 60000 65536"/>
                    <a:gd name="T22" fmla="*/ 0 60000 65536"/>
                    <a:gd name="T23" fmla="*/ 0 60000 65536"/>
                    <a:gd name="T24" fmla="*/ 0 w 68580"/>
                    <a:gd name="T25" fmla="*/ 0 h 106680"/>
                    <a:gd name="T26" fmla="*/ 68580 w 68580"/>
                    <a:gd name="T27" fmla="*/ 106680 h 1066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8580" h="106680">
                      <a:moveTo>
                        <a:pt x="68580" y="0"/>
                      </a:moveTo>
                      <a:cubicBezTo>
                        <a:pt x="64770" y="1270"/>
                        <a:pt x="60286" y="1301"/>
                        <a:pt x="57150" y="3810"/>
                      </a:cubicBezTo>
                      <a:cubicBezTo>
                        <a:pt x="53574" y="6671"/>
                        <a:pt x="52768" y="12002"/>
                        <a:pt x="49530" y="15240"/>
                      </a:cubicBezTo>
                      <a:cubicBezTo>
                        <a:pt x="46292" y="18478"/>
                        <a:pt x="41910" y="20320"/>
                        <a:pt x="38100" y="22860"/>
                      </a:cubicBezTo>
                      <a:cubicBezTo>
                        <a:pt x="29041" y="50038"/>
                        <a:pt x="41886" y="17180"/>
                        <a:pt x="22860" y="45720"/>
                      </a:cubicBezTo>
                      <a:cubicBezTo>
                        <a:pt x="20632" y="49062"/>
                        <a:pt x="20107" y="53275"/>
                        <a:pt x="19050" y="57150"/>
                      </a:cubicBezTo>
                      <a:cubicBezTo>
                        <a:pt x="16294" y="67254"/>
                        <a:pt x="17239" y="78916"/>
                        <a:pt x="11430" y="87630"/>
                      </a:cubicBezTo>
                      <a:cubicBezTo>
                        <a:pt x="2235" y="101423"/>
                        <a:pt x="5858" y="94964"/>
                        <a:pt x="0" y="106680"/>
                      </a:cubicBezTo>
                    </a:path>
                  </a:pathLst>
                </a:custGeom>
                <a:solidFill>
                  <a:schemeClr val="accent2">
                    <a:lumMod val="60000"/>
                    <a:lumOff val="40000"/>
                  </a:schemeClr>
                </a:solidFill>
                <a:ln w="28575" algn="ctr">
                  <a:solidFill>
                    <a:srgbClr val="990000"/>
                  </a:solidFill>
                  <a:round/>
                  <a:headEnd/>
                  <a:tailEnd/>
                </a:ln>
              </p:spPr>
              <p:txBody>
                <a:bodyPr wrap="none" lIns="0" tIns="0" rIns="0" bIns="0" anchor="ctr"/>
                <a:lstStyle/>
                <a:p>
                  <a:pPr algn="ctr" defTabSz="873125" eaLnBrk="0" hangingPunct="0">
                    <a:defRPr/>
                  </a:pPr>
                  <a:endParaRPr lang="pt-BR">
                    <a:latin typeface="Arial" charset="0"/>
                    <a:cs typeface="Arial" charset="0"/>
                  </a:endParaRPr>
                </a:p>
              </p:txBody>
            </p:sp>
            <p:sp>
              <p:nvSpPr>
                <p:cNvPr id="337" name="Freeform 207"/>
                <p:cNvSpPr>
                  <a:spLocks noChangeArrowheads="1"/>
                </p:cNvSpPr>
                <p:nvPr/>
              </p:nvSpPr>
              <p:spPr bwMode="auto">
                <a:xfrm>
                  <a:off x="7644964" y="4548146"/>
                  <a:ext cx="107558" cy="127221"/>
                </a:xfrm>
                <a:custGeom>
                  <a:avLst/>
                  <a:gdLst>
                    <a:gd name="T0" fmla="*/ 107558 w 107558"/>
                    <a:gd name="T1" fmla="*/ 0 h 127221"/>
                    <a:gd name="T2" fmla="*/ 43947 w 107558"/>
                    <a:gd name="T3" fmla="*/ 23854 h 127221"/>
                    <a:gd name="T4" fmla="*/ 12142 w 107558"/>
                    <a:gd name="T5" fmla="*/ 63611 h 127221"/>
                    <a:gd name="T6" fmla="*/ 4191 w 107558"/>
                    <a:gd name="T7" fmla="*/ 127221 h 127221"/>
                    <a:gd name="T8" fmla="*/ 0 60000 65536"/>
                    <a:gd name="T9" fmla="*/ 0 60000 65536"/>
                    <a:gd name="T10" fmla="*/ 0 60000 65536"/>
                    <a:gd name="T11" fmla="*/ 0 60000 65536"/>
                    <a:gd name="T12" fmla="*/ 0 w 107558"/>
                    <a:gd name="T13" fmla="*/ 0 h 127221"/>
                    <a:gd name="T14" fmla="*/ 107558 w 107558"/>
                    <a:gd name="T15" fmla="*/ 127221 h 127221"/>
                  </a:gdLst>
                  <a:ahLst/>
                  <a:cxnLst>
                    <a:cxn ang="T8">
                      <a:pos x="T0" y="T1"/>
                    </a:cxn>
                    <a:cxn ang="T9">
                      <a:pos x="T2" y="T3"/>
                    </a:cxn>
                    <a:cxn ang="T10">
                      <a:pos x="T4" y="T5"/>
                    </a:cxn>
                    <a:cxn ang="T11">
                      <a:pos x="T6" y="T7"/>
                    </a:cxn>
                  </a:cxnLst>
                  <a:rect l="T12" t="T13" r="T14" b="T15"/>
                  <a:pathLst>
                    <a:path w="107558" h="127221">
                      <a:moveTo>
                        <a:pt x="107558" y="0"/>
                      </a:moveTo>
                      <a:cubicBezTo>
                        <a:pt x="86006" y="4310"/>
                        <a:pt x="59547" y="4354"/>
                        <a:pt x="43947" y="23854"/>
                      </a:cubicBezTo>
                      <a:cubicBezTo>
                        <a:pt x="54" y="78721"/>
                        <a:pt x="80505" y="18035"/>
                        <a:pt x="12142" y="63611"/>
                      </a:cubicBezTo>
                      <a:cubicBezTo>
                        <a:pt x="0" y="100036"/>
                        <a:pt x="4191" y="79083"/>
                        <a:pt x="4191" y="127221"/>
                      </a:cubicBezTo>
                    </a:path>
                  </a:pathLst>
                </a:custGeom>
                <a:solidFill>
                  <a:schemeClr val="bg1"/>
                </a:solidFill>
                <a:ln w="28575" algn="ctr">
                  <a:solidFill>
                    <a:schemeClr val="bg2"/>
                  </a:solidFill>
                  <a:round/>
                  <a:headEnd/>
                  <a:tailEnd/>
                </a:ln>
              </p:spPr>
              <p:txBody>
                <a:bodyPr wrap="none" lIns="0" tIns="0" rIns="0" bIns="0" anchor="ctr"/>
                <a:lstStyle/>
                <a:p>
                  <a:pPr algn="ctr" defTabSz="873125" eaLnBrk="0" hangingPunct="0"/>
                  <a:endParaRPr lang="pt-BR"/>
                </a:p>
              </p:txBody>
            </p:sp>
            <p:sp>
              <p:nvSpPr>
                <p:cNvPr id="338" name="Freeform 209"/>
                <p:cNvSpPr>
                  <a:spLocks noChangeArrowheads="1"/>
                </p:cNvSpPr>
                <p:nvPr/>
              </p:nvSpPr>
              <p:spPr bwMode="auto">
                <a:xfrm>
                  <a:off x="6704919" y="4817660"/>
                  <a:ext cx="248615" cy="191068"/>
                </a:xfrm>
                <a:custGeom>
                  <a:avLst/>
                  <a:gdLst>
                    <a:gd name="T0" fmla="*/ 2956 w 248615"/>
                    <a:gd name="T1" fmla="*/ 191068 h 191068"/>
                    <a:gd name="T2" fmla="*/ 23427 w 248615"/>
                    <a:gd name="T3" fmla="*/ 136477 h 191068"/>
                    <a:gd name="T4" fmla="*/ 30251 w 248615"/>
                    <a:gd name="T5" fmla="*/ 116006 h 191068"/>
                    <a:gd name="T6" fmla="*/ 50723 w 248615"/>
                    <a:gd name="T7" fmla="*/ 102358 h 191068"/>
                    <a:gd name="T8" fmla="*/ 64371 w 248615"/>
                    <a:gd name="T9" fmla="*/ 81886 h 191068"/>
                    <a:gd name="T10" fmla="*/ 105314 w 248615"/>
                    <a:gd name="T11" fmla="*/ 54591 h 191068"/>
                    <a:gd name="T12" fmla="*/ 125785 w 248615"/>
                    <a:gd name="T13" fmla="*/ 47767 h 191068"/>
                    <a:gd name="T14" fmla="*/ 173553 w 248615"/>
                    <a:gd name="T15" fmla="*/ 34119 h 191068"/>
                    <a:gd name="T16" fmla="*/ 194024 w 248615"/>
                    <a:gd name="T17" fmla="*/ 20471 h 191068"/>
                    <a:gd name="T18" fmla="*/ 234968 w 248615"/>
                    <a:gd name="T19" fmla="*/ 6824 h 191068"/>
                    <a:gd name="T20" fmla="*/ 248615 w 248615"/>
                    <a:gd name="T21" fmla="*/ 0 h 19106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48615"/>
                    <a:gd name="T34" fmla="*/ 0 h 191068"/>
                    <a:gd name="T35" fmla="*/ 248615 w 248615"/>
                    <a:gd name="T36" fmla="*/ 191068 h 19106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48615" h="191068">
                      <a:moveTo>
                        <a:pt x="2956" y="191068"/>
                      </a:moveTo>
                      <a:cubicBezTo>
                        <a:pt x="16121" y="125244"/>
                        <a:pt x="0" y="183332"/>
                        <a:pt x="23427" y="136477"/>
                      </a:cubicBezTo>
                      <a:cubicBezTo>
                        <a:pt x="26644" y="130044"/>
                        <a:pt x="25758" y="121623"/>
                        <a:pt x="30251" y="116006"/>
                      </a:cubicBezTo>
                      <a:cubicBezTo>
                        <a:pt x="35374" y="109602"/>
                        <a:pt x="43899" y="106907"/>
                        <a:pt x="50723" y="102358"/>
                      </a:cubicBezTo>
                      <a:cubicBezTo>
                        <a:pt x="55272" y="95534"/>
                        <a:pt x="58199" y="87287"/>
                        <a:pt x="64371" y="81886"/>
                      </a:cubicBezTo>
                      <a:cubicBezTo>
                        <a:pt x="76715" y="71085"/>
                        <a:pt x="89753" y="59778"/>
                        <a:pt x="105314" y="54591"/>
                      </a:cubicBezTo>
                      <a:cubicBezTo>
                        <a:pt x="112138" y="52316"/>
                        <a:pt x="118869" y="49743"/>
                        <a:pt x="125785" y="47767"/>
                      </a:cubicBezTo>
                      <a:cubicBezTo>
                        <a:pt x="185773" y="30627"/>
                        <a:pt x="124462" y="50483"/>
                        <a:pt x="173553" y="34119"/>
                      </a:cubicBezTo>
                      <a:cubicBezTo>
                        <a:pt x="180377" y="29570"/>
                        <a:pt x="186530" y="23802"/>
                        <a:pt x="194024" y="20471"/>
                      </a:cubicBezTo>
                      <a:cubicBezTo>
                        <a:pt x="207170" y="14628"/>
                        <a:pt x="222101" y="13258"/>
                        <a:pt x="234968" y="6824"/>
                      </a:cubicBezTo>
                      <a:lnTo>
                        <a:pt x="248615" y="0"/>
                      </a:lnTo>
                    </a:path>
                  </a:pathLst>
                </a:custGeom>
                <a:solidFill>
                  <a:schemeClr val="bg1"/>
                </a:solidFill>
                <a:ln w="28575" algn="ctr">
                  <a:solidFill>
                    <a:srgbClr val="FF0000"/>
                  </a:solidFill>
                  <a:round/>
                  <a:headEnd/>
                  <a:tailEnd/>
                </a:ln>
              </p:spPr>
              <p:txBody>
                <a:bodyPr wrap="none" lIns="0" tIns="0" rIns="0" bIns="0" anchor="ctr"/>
                <a:lstStyle/>
                <a:p>
                  <a:pPr algn="ctr" defTabSz="873125" eaLnBrk="0" hangingPunct="0"/>
                  <a:endParaRPr lang="pt-BR"/>
                </a:p>
              </p:txBody>
            </p:sp>
          </p:grpSp>
          <p:sp>
            <p:nvSpPr>
              <p:cNvPr id="297" name="Text Box 123"/>
              <p:cNvSpPr txBox="1">
                <a:spLocks noChangeArrowheads="1"/>
              </p:cNvSpPr>
              <p:nvPr/>
            </p:nvSpPr>
            <p:spPr bwMode="auto">
              <a:xfrm>
                <a:off x="3802950" y="4715501"/>
                <a:ext cx="319927" cy="122867"/>
              </a:xfrm>
              <a:prstGeom prst="rect">
                <a:avLst/>
              </a:prstGeom>
              <a:noFill/>
              <a:ln w="9525">
                <a:noFill/>
                <a:round/>
                <a:headEnd/>
                <a:tailEnd/>
              </a:ln>
            </p:spPr>
            <p:txBody>
              <a:bodyPr wrap="none" lIns="0" tIns="0" rIns="0" bIns="0">
                <a:spAutoFit/>
              </a:bodyPr>
              <a:lstStyle/>
              <a:p>
                <a:pPr algn="ctr" defTabSz="457200">
                  <a:lnSpc>
                    <a:spcPct val="80000"/>
                  </a:lnSpc>
                  <a:buClr>
                    <a:srgbClr val="000000"/>
                  </a:buClr>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B050"/>
                    </a:solidFill>
                    <a:latin typeface="Calibri" pitchFamily="34" charset="0"/>
                  </a:rPr>
                  <a:t>Campos</a:t>
                </a:r>
              </a:p>
            </p:txBody>
          </p:sp>
          <p:sp>
            <p:nvSpPr>
              <p:cNvPr id="298" name="Text Box 120"/>
              <p:cNvSpPr txBox="1">
                <a:spLocks noChangeArrowheads="1"/>
              </p:cNvSpPr>
              <p:nvPr/>
            </p:nvSpPr>
            <p:spPr bwMode="auto">
              <a:xfrm>
                <a:off x="2293010" y="2574439"/>
                <a:ext cx="244287" cy="99848"/>
              </a:xfrm>
              <a:prstGeom prst="rect">
                <a:avLst/>
              </a:prstGeom>
              <a:noFill/>
              <a:ln w="9525">
                <a:noFill/>
                <a:round/>
                <a:headEnd/>
                <a:tailEnd/>
              </a:ln>
            </p:spPr>
            <p:txBody>
              <a:bodyPr wrap="none" lIns="0" tIns="0" rIns="0" bIns="0">
                <a:spAutoFit/>
              </a:bodyPr>
              <a:lstStyle/>
              <a:p>
                <a:pPr algn="ct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dirty="0" err="1" smtClean="0">
                    <a:solidFill>
                      <a:srgbClr val="FFC000"/>
                    </a:solidFill>
                    <a:latin typeface="Calibri" pitchFamily="34" charset="0"/>
                  </a:rPr>
                  <a:t>Tucuruí</a:t>
                </a:r>
                <a:endParaRPr lang="en-GB" sz="900" dirty="0">
                  <a:solidFill>
                    <a:srgbClr val="FFC000"/>
                  </a:solidFill>
                  <a:latin typeface="Calibri" pitchFamily="34" charset="0"/>
                </a:endParaRPr>
              </a:p>
            </p:txBody>
          </p:sp>
          <p:sp>
            <p:nvSpPr>
              <p:cNvPr id="299" name="Freeform 22"/>
              <p:cNvSpPr/>
              <p:nvPr/>
            </p:nvSpPr>
            <p:spPr bwMode="auto">
              <a:xfrm>
                <a:off x="3011255" y="2336036"/>
                <a:ext cx="125757" cy="1595451"/>
              </a:xfrm>
              <a:custGeom>
                <a:avLst/>
                <a:gdLst>
                  <a:gd name="connsiteX0" fmla="*/ 30637 w 186180"/>
                  <a:gd name="connsiteY0" fmla="*/ 0 h 1814660"/>
                  <a:gd name="connsiteX1" fmla="*/ 2357 w 186180"/>
                  <a:gd name="connsiteY1" fmla="*/ 325225 h 1814660"/>
                  <a:gd name="connsiteX2" fmla="*/ 44777 w 186180"/>
                  <a:gd name="connsiteY2" fmla="*/ 504334 h 1814660"/>
                  <a:gd name="connsiteX3" fmla="*/ 49491 w 186180"/>
                  <a:gd name="connsiteY3" fmla="*/ 768285 h 1814660"/>
                  <a:gd name="connsiteX4" fmla="*/ 49491 w 186180"/>
                  <a:gd name="connsiteY4" fmla="*/ 1008668 h 1814660"/>
                  <a:gd name="connsiteX5" fmla="*/ 73058 w 186180"/>
                  <a:gd name="connsiteY5" fmla="*/ 1197204 h 1814660"/>
                  <a:gd name="connsiteX6" fmla="*/ 82485 w 186180"/>
                  <a:gd name="connsiteY6" fmla="*/ 1437588 h 1814660"/>
                  <a:gd name="connsiteX7" fmla="*/ 110765 w 186180"/>
                  <a:gd name="connsiteY7" fmla="*/ 1659118 h 1814660"/>
                  <a:gd name="connsiteX8" fmla="*/ 186180 w 186180"/>
                  <a:gd name="connsiteY8" fmla="*/ 1814660 h 181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180" h="1814660">
                    <a:moveTo>
                      <a:pt x="30637" y="0"/>
                    </a:moveTo>
                    <a:cubicBezTo>
                      <a:pt x="15318" y="120584"/>
                      <a:pt x="0" y="241169"/>
                      <a:pt x="2357" y="325225"/>
                    </a:cubicBezTo>
                    <a:cubicBezTo>
                      <a:pt x="4714" y="409281"/>
                      <a:pt x="36921" y="430491"/>
                      <a:pt x="44777" y="504334"/>
                    </a:cubicBezTo>
                    <a:cubicBezTo>
                      <a:pt x="52633" y="578177"/>
                      <a:pt x="48705" y="684229"/>
                      <a:pt x="49491" y="768285"/>
                    </a:cubicBezTo>
                    <a:cubicBezTo>
                      <a:pt x="50277" y="852341"/>
                      <a:pt x="45563" y="937182"/>
                      <a:pt x="49491" y="1008668"/>
                    </a:cubicBezTo>
                    <a:cubicBezTo>
                      <a:pt x="53419" y="1080154"/>
                      <a:pt x="67559" y="1125717"/>
                      <a:pt x="73058" y="1197204"/>
                    </a:cubicBezTo>
                    <a:cubicBezTo>
                      <a:pt x="78557" y="1268691"/>
                      <a:pt x="76201" y="1360602"/>
                      <a:pt x="82485" y="1437588"/>
                    </a:cubicBezTo>
                    <a:cubicBezTo>
                      <a:pt x="88769" y="1514574"/>
                      <a:pt x="93483" y="1596273"/>
                      <a:pt x="110765" y="1659118"/>
                    </a:cubicBezTo>
                    <a:cubicBezTo>
                      <a:pt x="128047" y="1721963"/>
                      <a:pt x="172040" y="1789522"/>
                      <a:pt x="186180" y="1814660"/>
                    </a:cubicBezTo>
                  </a:path>
                </a:pathLst>
              </a:custGeom>
              <a:ln w="28575">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pt-BR"/>
              </a:p>
            </p:txBody>
          </p:sp>
          <p:sp>
            <p:nvSpPr>
              <p:cNvPr id="300" name="Freeform 550"/>
              <p:cNvSpPr>
                <a:spLocks noChangeArrowheads="1"/>
              </p:cNvSpPr>
              <p:nvPr/>
            </p:nvSpPr>
            <p:spPr bwMode="auto">
              <a:xfrm>
                <a:off x="3298861" y="4898810"/>
                <a:ext cx="368280" cy="109625"/>
              </a:xfrm>
              <a:custGeom>
                <a:avLst/>
                <a:gdLst>
                  <a:gd name="T0" fmla="*/ 0 w 548640"/>
                  <a:gd name="T1" fmla="*/ 99753 h 124691"/>
                  <a:gd name="T2" fmla="*/ 155171 w 548640"/>
                  <a:gd name="T3" fmla="*/ 121920 h 124691"/>
                  <a:gd name="T4" fmla="*/ 304800 w 548640"/>
                  <a:gd name="T5" fmla="*/ 83127 h 124691"/>
                  <a:gd name="T6" fmla="*/ 459971 w 548640"/>
                  <a:gd name="T7" fmla="*/ 72044 h 124691"/>
                  <a:gd name="T8" fmla="*/ 548640 w 548640"/>
                  <a:gd name="T9" fmla="*/ 0 h 124691"/>
                  <a:gd name="T10" fmla="*/ 0 60000 65536"/>
                  <a:gd name="T11" fmla="*/ 0 60000 65536"/>
                  <a:gd name="T12" fmla="*/ 0 60000 65536"/>
                  <a:gd name="T13" fmla="*/ 0 60000 65536"/>
                  <a:gd name="T14" fmla="*/ 0 60000 65536"/>
                  <a:gd name="T15" fmla="*/ 0 w 548640"/>
                  <a:gd name="T16" fmla="*/ 0 h 124691"/>
                  <a:gd name="T17" fmla="*/ 548640 w 548640"/>
                  <a:gd name="T18" fmla="*/ 124691 h 124691"/>
                </a:gdLst>
                <a:ahLst/>
                <a:cxnLst>
                  <a:cxn ang="T10">
                    <a:pos x="T0" y="T1"/>
                  </a:cxn>
                  <a:cxn ang="T11">
                    <a:pos x="T2" y="T3"/>
                  </a:cxn>
                  <a:cxn ang="T12">
                    <a:pos x="T4" y="T5"/>
                  </a:cxn>
                  <a:cxn ang="T13">
                    <a:pos x="T6" y="T7"/>
                  </a:cxn>
                  <a:cxn ang="T14">
                    <a:pos x="T8" y="T9"/>
                  </a:cxn>
                </a:cxnLst>
                <a:rect l="T15" t="T16" r="T17" b="T18"/>
                <a:pathLst>
                  <a:path w="548640" h="124691">
                    <a:moveTo>
                      <a:pt x="0" y="99753"/>
                    </a:moveTo>
                    <a:cubicBezTo>
                      <a:pt x="52185" y="112222"/>
                      <a:pt x="104371" y="124691"/>
                      <a:pt x="155171" y="121920"/>
                    </a:cubicBezTo>
                    <a:cubicBezTo>
                      <a:pt x="205971" y="119149"/>
                      <a:pt x="254000" y="91440"/>
                      <a:pt x="304800" y="83127"/>
                    </a:cubicBezTo>
                    <a:cubicBezTo>
                      <a:pt x="355600" y="74814"/>
                      <a:pt x="419331" y="85898"/>
                      <a:pt x="459971" y="72044"/>
                    </a:cubicBezTo>
                    <a:cubicBezTo>
                      <a:pt x="500611" y="58190"/>
                      <a:pt x="536633" y="12931"/>
                      <a:pt x="548640" y="0"/>
                    </a:cubicBezTo>
                  </a:path>
                </a:pathLst>
              </a:custGeom>
              <a:noFill/>
              <a:ln w="28575">
                <a:solidFill>
                  <a:srgbClr val="0070C0"/>
                </a:solidFill>
                <a:round/>
                <a:headEnd/>
                <a:tailEnd/>
              </a:ln>
            </p:spPr>
            <p:txBody>
              <a:bodyPr wrap="none" anchor="ctr"/>
              <a:lstStyle/>
              <a:p>
                <a:pPr algn="ctr"/>
                <a:endParaRPr lang="pt-BR" sz="700"/>
              </a:p>
            </p:txBody>
          </p:sp>
          <p:sp>
            <p:nvSpPr>
              <p:cNvPr id="301" name="Freeform 63"/>
              <p:cNvSpPr>
                <a:spLocks noChangeArrowheads="1"/>
              </p:cNvSpPr>
              <p:nvPr/>
            </p:nvSpPr>
            <p:spPr bwMode="auto">
              <a:xfrm>
                <a:off x="2372295" y="5695371"/>
                <a:ext cx="434120" cy="26688"/>
              </a:xfrm>
              <a:custGeom>
                <a:avLst/>
                <a:gdLst>
                  <a:gd name="T0" fmla="*/ 2147483647 w 203"/>
                  <a:gd name="T1" fmla="*/ 2147483647 h 11"/>
                  <a:gd name="T2" fmla="*/ 2147483647 w 203"/>
                  <a:gd name="T3" fmla="*/ 2147483647 h 11"/>
                  <a:gd name="T4" fmla="*/ 0 w 203"/>
                  <a:gd name="T5" fmla="*/ 0 h 11"/>
                  <a:gd name="T6" fmla="*/ 0 60000 65536"/>
                  <a:gd name="T7" fmla="*/ 0 60000 65536"/>
                  <a:gd name="T8" fmla="*/ 0 60000 65536"/>
                  <a:gd name="T9" fmla="*/ 0 w 203"/>
                  <a:gd name="T10" fmla="*/ 0 h 11"/>
                  <a:gd name="T11" fmla="*/ 203 w 203"/>
                  <a:gd name="T12" fmla="*/ 11 h 11"/>
                </a:gdLst>
                <a:ahLst/>
                <a:cxnLst>
                  <a:cxn ang="T6">
                    <a:pos x="T0" y="T1"/>
                  </a:cxn>
                  <a:cxn ang="T7">
                    <a:pos x="T2" y="T3"/>
                  </a:cxn>
                  <a:cxn ang="T8">
                    <a:pos x="T4" y="T5"/>
                  </a:cxn>
                </a:cxnLst>
                <a:rect l="T9" t="T10" r="T11" b="T12"/>
                <a:pathLst>
                  <a:path w="203" h="11">
                    <a:moveTo>
                      <a:pt x="203" y="3"/>
                    </a:moveTo>
                    <a:cubicBezTo>
                      <a:pt x="194" y="6"/>
                      <a:pt x="167" y="11"/>
                      <a:pt x="133" y="11"/>
                    </a:cubicBezTo>
                    <a:cubicBezTo>
                      <a:pt x="99" y="11"/>
                      <a:pt x="28" y="2"/>
                      <a:pt x="0" y="0"/>
                    </a:cubicBezTo>
                  </a:path>
                </a:pathLst>
              </a:custGeom>
              <a:noFill/>
              <a:ln w="28575">
                <a:solidFill>
                  <a:srgbClr val="0070C0"/>
                </a:solidFill>
                <a:round/>
                <a:headEnd/>
                <a:tailEnd/>
              </a:ln>
            </p:spPr>
            <p:txBody>
              <a:bodyPr wrap="none" anchor="ctr"/>
              <a:lstStyle/>
              <a:p>
                <a:endParaRPr lang="pt-BR"/>
              </a:p>
            </p:txBody>
          </p:sp>
          <p:sp>
            <p:nvSpPr>
              <p:cNvPr id="302" name="Freeform 301"/>
              <p:cNvSpPr/>
              <p:nvPr/>
            </p:nvSpPr>
            <p:spPr bwMode="auto">
              <a:xfrm>
                <a:off x="3881558" y="3132862"/>
                <a:ext cx="207001" cy="207880"/>
              </a:xfrm>
              <a:custGeom>
                <a:avLst/>
                <a:gdLst>
                  <a:gd name="connsiteX0" fmla="*/ 223284 w 308344"/>
                  <a:gd name="connsiteY0" fmla="*/ 0 h 236423"/>
                  <a:gd name="connsiteX1" fmla="*/ 53163 w 308344"/>
                  <a:gd name="connsiteY1" fmla="*/ 10633 h 236423"/>
                  <a:gd name="connsiteX2" fmla="*/ 21265 w 308344"/>
                  <a:gd name="connsiteY2" fmla="*/ 21265 h 236423"/>
                  <a:gd name="connsiteX3" fmla="*/ 0 w 308344"/>
                  <a:gd name="connsiteY3" fmla="*/ 42531 h 236423"/>
                  <a:gd name="connsiteX4" fmla="*/ 10633 w 308344"/>
                  <a:gd name="connsiteY4" fmla="*/ 74428 h 236423"/>
                  <a:gd name="connsiteX5" fmla="*/ 138223 w 308344"/>
                  <a:gd name="connsiteY5" fmla="*/ 138224 h 236423"/>
                  <a:gd name="connsiteX6" fmla="*/ 170121 w 308344"/>
                  <a:gd name="connsiteY6" fmla="*/ 159489 h 236423"/>
                  <a:gd name="connsiteX7" fmla="*/ 180754 w 308344"/>
                  <a:gd name="connsiteY7" fmla="*/ 191386 h 236423"/>
                  <a:gd name="connsiteX8" fmla="*/ 212651 w 308344"/>
                  <a:gd name="connsiteY8" fmla="*/ 202019 h 236423"/>
                  <a:gd name="connsiteX9" fmla="*/ 276447 w 308344"/>
                  <a:gd name="connsiteY9" fmla="*/ 212651 h 236423"/>
                  <a:gd name="connsiteX10" fmla="*/ 308344 w 308344"/>
                  <a:gd name="connsiteY10" fmla="*/ 233917 h 236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8344" h="236423">
                    <a:moveTo>
                      <a:pt x="223284" y="0"/>
                    </a:moveTo>
                    <a:cubicBezTo>
                      <a:pt x="166577" y="3544"/>
                      <a:pt x="109668" y="4685"/>
                      <a:pt x="53163" y="10633"/>
                    </a:cubicBezTo>
                    <a:cubicBezTo>
                      <a:pt x="42017" y="11806"/>
                      <a:pt x="30876" y="15499"/>
                      <a:pt x="21265" y="21265"/>
                    </a:cubicBezTo>
                    <a:cubicBezTo>
                      <a:pt x="12669" y="26423"/>
                      <a:pt x="7088" y="35442"/>
                      <a:pt x="0" y="42531"/>
                    </a:cubicBezTo>
                    <a:cubicBezTo>
                      <a:pt x="3544" y="53163"/>
                      <a:pt x="2708" y="66503"/>
                      <a:pt x="10633" y="74428"/>
                    </a:cubicBezTo>
                    <a:cubicBezTo>
                      <a:pt x="51856" y="115650"/>
                      <a:pt x="86337" y="120928"/>
                      <a:pt x="138223" y="138224"/>
                    </a:cubicBezTo>
                    <a:cubicBezTo>
                      <a:pt x="150346" y="142265"/>
                      <a:pt x="159488" y="152401"/>
                      <a:pt x="170121" y="159489"/>
                    </a:cubicBezTo>
                    <a:cubicBezTo>
                      <a:pt x="173665" y="170121"/>
                      <a:pt x="172829" y="183461"/>
                      <a:pt x="180754" y="191386"/>
                    </a:cubicBezTo>
                    <a:cubicBezTo>
                      <a:pt x="188679" y="199311"/>
                      <a:pt x="201710" y="199588"/>
                      <a:pt x="212651" y="202019"/>
                    </a:cubicBezTo>
                    <a:cubicBezTo>
                      <a:pt x="233696" y="206696"/>
                      <a:pt x="255182" y="209107"/>
                      <a:pt x="276447" y="212651"/>
                    </a:cubicBezTo>
                    <a:cubicBezTo>
                      <a:pt x="300218" y="236423"/>
                      <a:pt x="287687" y="233917"/>
                      <a:pt x="308344" y="233917"/>
                    </a:cubicBezTo>
                  </a:path>
                </a:pathLst>
              </a:custGeom>
              <a:noFill/>
              <a:ln w="28575" cap="flat" cmpd="sng" algn="ctr">
                <a:solidFill>
                  <a:schemeClr val="bg1">
                    <a:lumMod val="50000"/>
                  </a:schemeClr>
                </a:solidFill>
                <a:prstDash val="solid"/>
                <a:round/>
                <a:headEnd type="none" w="med" len="med"/>
                <a:tailEnd type="none" w="med" len="med"/>
              </a:ln>
              <a:effectLst/>
            </p:spPr>
            <p:txBody>
              <a:bodyPr rtlCol="0" anchor="ctr"/>
              <a:lstStyle/>
              <a:p>
                <a:pPr algn="ctr"/>
                <a:endParaRPr lang="pt-BR"/>
              </a:p>
            </p:txBody>
          </p:sp>
          <p:sp>
            <p:nvSpPr>
              <p:cNvPr id="303" name="Text Box 135"/>
              <p:cNvSpPr txBox="1">
                <a:spLocks noChangeArrowheads="1"/>
              </p:cNvSpPr>
              <p:nvPr/>
            </p:nvSpPr>
            <p:spPr bwMode="auto">
              <a:xfrm>
                <a:off x="3594684" y="3225767"/>
                <a:ext cx="285179" cy="99848"/>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dirty="0" err="1" smtClean="0">
                    <a:solidFill>
                      <a:srgbClr val="000000"/>
                    </a:solidFill>
                    <a:latin typeface="Calibri" pitchFamily="34" charset="0"/>
                  </a:rPr>
                  <a:t>Petrolina</a:t>
                </a:r>
                <a:endParaRPr lang="en-GB" sz="900" dirty="0">
                  <a:solidFill>
                    <a:srgbClr val="000000"/>
                  </a:solidFill>
                  <a:latin typeface="Calibri" pitchFamily="34" charset="0"/>
                </a:endParaRPr>
              </a:p>
            </p:txBody>
          </p:sp>
          <p:sp>
            <p:nvSpPr>
              <p:cNvPr id="304" name="Oval 303"/>
              <p:cNvSpPr/>
              <p:nvPr/>
            </p:nvSpPr>
            <p:spPr bwMode="auto">
              <a:xfrm>
                <a:off x="3827334" y="3146706"/>
                <a:ext cx="53345" cy="68043"/>
              </a:xfrm>
              <a:prstGeom prst="ellipse">
                <a:avLst/>
              </a:prstGeom>
              <a:solidFill>
                <a:srgbClr val="FF0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sz="1000">
                  <a:solidFill>
                    <a:srgbClr val="5F5F5F"/>
                  </a:solidFill>
                </a:endParaRPr>
              </a:p>
            </p:txBody>
          </p:sp>
          <p:sp>
            <p:nvSpPr>
              <p:cNvPr id="305" name="Oval 304"/>
              <p:cNvSpPr/>
              <p:nvPr/>
            </p:nvSpPr>
            <p:spPr bwMode="auto">
              <a:xfrm>
                <a:off x="2564130" y="5702503"/>
                <a:ext cx="51082" cy="63451"/>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sz="1000">
                  <a:solidFill>
                    <a:srgbClr val="FFFFFF"/>
                  </a:solidFill>
                </a:endParaRPr>
              </a:p>
            </p:txBody>
          </p:sp>
          <p:sp>
            <p:nvSpPr>
              <p:cNvPr id="306" name="Freeform 305"/>
              <p:cNvSpPr/>
              <p:nvPr/>
            </p:nvSpPr>
            <p:spPr bwMode="auto">
              <a:xfrm>
                <a:off x="2662644" y="4984280"/>
                <a:ext cx="324382" cy="143012"/>
              </a:xfrm>
              <a:custGeom>
                <a:avLst/>
                <a:gdLst>
                  <a:gd name="connsiteX0" fmla="*/ 0 w 435935"/>
                  <a:gd name="connsiteY0" fmla="*/ 0 h 148855"/>
                  <a:gd name="connsiteX1" fmla="*/ 116958 w 435935"/>
                  <a:gd name="connsiteY1" fmla="*/ 31897 h 148855"/>
                  <a:gd name="connsiteX2" fmla="*/ 148855 w 435935"/>
                  <a:gd name="connsiteY2" fmla="*/ 42530 h 148855"/>
                  <a:gd name="connsiteX3" fmla="*/ 255181 w 435935"/>
                  <a:gd name="connsiteY3" fmla="*/ 21265 h 148855"/>
                  <a:gd name="connsiteX4" fmla="*/ 287079 w 435935"/>
                  <a:gd name="connsiteY4" fmla="*/ 0 h 148855"/>
                  <a:gd name="connsiteX5" fmla="*/ 318976 w 435935"/>
                  <a:gd name="connsiteY5" fmla="*/ 10632 h 148855"/>
                  <a:gd name="connsiteX6" fmla="*/ 329609 w 435935"/>
                  <a:gd name="connsiteY6" fmla="*/ 42530 h 148855"/>
                  <a:gd name="connsiteX7" fmla="*/ 372139 w 435935"/>
                  <a:gd name="connsiteY7" fmla="*/ 95693 h 148855"/>
                  <a:gd name="connsiteX8" fmla="*/ 393404 w 435935"/>
                  <a:gd name="connsiteY8" fmla="*/ 127590 h 148855"/>
                  <a:gd name="connsiteX9" fmla="*/ 425302 w 435935"/>
                  <a:gd name="connsiteY9" fmla="*/ 138223 h 148855"/>
                  <a:gd name="connsiteX10" fmla="*/ 435935 w 435935"/>
                  <a:gd name="connsiteY10" fmla="*/ 148855 h 148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5935" h="148855">
                    <a:moveTo>
                      <a:pt x="0" y="0"/>
                    </a:moveTo>
                    <a:cubicBezTo>
                      <a:pt x="75138" y="15027"/>
                      <a:pt x="36023" y="4918"/>
                      <a:pt x="116958" y="31897"/>
                    </a:cubicBezTo>
                    <a:lnTo>
                      <a:pt x="148855" y="42530"/>
                    </a:lnTo>
                    <a:cubicBezTo>
                      <a:pt x="176278" y="38612"/>
                      <a:pt x="225491" y="36110"/>
                      <a:pt x="255181" y="21265"/>
                    </a:cubicBezTo>
                    <a:cubicBezTo>
                      <a:pt x="266611" y="15550"/>
                      <a:pt x="276446" y="7088"/>
                      <a:pt x="287079" y="0"/>
                    </a:cubicBezTo>
                    <a:cubicBezTo>
                      <a:pt x="297711" y="3544"/>
                      <a:pt x="311051" y="2707"/>
                      <a:pt x="318976" y="10632"/>
                    </a:cubicBezTo>
                    <a:cubicBezTo>
                      <a:pt x="326901" y="18557"/>
                      <a:pt x="324597" y="32505"/>
                      <a:pt x="329609" y="42530"/>
                    </a:cubicBezTo>
                    <a:cubicBezTo>
                      <a:pt x="351424" y="86159"/>
                      <a:pt x="345769" y="62731"/>
                      <a:pt x="372139" y="95693"/>
                    </a:cubicBezTo>
                    <a:cubicBezTo>
                      <a:pt x="380122" y="105671"/>
                      <a:pt x="383426" y="119607"/>
                      <a:pt x="393404" y="127590"/>
                    </a:cubicBezTo>
                    <a:cubicBezTo>
                      <a:pt x="402156" y="134591"/>
                      <a:pt x="415277" y="133211"/>
                      <a:pt x="425302" y="138223"/>
                    </a:cubicBezTo>
                    <a:cubicBezTo>
                      <a:pt x="429785" y="140464"/>
                      <a:pt x="432391" y="145311"/>
                      <a:pt x="435935" y="148855"/>
                    </a:cubicBezTo>
                  </a:path>
                </a:pathLst>
              </a:custGeom>
              <a:solidFill>
                <a:srgbClr val="7030A0"/>
              </a:solidFill>
              <a:ln w="28575" cap="flat" cmpd="sng" algn="ctr">
                <a:solidFill>
                  <a:schemeClr val="bg1">
                    <a:lumMod val="50000"/>
                  </a:schemeClr>
                </a:solidFill>
                <a:prstDash val="solid"/>
                <a:round/>
                <a:headEnd type="none" w="med" len="med"/>
                <a:tailEnd type="none" w="med" len="med"/>
              </a:ln>
              <a:effectLst/>
            </p:spPr>
            <p:txBody>
              <a:bodyPr rtlCol="0" anchor="ctr"/>
              <a:lstStyle/>
              <a:p>
                <a:pPr algn="ctr"/>
                <a:endParaRPr lang="pt-BR"/>
              </a:p>
            </p:txBody>
          </p:sp>
          <p:sp>
            <p:nvSpPr>
              <p:cNvPr id="307" name="Oval 306"/>
              <p:cNvSpPr/>
              <p:nvPr/>
            </p:nvSpPr>
            <p:spPr bwMode="auto">
              <a:xfrm>
                <a:off x="2878173" y="4924402"/>
                <a:ext cx="51293" cy="66847"/>
              </a:xfrm>
              <a:prstGeom prst="ellipse">
                <a:avLst/>
              </a:prstGeom>
              <a:solidFill>
                <a:srgbClr val="FF0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sz="1000">
                  <a:solidFill>
                    <a:srgbClr val="5F5F5F"/>
                  </a:solidFill>
                </a:endParaRPr>
              </a:p>
            </p:txBody>
          </p:sp>
          <p:sp>
            <p:nvSpPr>
              <p:cNvPr id="308" name="Text Box 135"/>
              <p:cNvSpPr txBox="1">
                <a:spLocks noChangeArrowheads="1"/>
              </p:cNvSpPr>
              <p:nvPr/>
            </p:nvSpPr>
            <p:spPr bwMode="auto">
              <a:xfrm>
                <a:off x="2681693" y="4852770"/>
                <a:ext cx="416718" cy="88358"/>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700" dirty="0" smtClean="0">
                    <a:solidFill>
                      <a:srgbClr val="000000"/>
                    </a:solidFill>
                    <a:latin typeface="Calibri" pitchFamily="34" charset="0"/>
                  </a:rPr>
                  <a:t>Marina</a:t>
                </a:r>
                <a:endParaRPr lang="en-GB" sz="700" dirty="0">
                  <a:solidFill>
                    <a:srgbClr val="000000"/>
                  </a:solidFill>
                  <a:latin typeface="Calibri" pitchFamily="34" charset="0"/>
                </a:endParaRPr>
              </a:p>
            </p:txBody>
          </p:sp>
          <p:sp>
            <p:nvSpPr>
              <p:cNvPr id="309" name="Freeform 308"/>
              <p:cNvSpPr/>
              <p:nvPr/>
            </p:nvSpPr>
            <p:spPr bwMode="auto">
              <a:xfrm>
                <a:off x="1503800" y="3225961"/>
                <a:ext cx="732883" cy="474807"/>
              </a:xfrm>
              <a:custGeom>
                <a:avLst/>
                <a:gdLst>
                  <a:gd name="connsiteX0" fmla="*/ 999460 w 999460"/>
                  <a:gd name="connsiteY0" fmla="*/ 520995 h 520995"/>
                  <a:gd name="connsiteX1" fmla="*/ 978195 w 999460"/>
                  <a:gd name="connsiteY1" fmla="*/ 489098 h 520995"/>
                  <a:gd name="connsiteX2" fmla="*/ 914400 w 999460"/>
                  <a:gd name="connsiteY2" fmla="*/ 457200 h 520995"/>
                  <a:gd name="connsiteX3" fmla="*/ 882502 w 999460"/>
                  <a:gd name="connsiteY3" fmla="*/ 435935 h 520995"/>
                  <a:gd name="connsiteX4" fmla="*/ 467832 w 999460"/>
                  <a:gd name="connsiteY4" fmla="*/ 404037 h 520995"/>
                  <a:gd name="connsiteX5" fmla="*/ 404037 w 999460"/>
                  <a:gd name="connsiteY5" fmla="*/ 393405 h 520995"/>
                  <a:gd name="connsiteX6" fmla="*/ 340242 w 999460"/>
                  <a:gd name="connsiteY6" fmla="*/ 372140 h 520995"/>
                  <a:gd name="connsiteX7" fmla="*/ 318977 w 999460"/>
                  <a:gd name="connsiteY7" fmla="*/ 350874 h 520995"/>
                  <a:gd name="connsiteX8" fmla="*/ 308344 w 999460"/>
                  <a:gd name="connsiteY8" fmla="*/ 318977 h 520995"/>
                  <a:gd name="connsiteX9" fmla="*/ 276446 w 999460"/>
                  <a:gd name="connsiteY9" fmla="*/ 297712 h 520995"/>
                  <a:gd name="connsiteX10" fmla="*/ 255181 w 999460"/>
                  <a:gd name="connsiteY10" fmla="*/ 265814 h 520995"/>
                  <a:gd name="connsiteX11" fmla="*/ 191386 w 999460"/>
                  <a:gd name="connsiteY11" fmla="*/ 223284 h 520995"/>
                  <a:gd name="connsiteX12" fmla="*/ 170121 w 999460"/>
                  <a:gd name="connsiteY12" fmla="*/ 191386 h 520995"/>
                  <a:gd name="connsiteX13" fmla="*/ 106325 w 999460"/>
                  <a:gd name="connsiteY13" fmla="*/ 138223 h 520995"/>
                  <a:gd name="connsiteX14" fmla="*/ 63795 w 999460"/>
                  <a:gd name="connsiteY14" fmla="*/ 85060 h 520995"/>
                  <a:gd name="connsiteX15" fmla="*/ 53163 w 999460"/>
                  <a:gd name="connsiteY15" fmla="*/ 53163 h 520995"/>
                  <a:gd name="connsiteX16" fmla="*/ 21265 w 999460"/>
                  <a:gd name="connsiteY16" fmla="*/ 21265 h 520995"/>
                  <a:gd name="connsiteX17" fmla="*/ 0 w 999460"/>
                  <a:gd name="connsiteY17" fmla="*/ 0 h 520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99460" h="520995">
                    <a:moveTo>
                      <a:pt x="999460" y="520995"/>
                    </a:moveTo>
                    <a:cubicBezTo>
                      <a:pt x="992372" y="510363"/>
                      <a:pt x="987231" y="498134"/>
                      <a:pt x="978195" y="489098"/>
                    </a:cubicBezTo>
                    <a:cubicBezTo>
                      <a:pt x="947724" y="458627"/>
                      <a:pt x="948990" y="474495"/>
                      <a:pt x="914400" y="457200"/>
                    </a:cubicBezTo>
                    <a:cubicBezTo>
                      <a:pt x="902970" y="451485"/>
                      <a:pt x="894179" y="441125"/>
                      <a:pt x="882502" y="435935"/>
                    </a:cubicBezTo>
                    <a:cubicBezTo>
                      <a:pt x="754597" y="379089"/>
                      <a:pt x="596298" y="407930"/>
                      <a:pt x="467832" y="404037"/>
                    </a:cubicBezTo>
                    <a:cubicBezTo>
                      <a:pt x="446567" y="400493"/>
                      <a:pt x="424952" y="398634"/>
                      <a:pt x="404037" y="393405"/>
                    </a:cubicBezTo>
                    <a:cubicBezTo>
                      <a:pt x="382291" y="387969"/>
                      <a:pt x="340242" y="372140"/>
                      <a:pt x="340242" y="372140"/>
                    </a:cubicBezTo>
                    <a:cubicBezTo>
                      <a:pt x="333154" y="365051"/>
                      <a:pt x="324135" y="359470"/>
                      <a:pt x="318977" y="350874"/>
                    </a:cubicBezTo>
                    <a:cubicBezTo>
                      <a:pt x="313211" y="341264"/>
                      <a:pt x="315345" y="327729"/>
                      <a:pt x="308344" y="318977"/>
                    </a:cubicBezTo>
                    <a:cubicBezTo>
                      <a:pt x="300361" y="308999"/>
                      <a:pt x="287079" y="304800"/>
                      <a:pt x="276446" y="297712"/>
                    </a:cubicBezTo>
                    <a:cubicBezTo>
                      <a:pt x="269358" y="287079"/>
                      <a:pt x="264798" y="274229"/>
                      <a:pt x="255181" y="265814"/>
                    </a:cubicBezTo>
                    <a:cubicBezTo>
                      <a:pt x="235947" y="248984"/>
                      <a:pt x="191386" y="223284"/>
                      <a:pt x="191386" y="223284"/>
                    </a:cubicBezTo>
                    <a:cubicBezTo>
                      <a:pt x="184298" y="212651"/>
                      <a:pt x="179157" y="200422"/>
                      <a:pt x="170121" y="191386"/>
                    </a:cubicBezTo>
                    <a:cubicBezTo>
                      <a:pt x="86476" y="107741"/>
                      <a:pt x="193427" y="242745"/>
                      <a:pt x="106325" y="138223"/>
                    </a:cubicBezTo>
                    <a:cubicBezTo>
                      <a:pt x="39251" y="57734"/>
                      <a:pt x="125670" y="146938"/>
                      <a:pt x="63795" y="85060"/>
                    </a:cubicBezTo>
                    <a:cubicBezTo>
                      <a:pt x="60251" y="74428"/>
                      <a:pt x="59380" y="62488"/>
                      <a:pt x="53163" y="53163"/>
                    </a:cubicBezTo>
                    <a:cubicBezTo>
                      <a:pt x="44822" y="40652"/>
                      <a:pt x="31898" y="31898"/>
                      <a:pt x="21265" y="21265"/>
                    </a:cubicBezTo>
                    <a:lnTo>
                      <a:pt x="0" y="0"/>
                    </a:lnTo>
                  </a:path>
                </a:pathLst>
              </a:custGeom>
              <a:noFill/>
              <a:ln w="28575" cap="flat" cmpd="sng" algn="ctr">
                <a:solidFill>
                  <a:schemeClr val="bg1">
                    <a:lumMod val="50000"/>
                  </a:schemeClr>
                </a:solidFill>
                <a:prstDash val="solid"/>
                <a:round/>
                <a:headEnd type="none" w="med" len="med"/>
                <a:tailEnd type="none" w="med" len="med"/>
              </a:ln>
              <a:effectLst/>
            </p:spPr>
            <p:txBody>
              <a:bodyPr rtlCol="0" anchor="ctr"/>
              <a:lstStyle/>
              <a:p>
                <a:pPr algn="ctr"/>
                <a:endParaRPr lang="pt-BR"/>
              </a:p>
            </p:txBody>
          </p:sp>
          <p:sp>
            <p:nvSpPr>
              <p:cNvPr id="311" name="Freeform 310"/>
              <p:cNvSpPr/>
              <p:nvPr/>
            </p:nvSpPr>
            <p:spPr bwMode="auto">
              <a:xfrm>
                <a:off x="3275442" y="4388217"/>
                <a:ext cx="129192" cy="522582"/>
              </a:xfrm>
              <a:custGeom>
                <a:avLst/>
                <a:gdLst>
                  <a:gd name="connsiteX0" fmla="*/ 244549 w 244549"/>
                  <a:gd name="connsiteY0" fmla="*/ 0 h 533018"/>
                  <a:gd name="connsiteX1" fmla="*/ 233916 w 244549"/>
                  <a:gd name="connsiteY1" fmla="*/ 63796 h 533018"/>
                  <a:gd name="connsiteX2" fmla="*/ 212651 w 244549"/>
                  <a:gd name="connsiteY2" fmla="*/ 127591 h 533018"/>
                  <a:gd name="connsiteX3" fmla="*/ 202018 w 244549"/>
                  <a:gd name="connsiteY3" fmla="*/ 255182 h 533018"/>
                  <a:gd name="connsiteX4" fmla="*/ 191386 w 244549"/>
                  <a:gd name="connsiteY4" fmla="*/ 287079 h 533018"/>
                  <a:gd name="connsiteX5" fmla="*/ 159488 w 244549"/>
                  <a:gd name="connsiteY5" fmla="*/ 297712 h 533018"/>
                  <a:gd name="connsiteX6" fmla="*/ 127591 w 244549"/>
                  <a:gd name="connsiteY6" fmla="*/ 318977 h 533018"/>
                  <a:gd name="connsiteX7" fmla="*/ 116958 w 244549"/>
                  <a:gd name="connsiteY7" fmla="*/ 350875 h 533018"/>
                  <a:gd name="connsiteX8" fmla="*/ 85060 w 244549"/>
                  <a:gd name="connsiteY8" fmla="*/ 372140 h 533018"/>
                  <a:gd name="connsiteX9" fmla="*/ 63795 w 244549"/>
                  <a:gd name="connsiteY9" fmla="*/ 404038 h 533018"/>
                  <a:gd name="connsiteX10" fmla="*/ 21265 w 244549"/>
                  <a:gd name="connsiteY10" fmla="*/ 531628 h 533018"/>
                  <a:gd name="connsiteX11" fmla="*/ 0 w 244549"/>
                  <a:gd name="connsiteY11" fmla="*/ 531628 h 53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4549" h="533018">
                    <a:moveTo>
                      <a:pt x="244549" y="0"/>
                    </a:moveTo>
                    <a:cubicBezTo>
                      <a:pt x="241005" y="21265"/>
                      <a:pt x="239145" y="42881"/>
                      <a:pt x="233916" y="63796"/>
                    </a:cubicBezTo>
                    <a:cubicBezTo>
                      <a:pt x="228479" y="85542"/>
                      <a:pt x="212651" y="127591"/>
                      <a:pt x="212651" y="127591"/>
                    </a:cubicBezTo>
                    <a:cubicBezTo>
                      <a:pt x="209107" y="170121"/>
                      <a:pt x="207658" y="212879"/>
                      <a:pt x="202018" y="255182"/>
                    </a:cubicBezTo>
                    <a:cubicBezTo>
                      <a:pt x="200537" y="266291"/>
                      <a:pt x="199311" y="279154"/>
                      <a:pt x="191386" y="287079"/>
                    </a:cubicBezTo>
                    <a:cubicBezTo>
                      <a:pt x="183461" y="295004"/>
                      <a:pt x="169513" y="292700"/>
                      <a:pt x="159488" y="297712"/>
                    </a:cubicBezTo>
                    <a:cubicBezTo>
                      <a:pt x="148059" y="303427"/>
                      <a:pt x="138223" y="311889"/>
                      <a:pt x="127591" y="318977"/>
                    </a:cubicBezTo>
                    <a:cubicBezTo>
                      <a:pt x="124047" y="329610"/>
                      <a:pt x="123960" y="342123"/>
                      <a:pt x="116958" y="350875"/>
                    </a:cubicBezTo>
                    <a:cubicBezTo>
                      <a:pt x="108975" y="360854"/>
                      <a:pt x="94096" y="363104"/>
                      <a:pt x="85060" y="372140"/>
                    </a:cubicBezTo>
                    <a:cubicBezTo>
                      <a:pt x="76024" y="381176"/>
                      <a:pt x="70883" y="393405"/>
                      <a:pt x="63795" y="404038"/>
                    </a:cubicBezTo>
                    <a:cubicBezTo>
                      <a:pt x="55125" y="499414"/>
                      <a:pt x="89449" y="517992"/>
                      <a:pt x="21265" y="531628"/>
                    </a:cubicBezTo>
                    <a:cubicBezTo>
                      <a:pt x="14314" y="533018"/>
                      <a:pt x="7088" y="531628"/>
                      <a:pt x="0" y="531628"/>
                    </a:cubicBezTo>
                  </a:path>
                </a:pathLst>
              </a:custGeom>
              <a:solidFill>
                <a:schemeClr val="bg1"/>
              </a:solidFill>
              <a:ln w="28575" cap="flat" cmpd="sng" algn="ctr">
                <a:solidFill>
                  <a:srgbClr val="FF0000"/>
                </a:solidFill>
                <a:prstDash val="solid"/>
                <a:round/>
                <a:headEnd type="none" w="med" len="med"/>
                <a:tailEnd type="none" w="med" len="med"/>
              </a:ln>
              <a:effectLst/>
            </p:spPr>
            <p:txBody>
              <a:bodyPr rtlCol="0" anchor="ctr"/>
              <a:lstStyle/>
              <a:p>
                <a:pPr algn="ctr"/>
                <a:endParaRPr lang="pt-BR"/>
              </a:p>
            </p:txBody>
          </p:sp>
          <p:sp>
            <p:nvSpPr>
              <p:cNvPr id="314" name="Freeform 313"/>
              <p:cNvSpPr/>
              <p:nvPr/>
            </p:nvSpPr>
            <p:spPr>
              <a:xfrm>
                <a:off x="3046643" y="2271547"/>
                <a:ext cx="961723" cy="472354"/>
              </a:xfrm>
              <a:custGeom>
                <a:avLst/>
                <a:gdLst>
                  <a:gd name="connsiteX0" fmla="*/ 0 w 1432560"/>
                  <a:gd name="connsiteY0" fmla="*/ 29210 h 537210"/>
                  <a:gd name="connsiteX1" fmla="*/ 152400 w 1432560"/>
                  <a:gd name="connsiteY1" fmla="*/ 36830 h 537210"/>
                  <a:gd name="connsiteX2" fmla="*/ 365760 w 1432560"/>
                  <a:gd name="connsiteY2" fmla="*/ 250190 h 537210"/>
                  <a:gd name="connsiteX3" fmla="*/ 495300 w 1432560"/>
                  <a:gd name="connsiteY3" fmla="*/ 356870 h 537210"/>
                  <a:gd name="connsiteX4" fmla="*/ 632460 w 1432560"/>
                  <a:gd name="connsiteY4" fmla="*/ 356870 h 537210"/>
                  <a:gd name="connsiteX5" fmla="*/ 830580 w 1432560"/>
                  <a:gd name="connsiteY5" fmla="*/ 532130 h 537210"/>
                  <a:gd name="connsiteX6" fmla="*/ 1051560 w 1432560"/>
                  <a:gd name="connsiteY6" fmla="*/ 387350 h 537210"/>
                  <a:gd name="connsiteX7" fmla="*/ 1295400 w 1432560"/>
                  <a:gd name="connsiteY7" fmla="*/ 219710 h 537210"/>
                  <a:gd name="connsiteX8" fmla="*/ 1432560 w 1432560"/>
                  <a:gd name="connsiteY8" fmla="*/ 280670 h 537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2560" h="537210">
                    <a:moveTo>
                      <a:pt x="0" y="29210"/>
                    </a:moveTo>
                    <a:cubicBezTo>
                      <a:pt x="45720" y="14605"/>
                      <a:pt x="91440" y="0"/>
                      <a:pt x="152400" y="36830"/>
                    </a:cubicBezTo>
                    <a:cubicBezTo>
                      <a:pt x="213360" y="73660"/>
                      <a:pt x="308610" y="196850"/>
                      <a:pt x="365760" y="250190"/>
                    </a:cubicBezTo>
                    <a:cubicBezTo>
                      <a:pt x="422910" y="303530"/>
                      <a:pt x="450850" y="339090"/>
                      <a:pt x="495300" y="356870"/>
                    </a:cubicBezTo>
                    <a:cubicBezTo>
                      <a:pt x="539750" y="374650"/>
                      <a:pt x="576580" y="327660"/>
                      <a:pt x="632460" y="356870"/>
                    </a:cubicBezTo>
                    <a:cubicBezTo>
                      <a:pt x="688340" y="386080"/>
                      <a:pt x="760730" y="527050"/>
                      <a:pt x="830580" y="532130"/>
                    </a:cubicBezTo>
                    <a:cubicBezTo>
                      <a:pt x="900430" y="537210"/>
                      <a:pt x="974090" y="439420"/>
                      <a:pt x="1051560" y="387350"/>
                    </a:cubicBezTo>
                    <a:cubicBezTo>
                      <a:pt x="1129030" y="335280"/>
                      <a:pt x="1231900" y="237490"/>
                      <a:pt x="1295400" y="219710"/>
                    </a:cubicBezTo>
                    <a:cubicBezTo>
                      <a:pt x="1358900" y="201930"/>
                      <a:pt x="1427480" y="295910"/>
                      <a:pt x="1432560" y="280670"/>
                    </a:cubicBezTo>
                  </a:path>
                </a:pathLst>
              </a:custGeom>
              <a:ln w="28575">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315" name="Freeform 314"/>
              <p:cNvSpPr/>
              <p:nvPr/>
            </p:nvSpPr>
            <p:spPr>
              <a:xfrm>
                <a:off x="3307536" y="2384331"/>
                <a:ext cx="113395" cy="134001"/>
              </a:xfrm>
              <a:custGeom>
                <a:avLst/>
                <a:gdLst>
                  <a:gd name="connsiteX0" fmla="*/ 144780 w 168910"/>
                  <a:gd name="connsiteY0" fmla="*/ 0 h 152400"/>
                  <a:gd name="connsiteX1" fmla="*/ 144780 w 168910"/>
                  <a:gd name="connsiteY1" fmla="*/ 76200 h 152400"/>
                  <a:gd name="connsiteX2" fmla="*/ 0 w 168910"/>
                  <a:gd name="connsiteY2" fmla="*/ 152400 h 152400"/>
                </a:gdLst>
                <a:ahLst/>
                <a:cxnLst>
                  <a:cxn ang="0">
                    <a:pos x="connsiteX0" y="connsiteY0"/>
                  </a:cxn>
                  <a:cxn ang="0">
                    <a:pos x="connsiteX1" y="connsiteY1"/>
                  </a:cxn>
                  <a:cxn ang="0">
                    <a:pos x="connsiteX2" y="connsiteY2"/>
                  </a:cxn>
                </a:cxnLst>
                <a:rect l="l" t="t" r="r" b="b"/>
                <a:pathLst>
                  <a:path w="168910" h="152400">
                    <a:moveTo>
                      <a:pt x="144780" y="0"/>
                    </a:moveTo>
                    <a:cubicBezTo>
                      <a:pt x="156845" y="25400"/>
                      <a:pt x="168910" y="50800"/>
                      <a:pt x="144780" y="76200"/>
                    </a:cubicBezTo>
                    <a:cubicBezTo>
                      <a:pt x="120650" y="101600"/>
                      <a:pt x="25400" y="140970"/>
                      <a:pt x="0" y="152400"/>
                    </a:cubicBezTo>
                  </a:path>
                </a:pathLst>
              </a:custGeom>
              <a:ln w="28575">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316" name="Freeform 315"/>
              <p:cNvSpPr/>
              <p:nvPr/>
            </p:nvSpPr>
            <p:spPr>
              <a:xfrm>
                <a:off x="2397821" y="3999045"/>
                <a:ext cx="116805" cy="616405"/>
              </a:xfrm>
              <a:custGeom>
                <a:avLst/>
                <a:gdLst>
                  <a:gd name="connsiteX0" fmla="*/ 74930 w 173990"/>
                  <a:gd name="connsiteY0" fmla="*/ 701040 h 701040"/>
                  <a:gd name="connsiteX1" fmla="*/ 6350 w 173990"/>
                  <a:gd name="connsiteY1" fmla="*/ 441960 h 701040"/>
                  <a:gd name="connsiteX2" fmla="*/ 113030 w 173990"/>
                  <a:gd name="connsiteY2" fmla="*/ 304800 h 701040"/>
                  <a:gd name="connsiteX3" fmla="*/ 120650 w 173990"/>
                  <a:gd name="connsiteY3" fmla="*/ 68580 h 701040"/>
                  <a:gd name="connsiteX4" fmla="*/ 173990 w 173990"/>
                  <a:gd name="connsiteY4" fmla="*/ 0 h 701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90" h="701040">
                    <a:moveTo>
                      <a:pt x="74930" y="701040"/>
                    </a:moveTo>
                    <a:cubicBezTo>
                      <a:pt x="37465" y="604520"/>
                      <a:pt x="0" y="508000"/>
                      <a:pt x="6350" y="441960"/>
                    </a:cubicBezTo>
                    <a:cubicBezTo>
                      <a:pt x="12700" y="375920"/>
                      <a:pt x="93980" y="367030"/>
                      <a:pt x="113030" y="304800"/>
                    </a:cubicBezTo>
                    <a:cubicBezTo>
                      <a:pt x="132080" y="242570"/>
                      <a:pt x="110490" y="119380"/>
                      <a:pt x="120650" y="68580"/>
                    </a:cubicBezTo>
                    <a:cubicBezTo>
                      <a:pt x="130810" y="17780"/>
                      <a:pt x="152400" y="8890"/>
                      <a:pt x="173990" y="0"/>
                    </a:cubicBezTo>
                  </a:path>
                </a:pathLst>
              </a:custGeom>
              <a:ln w="28575">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317" name="Freeform 316"/>
              <p:cNvSpPr/>
              <p:nvPr/>
            </p:nvSpPr>
            <p:spPr>
              <a:xfrm>
                <a:off x="2258848" y="3724343"/>
                <a:ext cx="250662" cy="247902"/>
              </a:xfrm>
              <a:custGeom>
                <a:avLst/>
                <a:gdLst>
                  <a:gd name="connsiteX0" fmla="*/ 373380 w 373380"/>
                  <a:gd name="connsiteY0" fmla="*/ 281940 h 281940"/>
                  <a:gd name="connsiteX1" fmla="*/ 152400 w 373380"/>
                  <a:gd name="connsiteY1" fmla="*/ 106680 h 281940"/>
                  <a:gd name="connsiteX2" fmla="*/ 0 w 373380"/>
                  <a:gd name="connsiteY2" fmla="*/ 0 h 281940"/>
                </a:gdLst>
                <a:ahLst/>
                <a:cxnLst>
                  <a:cxn ang="0">
                    <a:pos x="connsiteX0" y="connsiteY0"/>
                  </a:cxn>
                  <a:cxn ang="0">
                    <a:pos x="connsiteX1" y="connsiteY1"/>
                  </a:cxn>
                  <a:cxn ang="0">
                    <a:pos x="connsiteX2" y="connsiteY2"/>
                  </a:cxn>
                </a:cxnLst>
                <a:rect l="l" t="t" r="r" b="b"/>
                <a:pathLst>
                  <a:path w="373380" h="281940">
                    <a:moveTo>
                      <a:pt x="373380" y="281940"/>
                    </a:moveTo>
                    <a:cubicBezTo>
                      <a:pt x="294005" y="217805"/>
                      <a:pt x="214630" y="153670"/>
                      <a:pt x="152400" y="106680"/>
                    </a:cubicBezTo>
                    <a:cubicBezTo>
                      <a:pt x="90170" y="59690"/>
                      <a:pt x="19050" y="20320"/>
                      <a:pt x="0" y="0"/>
                    </a:cubicBezTo>
                  </a:path>
                </a:pathLst>
              </a:custGeom>
              <a:noFill/>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318" name="Freeform 317"/>
              <p:cNvSpPr/>
              <p:nvPr/>
            </p:nvSpPr>
            <p:spPr>
              <a:xfrm>
                <a:off x="2621200" y="5010753"/>
                <a:ext cx="354713" cy="227485"/>
              </a:xfrm>
              <a:custGeom>
                <a:avLst/>
                <a:gdLst>
                  <a:gd name="connsiteX0" fmla="*/ 46990 w 580390"/>
                  <a:gd name="connsiteY0" fmla="*/ 0 h 228600"/>
                  <a:gd name="connsiteX1" fmla="*/ 24130 w 580390"/>
                  <a:gd name="connsiteY1" fmla="*/ 68580 h 228600"/>
                  <a:gd name="connsiteX2" fmla="*/ 39370 w 580390"/>
                  <a:gd name="connsiteY2" fmla="*/ 167640 h 228600"/>
                  <a:gd name="connsiteX3" fmla="*/ 260350 w 580390"/>
                  <a:gd name="connsiteY3" fmla="*/ 228600 h 228600"/>
                  <a:gd name="connsiteX4" fmla="*/ 580390 w 580390"/>
                  <a:gd name="connsiteY4" fmla="*/ 16764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0390" h="228600">
                    <a:moveTo>
                      <a:pt x="46990" y="0"/>
                    </a:moveTo>
                    <a:cubicBezTo>
                      <a:pt x="36195" y="20320"/>
                      <a:pt x="25400" y="40640"/>
                      <a:pt x="24130" y="68580"/>
                    </a:cubicBezTo>
                    <a:cubicBezTo>
                      <a:pt x="22860" y="96520"/>
                      <a:pt x="0" y="140970"/>
                      <a:pt x="39370" y="167640"/>
                    </a:cubicBezTo>
                    <a:cubicBezTo>
                      <a:pt x="78740" y="194310"/>
                      <a:pt x="170180" y="228600"/>
                      <a:pt x="260350" y="228600"/>
                    </a:cubicBezTo>
                    <a:cubicBezTo>
                      <a:pt x="350520" y="228600"/>
                      <a:pt x="580390" y="167640"/>
                      <a:pt x="580390" y="167640"/>
                    </a:cubicBezTo>
                  </a:path>
                </a:pathLst>
              </a:cu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319" name="Freeform 318"/>
              <p:cNvSpPr/>
              <p:nvPr/>
            </p:nvSpPr>
            <p:spPr>
              <a:xfrm>
                <a:off x="2550435" y="5164855"/>
                <a:ext cx="102311" cy="40200"/>
              </a:xfrm>
              <a:custGeom>
                <a:avLst/>
                <a:gdLst>
                  <a:gd name="connsiteX0" fmla="*/ 152400 w 152400"/>
                  <a:gd name="connsiteY0" fmla="*/ 0 h 45720"/>
                  <a:gd name="connsiteX1" fmla="*/ 0 w 152400"/>
                  <a:gd name="connsiteY1" fmla="*/ 45720 h 45720"/>
                </a:gdLst>
                <a:ahLst/>
                <a:cxnLst>
                  <a:cxn ang="0">
                    <a:pos x="connsiteX0" y="connsiteY0"/>
                  </a:cxn>
                  <a:cxn ang="0">
                    <a:pos x="connsiteX1" y="connsiteY1"/>
                  </a:cxn>
                </a:cxnLst>
                <a:rect l="l" t="t" r="r" b="b"/>
                <a:pathLst>
                  <a:path w="152400" h="45720">
                    <a:moveTo>
                      <a:pt x="152400" y="0"/>
                    </a:moveTo>
                    <a:lnTo>
                      <a:pt x="0" y="45720"/>
                    </a:lnTo>
                  </a:path>
                </a:pathLst>
              </a:cu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320" name="Oval 319"/>
              <p:cNvSpPr/>
              <p:nvPr/>
            </p:nvSpPr>
            <p:spPr bwMode="auto">
              <a:xfrm>
                <a:off x="2631648" y="5140578"/>
                <a:ext cx="54994" cy="67560"/>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p>
            </p:txBody>
          </p:sp>
          <p:sp>
            <p:nvSpPr>
              <p:cNvPr id="321" name="Oval 320"/>
              <p:cNvSpPr/>
              <p:nvPr/>
            </p:nvSpPr>
            <p:spPr bwMode="auto">
              <a:xfrm>
                <a:off x="2530615" y="5178545"/>
                <a:ext cx="54994" cy="67560"/>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p>
            </p:txBody>
          </p:sp>
          <p:sp>
            <p:nvSpPr>
              <p:cNvPr id="324" name="Oval 323"/>
              <p:cNvSpPr/>
              <p:nvPr/>
            </p:nvSpPr>
            <p:spPr bwMode="auto">
              <a:xfrm>
                <a:off x="2230688" y="3680926"/>
                <a:ext cx="56321" cy="71161"/>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325" name="Oval 324"/>
              <p:cNvSpPr/>
              <p:nvPr/>
            </p:nvSpPr>
            <p:spPr bwMode="auto">
              <a:xfrm>
                <a:off x="2740354" y="5232146"/>
                <a:ext cx="54994" cy="67560"/>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p>
            </p:txBody>
          </p:sp>
          <p:sp>
            <p:nvSpPr>
              <p:cNvPr id="327" name="Oval 326"/>
              <p:cNvSpPr/>
              <p:nvPr/>
            </p:nvSpPr>
            <p:spPr bwMode="auto">
              <a:xfrm>
                <a:off x="2301030" y="2475252"/>
                <a:ext cx="55779" cy="71266"/>
              </a:xfrm>
              <a:prstGeom prst="ellipse">
                <a:avLst/>
              </a:prstGeom>
              <a:solidFill>
                <a:srgbClr val="FF0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grpSp>
            <p:nvGrpSpPr>
              <p:cNvPr id="328" name="Group 507"/>
              <p:cNvGrpSpPr/>
              <p:nvPr/>
            </p:nvGrpSpPr>
            <p:grpSpPr>
              <a:xfrm>
                <a:off x="2564989" y="5282956"/>
                <a:ext cx="196978" cy="412416"/>
                <a:chOff x="5932935" y="5440701"/>
                <a:chExt cx="293414" cy="469042"/>
              </a:xfrm>
            </p:grpSpPr>
            <p:sp>
              <p:nvSpPr>
                <p:cNvPr id="333" name="Freeform 332"/>
                <p:cNvSpPr/>
                <p:nvPr/>
              </p:nvSpPr>
              <p:spPr>
                <a:xfrm>
                  <a:off x="5932935" y="5440701"/>
                  <a:ext cx="293414" cy="469042"/>
                </a:xfrm>
                <a:custGeom>
                  <a:avLst/>
                  <a:gdLst>
                    <a:gd name="connsiteX0" fmla="*/ 306917 w 306917"/>
                    <a:gd name="connsiteY0" fmla="*/ 0 h 596900"/>
                    <a:gd name="connsiteX1" fmla="*/ 192617 w 306917"/>
                    <a:gd name="connsiteY1" fmla="*/ 165100 h 596900"/>
                    <a:gd name="connsiteX2" fmla="*/ 27517 w 306917"/>
                    <a:gd name="connsiteY2" fmla="*/ 355600 h 596900"/>
                    <a:gd name="connsiteX3" fmla="*/ 27517 w 306917"/>
                    <a:gd name="connsiteY3" fmla="*/ 596900 h 596900"/>
                  </a:gdLst>
                  <a:ahLst/>
                  <a:cxnLst>
                    <a:cxn ang="0">
                      <a:pos x="connsiteX0" y="connsiteY0"/>
                    </a:cxn>
                    <a:cxn ang="0">
                      <a:pos x="connsiteX1" y="connsiteY1"/>
                    </a:cxn>
                    <a:cxn ang="0">
                      <a:pos x="connsiteX2" y="connsiteY2"/>
                    </a:cxn>
                    <a:cxn ang="0">
                      <a:pos x="connsiteX3" y="connsiteY3"/>
                    </a:cxn>
                  </a:cxnLst>
                  <a:rect l="l" t="t" r="r" b="b"/>
                  <a:pathLst>
                    <a:path w="306917" h="596900">
                      <a:moveTo>
                        <a:pt x="306917" y="0"/>
                      </a:moveTo>
                      <a:cubicBezTo>
                        <a:pt x="273050" y="52916"/>
                        <a:pt x="239184" y="105833"/>
                        <a:pt x="192617" y="165100"/>
                      </a:cubicBezTo>
                      <a:cubicBezTo>
                        <a:pt x="146050" y="224367"/>
                        <a:pt x="55034" y="283633"/>
                        <a:pt x="27517" y="355600"/>
                      </a:cubicBezTo>
                      <a:cubicBezTo>
                        <a:pt x="0" y="427567"/>
                        <a:pt x="25400" y="560917"/>
                        <a:pt x="27517" y="596900"/>
                      </a:cubicBezTo>
                    </a:path>
                  </a:pathLst>
                </a:custGeom>
                <a:noFill/>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334" name="Oval 333"/>
                <p:cNvSpPr/>
                <p:nvPr/>
              </p:nvSpPr>
              <p:spPr bwMode="auto">
                <a:xfrm>
                  <a:off x="6108398" y="5498814"/>
                  <a:ext cx="81917" cy="76836"/>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p>
              </p:txBody>
            </p:sp>
          </p:grpSp>
          <p:sp>
            <p:nvSpPr>
              <p:cNvPr id="329" name="Freeform 328"/>
              <p:cNvSpPr/>
              <p:nvPr/>
            </p:nvSpPr>
            <p:spPr>
              <a:xfrm>
                <a:off x="1687733" y="2483989"/>
                <a:ext cx="1325632" cy="132612"/>
              </a:xfrm>
              <a:custGeom>
                <a:avLst/>
                <a:gdLst>
                  <a:gd name="connsiteX0" fmla="*/ 0 w 2047875"/>
                  <a:gd name="connsiteY0" fmla="*/ 200025 h 200025"/>
                  <a:gd name="connsiteX1" fmla="*/ 352425 w 2047875"/>
                  <a:gd name="connsiteY1" fmla="*/ 85725 h 200025"/>
                  <a:gd name="connsiteX2" fmla="*/ 676275 w 2047875"/>
                  <a:gd name="connsiteY2" fmla="*/ 19050 h 200025"/>
                  <a:gd name="connsiteX3" fmla="*/ 1019175 w 2047875"/>
                  <a:gd name="connsiteY3" fmla="*/ 28575 h 200025"/>
                  <a:gd name="connsiteX4" fmla="*/ 1495425 w 2047875"/>
                  <a:gd name="connsiteY4" fmla="*/ 190500 h 200025"/>
                  <a:gd name="connsiteX5" fmla="*/ 1704975 w 2047875"/>
                  <a:gd name="connsiteY5" fmla="*/ 57150 h 200025"/>
                  <a:gd name="connsiteX6" fmla="*/ 2047875 w 2047875"/>
                  <a:gd name="connsiteY6" fmla="*/ 9525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47875" h="200025">
                    <a:moveTo>
                      <a:pt x="0" y="200025"/>
                    </a:moveTo>
                    <a:cubicBezTo>
                      <a:pt x="119856" y="157956"/>
                      <a:pt x="239713" y="115887"/>
                      <a:pt x="352425" y="85725"/>
                    </a:cubicBezTo>
                    <a:cubicBezTo>
                      <a:pt x="465137" y="55563"/>
                      <a:pt x="565150" y="28575"/>
                      <a:pt x="676275" y="19050"/>
                    </a:cubicBezTo>
                    <a:cubicBezTo>
                      <a:pt x="787400" y="9525"/>
                      <a:pt x="882650" y="0"/>
                      <a:pt x="1019175" y="28575"/>
                    </a:cubicBezTo>
                    <a:cubicBezTo>
                      <a:pt x="1155700" y="57150"/>
                      <a:pt x="1381125" y="185737"/>
                      <a:pt x="1495425" y="190500"/>
                    </a:cubicBezTo>
                    <a:cubicBezTo>
                      <a:pt x="1609725" y="195263"/>
                      <a:pt x="1612900" y="73025"/>
                      <a:pt x="1704975" y="57150"/>
                    </a:cubicBezTo>
                    <a:cubicBezTo>
                      <a:pt x="1797050" y="41275"/>
                      <a:pt x="1990725" y="93663"/>
                      <a:pt x="2047875" y="95250"/>
                    </a:cubicBezTo>
                  </a:path>
                </a:pathLst>
              </a:custGeom>
              <a:noFill/>
              <a:ln w="28575">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330" name="Freeform 329"/>
              <p:cNvSpPr/>
              <p:nvPr/>
            </p:nvSpPr>
            <p:spPr>
              <a:xfrm>
                <a:off x="2304648" y="2023359"/>
                <a:ext cx="401783" cy="435504"/>
              </a:xfrm>
              <a:custGeom>
                <a:avLst/>
                <a:gdLst>
                  <a:gd name="connsiteX0" fmla="*/ 26987 w 598487"/>
                  <a:gd name="connsiteY0" fmla="*/ 495300 h 495300"/>
                  <a:gd name="connsiteX1" fmla="*/ 65087 w 598487"/>
                  <a:gd name="connsiteY1" fmla="*/ 352425 h 495300"/>
                  <a:gd name="connsiteX2" fmla="*/ 417512 w 598487"/>
                  <a:gd name="connsiteY2" fmla="*/ 266700 h 495300"/>
                  <a:gd name="connsiteX3" fmla="*/ 484187 w 598487"/>
                  <a:gd name="connsiteY3" fmla="*/ 85725 h 495300"/>
                  <a:gd name="connsiteX4" fmla="*/ 598487 w 598487"/>
                  <a:gd name="connsiteY4" fmla="*/ 0 h 495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8487" h="495300">
                    <a:moveTo>
                      <a:pt x="26987" y="495300"/>
                    </a:moveTo>
                    <a:cubicBezTo>
                      <a:pt x="13493" y="442912"/>
                      <a:pt x="0" y="390525"/>
                      <a:pt x="65087" y="352425"/>
                    </a:cubicBezTo>
                    <a:cubicBezTo>
                      <a:pt x="130174" y="314325"/>
                      <a:pt x="347662" y="311150"/>
                      <a:pt x="417512" y="266700"/>
                    </a:cubicBezTo>
                    <a:cubicBezTo>
                      <a:pt x="487362" y="222250"/>
                      <a:pt x="454025" y="130175"/>
                      <a:pt x="484187" y="85725"/>
                    </a:cubicBezTo>
                    <a:cubicBezTo>
                      <a:pt x="514349" y="41275"/>
                      <a:pt x="556418" y="20637"/>
                      <a:pt x="598487" y="0"/>
                    </a:cubicBezTo>
                  </a:path>
                </a:pathLst>
              </a:custGeom>
              <a:noFill/>
              <a:ln w="28575">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331" name="Oval 330"/>
              <p:cNvSpPr/>
              <p:nvPr/>
            </p:nvSpPr>
            <p:spPr bwMode="auto">
              <a:xfrm>
                <a:off x="2295765" y="2463043"/>
                <a:ext cx="55779" cy="71266"/>
              </a:xfrm>
              <a:prstGeom prst="ellipse">
                <a:avLst/>
              </a:prstGeom>
              <a:solidFill>
                <a:srgbClr val="FF0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332" name="Freeform 331"/>
              <p:cNvSpPr/>
              <p:nvPr/>
            </p:nvSpPr>
            <p:spPr>
              <a:xfrm>
                <a:off x="3404064" y="4339450"/>
                <a:ext cx="494363" cy="172572"/>
              </a:xfrm>
              <a:custGeom>
                <a:avLst/>
                <a:gdLst>
                  <a:gd name="connsiteX0" fmla="*/ 0 w 696036"/>
                  <a:gd name="connsiteY0" fmla="*/ 0 h 204717"/>
                  <a:gd name="connsiteX1" fmla="*/ 354842 w 696036"/>
                  <a:gd name="connsiteY1" fmla="*/ 163773 h 204717"/>
                  <a:gd name="connsiteX2" fmla="*/ 696036 w 696036"/>
                  <a:gd name="connsiteY2" fmla="*/ 204717 h 204717"/>
                </a:gdLst>
                <a:ahLst/>
                <a:cxnLst>
                  <a:cxn ang="0">
                    <a:pos x="connsiteX0" y="connsiteY0"/>
                  </a:cxn>
                  <a:cxn ang="0">
                    <a:pos x="connsiteX1" y="connsiteY1"/>
                  </a:cxn>
                  <a:cxn ang="0">
                    <a:pos x="connsiteX2" y="connsiteY2"/>
                  </a:cxn>
                </a:cxnLst>
                <a:rect l="l" t="t" r="r" b="b"/>
                <a:pathLst>
                  <a:path w="696036" h="204717">
                    <a:moveTo>
                      <a:pt x="0" y="0"/>
                    </a:moveTo>
                    <a:cubicBezTo>
                      <a:pt x="119418" y="64827"/>
                      <a:pt x="238836" y="129654"/>
                      <a:pt x="354842" y="163773"/>
                    </a:cubicBezTo>
                    <a:cubicBezTo>
                      <a:pt x="470848" y="197892"/>
                      <a:pt x="583442" y="201304"/>
                      <a:pt x="696036" y="204717"/>
                    </a:cubicBezTo>
                  </a:path>
                </a:pathLst>
              </a:cu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grpSp>
        <p:sp>
          <p:nvSpPr>
            <p:cNvPr id="12" name="Rounded Rectangle 11"/>
            <p:cNvSpPr/>
            <p:nvPr/>
          </p:nvSpPr>
          <p:spPr>
            <a:xfrm>
              <a:off x="1330133" y="2873770"/>
              <a:ext cx="765454" cy="383935"/>
            </a:xfrm>
            <a:prstGeom prst="roundRect">
              <a:avLst/>
            </a:prstGeom>
            <a:solidFill>
              <a:schemeClr val="accent1">
                <a:alpha val="62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50" dirty="0" smtClean="0"/>
                <a:t>0.2 </a:t>
              </a:r>
              <a:r>
                <a:rPr lang="pt-BR" sz="1050" dirty="0" err="1" smtClean="0"/>
                <a:t>Tbps</a:t>
              </a:r>
              <a:endParaRPr lang="pt-BR" sz="1050" dirty="0"/>
            </a:p>
          </p:txBody>
        </p:sp>
        <p:sp>
          <p:nvSpPr>
            <p:cNvPr id="487" name="Rounded Rectangle 486"/>
            <p:cNvSpPr/>
            <p:nvPr/>
          </p:nvSpPr>
          <p:spPr>
            <a:xfrm>
              <a:off x="1913704" y="3849300"/>
              <a:ext cx="844008" cy="383935"/>
            </a:xfrm>
            <a:prstGeom prst="roundRect">
              <a:avLst/>
            </a:prstGeom>
            <a:solidFill>
              <a:schemeClr val="accent1">
                <a:alpha val="62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50" dirty="0" smtClean="0"/>
                <a:t>0.06 </a:t>
              </a:r>
              <a:r>
                <a:rPr lang="pt-BR" sz="1050" dirty="0" err="1" smtClean="0"/>
                <a:t>Tbps</a:t>
              </a:r>
              <a:endParaRPr lang="pt-BR" sz="1050" dirty="0"/>
            </a:p>
          </p:txBody>
        </p:sp>
        <p:sp>
          <p:nvSpPr>
            <p:cNvPr id="488" name="Rounded Rectangle 487"/>
            <p:cNvSpPr/>
            <p:nvPr/>
          </p:nvSpPr>
          <p:spPr>
            <a:xfrm>
              <a:off x="2315392" y="5582311"/>
              <a:ext cx="765454" cy="383935"/>
            </a:xfrm>
            <a:prstGeom prst="roundRect">
              <a:avLst/>
            </a:prstGeom>
            <a:solidFill>
              <a:schemeClr val="accent1">
                <a:alpha val="62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50" dirty="0" smtClean="0"/>
                <a:t>2.2 </a:t>
              </a:r>
              <a:r>
                <a:rPr lang="pt-BR" sz="1050" dirty="0" err="1" smtClean="0"/>
                <a:t>Tbps</a:t>
              </a:r>
              <a:endParaRPr lang="pt-BR" sz="1050" dirty="0"/>
            </a:p>
          </p:txBody>
        </p:sp>
        <p:sp>
          <p:nvSpPr>
            <p:cNvPr id="489" name="Rounded Rectangle 488"/>
            <p:cNvSpPr/>
            <p:nvPr/>
          </p:nvSpPr>
          <p:spPr>
            <a:xfrm>
              <a:off x="2899988" y="4663834"/>
              <a:ext cx="828876" cy="383935"/>
            </a:xfrm>
            <a:prstGeom prst="roundRect">
              <a:avLst/>
            </a:prstGeom>
            <a:solidFill>
              <a:schemeClr val="accent1">
                <a:alpha val="62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50" dirty="0" smtClean="0"/>
                <a:t>8.6 </a:t>
              </a:r>
              <a:r>
                <a:rPr lang="pt-BR" sz="1050" dirty="0" err="1" smtClean="0"/>
                <a:t>Tbps</a:t>
              </a:r>
              <a:endParaRPr lang="pt-BR" sz="1050" dirty="0"/>
            </a:p>
          </p:txBody>
        </p:sp>
        <p:sp>
          <p:nvSpPr>
            <p:cNvPr id="490" name="Rounded Rectangle 489"/>
            <p:cNvSpPr/>
            <p:nvPr/>
          </p:nvSpPr>
          <p:spPr>
            <a:xfrm>
              <a:off x="3332036" y="3333097"/>
              <a:ext cx="828876" cy="383935"/>
            </a:xfrm>
            <a:prstGeom prst="roundRect">
              <a:avLst/>
            </a:prstGeom>
            <a:solidFill>
              <a:schemeClr val="accent1">
                <a:alpha val="62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50" dirty="0" smtClean="0"/>
                <a:t>4.1 </a:t>
              </a:r>
              <a:r>
                <a:rPr lang="pt-BR" sz="1050" dirty="0" err="1" smtClean="0"/>
                <a:t>Tbps</a:t>
              </a:r>
              <a:endParaRPr lang="pt-BR" sz="1050" dirty="0"/>
            </a:p>
          </p:txBody>
        </p:sp>
      </p:grpSp>
      <p:sp>
        <p:nvSpPr>
          <p:cNvPr id="491" name="AutoShape 6"/>
          <p:cNvSpPr>
            <a:spLocks noChangeArrowheads="1"/>
          </p:cNvSpPr>
          <p:nvPr/>
        </p:nvSpPr>
        <p:spPr bwMode="auto">
          <a:xfrm>
            <a:off x="145907" y="896544"/>
            <a:ext cx="4735226" cy="228178"/>
          </a:xfrm>
          <a:prstGeom prst="homePlate">
            <a:avLst>
              <a:gd name="adj" fmla="val 0"/>
            </a:avLst>
          </a:prstGeom>
          <a:solidFill>
            <a:schemeClr val="tx1"/>
          </a:solidFill>
          <a:ln w="9525" algn="ctr">
            <a:solidFill>
              <a:schemeClr val="bg1"/>
            </a:solidFill>
            <a:miter lim="800000"/>
            <a:headEnd/>
            <a:tailEnd/>
          </a:ln>
        </p:spPr>
        <p:txBody>
          <a:bodyPr lIns="72000" tIns="72000" rIns="72000" bIns="72000" anchor="ctr"/>
          <a:lstStyle/>
          <a:p>
            <a:pPr eaLnBrk="0" fontAlgn="auto" hangingPunct="0">
              <a:spcBef>
                <a:spcPts val="0"/>
              </a:spcBef>
              <a:spcAft>
                <a:spcPts val="0"/>
              </a:spcAft>
              <a:defRPr/>
            </a:pPr>
            <a:r>
              <a:rPr lang="en-US" sz="1050" kern="0" dirty="0" smtClean="0">
                <a:solidFill>
                  <a:srgbClr val="FFFFFF"/>
                </a:solidFill>
                <a:latin typeface="Calibri" pitchFamily="34" charset="0"/>
                <a:cs typeface="Arial" charset="0"/>
              </a:rPr>
              <a:t>Capacity By Region </a:t>
            </a:r>
            <a:r>
              <a:rPr lang="en-US" sz="1050" kern="0" dirty="0" err="1" smtClean="0">
                <a:solidFill>
                  <a:srgbClr val="FFFFFF"/>
                </a:solidFill>
                <a:latin typeface="Calibri" pitchFamily="34" charset="0"/>
                <a:cs typeface="Arial" charset="0"/>
              </a:rPr>
              <a:t>EoP</a:t>
            </a:r>
            <a:r>
              <a:rPr lang="en-US" sz="1050" kern="0" dirty="0" smtClean="0">
                <a:solidFill>
                  <a:srgbClr val="FFFFFF"/>
                </a:solidFill>
                <a:latin typeface="Calibri" pitchFamily="34" charset="0"/>
                <a:cs typeface="Arial" charset="0"/>
              </a:rPr>
              <a:t> 2013</a:t>
            </a:r>
            <a:endParaRPr lang="en-US" sz="1050" kern="0" dirty="0">
              <a:solidFill>
                <a:srgbClr val="FFFFFF"/>
              </a:solidFill>
              <a:latin typeface="Calibri" pitchFamily="34" charset="0"/>
              <a:cs typeface="Arial" charset="0"/>
            </a:endParaRPr>
          </a:p>
        </p:txBody>
      </p:sp>
      <p:sp>
        <p:nvSpPr>
          <p:cNvPr id="494" name="AutoShape 6"/>
          <p:cNvSpPr>
            <a:spLocks noChangeArrowheads="1"/>
          </p:cNvSpPr>
          <p:nvPr/>
        </p:nvSpPr>
        <p:spPr bwMode="auto">
          <a:xfrm>
            <a:off x="4891600" y="896544"/>
            <a:ext cx="4813899" cy="228178"/>
          </a:xfrm>
          <a:prstGeom prst="homePlate">
            <a:avLst>
              <a:gd name="adj" fmla="val 0"/>
            </a:avLst>
          </a:prstGeom>
          <a:solidFill>
            <a:schemeClr val="tx1"/>
          </a:solidFill>
          <a:ln w="9525" algn="ctr">
            <a:solidFill>
              <a:schemeClr val="bg1"/>
            </a:solidFill>
            <a:miter lim="800000"/>
            <a:headEnd/>
            <a:tailEnd/>
          </a:ln>
        </p:spPr>
        <p:txBody>
          <a:bodyPr lIns="72000" tIns="72000" rIns="72000" bIns="72000" anchor="ctr"/>
          <a:lstStyle/>
          <a:p>
            <a:pPr eaLnBrk="0" fontAlgn="auto" hangingPunct="0">
              <a:spcBef>
                <a:spcPts val="0"/>
              </a:spcBef>
              <a:spcAft>
                <a:spcPts val="0"/>
              </a:spcAft>
              <a:defRPr/>
            </a:pPr>
            <a:r>
              <a:rPr lang="en-US" sz="1050" kern="0" dirty="0" smtClean="0">
                <a:solidFill>
                  <a:srgbClr val="FFFFFF"/>
                </a:solidFill>
                <a:latin typeface="Calibri" pitchFamily="34" charset="0"/>
              </a:rPr>
              <a:t>Capacity Evolution BB LD</a:t>
            </a:r>
            <a:endParaRPr lang="en-US" sz="1050" kern="0" dirty="0">
              <a:solidFill>
                <a:srgbClr val="FFFFFF"/>
              </a:solidFill>
              <a:latin typeface="Calibri" pitchFamily="34" charset="0"/>
              <a:cs typeface="Arial" charset="0"/>
            </a:endParaRPr>
          </a:p>
        </p:txBody>
      </p:sp>
      <p:sp>
        <p:nvSpPr>
          <p:cNvPr id="496" name="AutoShape 6"/>
          <p:cNvSpPr>
            <a:spLocks noChangeArrowheads="1"/>
          </p:cNvSpPr>
          <p:nvPr/>
        </p:nvSpPr>
        <p:spPr bwMode="auto">
          <a:xfrm>
            <a:off x="4907118" y="4031190"/>
            <a:ext cx="4813899" cy="228178"/>
          </a:xfrm>
          <a:prstGeom prst="homePlate">
            <a:avLst>
              <a:gd name="adj" fmla="val 0"/>
            </a:avLst>
          </a:prstGeom>
          <a:solidFill>
            <a:schemeClr val="tx1"/>
          </a:solidFill>
          <a:ln w="9525" algn="ctr">
            <a:solidFill>
              <a:schemeClr val="bg1"/>
            </a:solidFill>
            <a:miter lim="800000"/>
            <a:headEnd/>
            <a:tailEnd/>
          </a:ln>
        </p:spPr>
        <p:txBody>
          <a:bodyPr lIns="72000" tIns="72000" rIns="72000" bIns="72000" anchor="ctr"/>
          <a:lstStyle/>
          <a:p>
            <a:pPr eaLnBrk="0" fontAlgn="auto" hangingPunct="0">
              <a:spcBef>
                <a:spcPts val="0"/>
              </a:spcBef>
              <a:spcAft>
                <a:spcPts val="0"/>
              </a:spcAft>
              <a:defRPr/>
            </a:pPr>
            <a:r>
              <a:rPr lang="en-US" sz="1050" kern="0" dirty="0" smtClean="0">
                <a:solidFill>
                  <a:srgbClr val="FFFFFF"/>
                </a:solidFill>
                <a:latin typeface="Calibri" pitchFamily="34" charset="0"/>
              </a:rPr>
              <a:t>Capacity Evolution BB LD by Region</a:t>
            </a:r>
            <a:endParaRPr lang="en-US" sz="1050" kern="0" dirty="0">
              <a:solidFill>
                <a:srgbClr val="FFFFFF"/>
              </a:solidFill>
              <a:latin typeface="Calibri" pitchFamily="34" charset="0"/>
              <a:cs typeface="Arial" charset="0"/>
            </a:endParaRPr>
          </a:p>
        </p:txBody>
      </p:sp>
      <p:graphicFrame>
        <p:nvGraphicFramePr>
          <p:cNvPr id="498" name="Chart 497"/>
          <p:cNvGraphicFramePr>
            <a:graphicFrameLocks/>
          </p:cNvGraphicFramePr>
          <p:nvPr>
            <p:extLst>
              <p:ext uri="{D42A27DB-BD31-4B8C-83A1-F6EECF244321}">
                <p14:modId xmlns="" xmlns:p14="http://schemas.microsoft.com/office/powerpoint/2010/main" val="3650985559"/>
              </p:ext>
            </p:extLst>
          </p:nvPr>
        </p:nvGraphicFramePr>
        <p:xfrm>
          <a:off x="4985523" y="4284661"/>
          <a:ext cx="4682290" cy="2516481"/>
        </p:xfrm>
        <a:graphic>
          <a:graphicData uri="http://schemas.openxmlformats.org/drawingml/2006/chart">
            <c:chart xmlns:c="http://schemas.openxmlformats.org/drawingml/2006/chart" xmlns:r="http://schemas.openxmlformats.org/officeDocument/2006/relationships" r:id="rId26"/>
          </a:graphicData>
        </a:graphic>
      </p:graphicFrame>
    </p:spTree>
    <p:extLst>
      <p:ext uri="{BB962C8B-B14F-4D97-AF65-F5344CB8AC3E}">
        <p14:creationId xmlns="" xmlns:p14="http://schemas.microsoft.com/office/powerpoint/2010/main" val="287295552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 name="Rectangle 12"/>
          <p:cNvSpPr>
            <a:spLocks noChangeArrowheads="1"/>
          </p:cNvSpPr>
          <p:nvPr/>
        </p:nvSpPr>
        <p:spPr bwMode="auto">
          <a:xfrm>
            <a:off x="5281891" y="991118"/>
            <a:ext cx="4300388" cy="5703764"/>
          </a:xfrm>
          <a:prstGeom prst="rect">
            <a:avLst/>
          </a:prstGeom>
          <a:solidFill>
            <a:srgbClr val="FFFFFF"/>
          </a:solidFill>
          <a:ln w="9525">
            <a:solidFill>
              <a:srgbClr val="97B3D1"/>
            </a:solidFill>
            <a:miter lim="800000"/>
            <a:headEnd/>
            <a:tailEnd/>
          </a:ln>
        </p:spPr>
        <p:txBody>
          <a:bodyPr tIns="82800" bIns="82800"/>
          <a:lstStyle/>
          <a:p>
            <a:pPr marL="185738" indent="-185738">
              <a:buFontTx/>
              <a:buChar char="•"/>
            </a:pPr>
            <a:endParaRPr lang="en-US" sz="1050" b="0" i="1" dirty="0" smtClean="0">
              <a:latin typeface="Calibri" pitchFamily="34" charset="0"/>
            </a:endParaRPr>
          </a:p>
        </p:txBody>
      </p:sp>
      <p:sp>
        <p:nvSpPr>
          <p:cNvPr id="245" name="Rectangle 12"/>
          <p:cNvSpPr>
            <a:spLocks noChangeArrowheads="1"/>
          </p:cNvSpPr>
          <p:nvPr/>
        </p:nvSpPr>
        <p:spPr bwMode="auto">
          <a:xfrm>
            <a:off x="200473" y="991119"/>
            <a:ext cx="4968552" cy="5703764"/>
          </a:xfrm>
          <a:prstGeom prst="rect">
            <a:avLst/>
          </a:prstGeom>
          <a:solidFill>
            <a:srgbClr val="FFFFFF"/>
          </a:solidFill>
          <a:ln w="9525">
            <a:solidFill>
              <a:srgbClr val="97B3D1"/>
            </a:solidFill>
            <a:miter lim="800000"/>
            <a:headEnd/>
            <a:tailEnd/>
          </a:ln>
        </p:spPr>
        <p:txBody>
          <a:bodyPr tIns="82800" bIns="82800"/>
          <a:lstStyle/>
          <a:p>
            <a:pPr marL="185738" indent="-185738">
              <a:buFontTx/>
              <a:buChar char="•"/>
            </a:pPr>
            <a:endParaRPr lang="en-US" sz="1050" b="0" i="1" dirty="0" smtClean="0">
              <a:latin typeface="Calibri" pitchFamily="34" charset="0"/>
            </a:endParaRPr>
          </a:p>
        </p:txBody>
      </p:sp>
      <p:sp>
        <p:nvSpPr>
          <p:cNvPr id="54" name="Rectangle 53"/>
          <p:cNvSpPr>
            <a:spLocks noChangeArrowheads="1"/>
          </p:cNvSpPr>
          <p:nvPr>
            <p:custDataLst>
              <p:tags r:id="rId2"/>
            </p:custDataLst>
          </p:nvPr>
        </p:nvSpPr>
        <p:spPr bwMode="auto">
          <a:xfrm>
            <a:off x="308014" y="227013"/>
            <a:ext cx="8281579"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lstStyle/>
          <a:p>
            <a:pPr>
              <a:lnSpc>
                <a:spcPct val="80000"/>
              </a:lnSpc>
            </a:pPr>
            <a:r>
              <a:rPr lang="en-US" sz="2600" dirty="0" smtClean="0">
                <a:solidFill>
                  <a:srgbClr val="FFFFFF"/>
                </a:solidFill>
                <a:latin typeface="+mn-lt"/>
              </a:rPr>
              <a:t>TRANSMISSION BACKBONE: PROTECTION</a:t>
            </a:r>
            <a:endParaRPr lang="en-US" sz="2600" dirty="0">
              <a:solidFill>
                <a:srgbClr val="FFFFFF"/>
              </a:solidFill>
              <a:latin typeface="+mn-lt"/>
            </a:endParaRPr>
          </a:p>
        </p:txBody>
      </p:sp>
      <p:sp>
        <p:nvSpPr>
          <p:cNvPr id="200" name="Rectangle 16"/>
          <p:cNvSpPr>
            <a:spLocks noChangeArrowheads="1"/>
          </p:cNvSpPr>
          <p:nvPr/>
        </p:nvSpPr>
        <p:spPr bwMode="auto">
          <a:xfrm>
            <a:off x="5281893" y="1286366"/>
            <a:ext cx="4351627" cy="2123658"/>
          </a:xfrm>
          <a:prstGeom prst="rect">
            <a:avLst/>
          </a:prstGeom>
          <a:noFill/>
          <a:ln w="9525">
            <a:noFill/>
            <a:miter lim="800000"/>
            <a:headEnd/>
            <a:tailEnd/>
          </a:ln>
        </p:spPr>
        <p:txBody>
          <a:bodyPr wrap="square">
            <a:spAutoFit/>
          </a:bodyPr>
          <a:lstStyle/>
          <a:p>
            <a:pPr lvl="1" eaLnBrk="0" hangingPunct="0">
              <a:lnSpc>
                <a:spcPct val="110000"/>
              </a:lnSpc>
              <a:spcBef>
                <a:spcPct val="20000"/>
              </a:spcBef>
              <a:spcAft>
                <a:spcPct val="10000"/>
              </a:spcAft>
              <a:buClr>
                <a:schemeClr val="accent1"/>
              </a:buClr>
            </a:pPr>
            <a:endParaRPr lang="en-US" sz="1200" b="0" dirty="0">
              <a:latin typeface="Calibri" pitchFamily="34" charset="0"/>
            </a:endParaRPr>
          </a:p>
          <a:p>
            <a:pPr lvl="1" eaLnBrk="0" hangingPunct="0">
              <a:lnSpc>
                <a:spcPct val="110000"/>
              </a:lnSpc>
              <a:spcBef>
                <a:spcPct val="20000"/>
              </a:spcBef>
              <a:spcAft>
                <a:spcPct val="10000"/>
              </a:spcAft>
              <a:buClr>
                <a:schemeClr val="accent1"/>
              </a:buClr>
            </a:pPr>
            <a:endParaRPr lang="en-US" sz="1200" b="0" dirty="0" smtClean="0">
              <a:latin typeface="Calibri" pitchFamily="34" charset="0"/>
            </a:endParaRPr>
          </a:p>
          <a:p>
            <a:pPr lvl="1" eaLnBrk="0" hangingPunct="0">
              <a:lnSpc>
                <a:spcPct val="110000"/>
              </a:lnSpc>
              <a:spcBef>
                <a:spcPct val="20000"/>
              </a:spcBef>
              <a:spcAft>
                <a:spcPct val="10000"/>
              </a:spcAft>
              <a:buClr>
                <a:schemeClr val="accent1"/>
              </a:buClr>
            </a:pPr>
            <a:endParaRPr lang="en-US" sz="1200" b="0" dirty="0">
              <a:latin typeface="Calibri" pitchFamily="34" charset="0"/>
            </a:endParaRPr>
          </a:p>
          <a:p>
            <a:pPr lvl="1" eaLnBrk="0" hangingPunct="0">
              <a:lnSpc>
                <a:spcPct val="110000"/>
              </a:lnSpc>
              <a:spcBef>
                <a:spcPct val="20000"/>
              </a:spcBef>
              <a:spcAft>
                <a:spcPct val="10000"/>
              </a:spcAft>
              <a:buClr>
                <a:schemeClr val="accent1"/>
              </a:buClr>
            </a:pPr>
            <a:endParaRPr lang="en-US" sz="1200" b="0" dirty="0" smtClean="0">
              <a:latin typeface="Calibri" pitchFamily="34" charset="0"/>
            </a:endParaRPr>
          </a:p>
          <a:p>
            <a:pPr lvl="1" eaLnBrk="0" hangingPunct="0">
              <a:lnSpc>
                <a:spcPct val="110000"/>
              </a:lnSpc>
              <a:spcBef>
                <a:spcPct val="20000"/>
              </a:spcBef>
              <a:spcAft>
                <a:spcPct val="10000"/>
              </a:spcAft>
              <a:buClr>
                <a:schemeClr val="accent1"/>
              </a:buClr>
            </a:pPr>
            <a:endParaRPr lang="en-US" sz="1200" b="0" dirty="0">
              <a:latin typeface="Calibri" pitchFamily="34" charset="0"/>
            </a:endParaRPr>
          </a:p>
          <a:p>
            <a:pPr lvl="1" eaLnBrk="0" hangingPunct="0">
              <a:lnSpc>
                <a:spcPct val="110000"/>
              </a:lnSpc>
              <a:spcBef>
                <a:spcPct val="20000"/>
              </a:spcBef>
              <a:spcAft>
                <a:spcPct val="10000"/>
              </a:spcAft>
              <a:buClr>
                <a:schemeClr val="accent1"/>
              </a:buClr>
            </a:pPr>
            <a:endParaRPr lang="en-US" sz="1200" b="0" dirty="0" smtClean="0">
              <a:latin typeface="Calibri" pitchFamily="34" charset="0"/>
            </a:endParaRPr>
          </a:p>
          <a:p>
            <a:pPr lvl="1" eaLnBrk="0" hangingPunct="0">
              <a:lnSpc>
                <a:spcPct val="110000"/>
              </a:lnSpc>
              <a:spcBef>
                <a:spcPct val="20000"/>
              </a:spcBef>
              <a:spcAft>
                <a:spcPct val="10000"/>
              </a:spcAft>
              <a:buClr>
                <a:schemeClr val="accent1"/>
              </a:buClr>
            </a:pPr>
            <a:endParaRPr lang="en-US" sz="1200" b="0" dirty="0">
              <a:latin typeface="Calibri" pitchFamily="34" charset="0"/>
            </a:endParaRPr>
          </a:p>
          <a:p>
            <a:pPr lvl="1" eaLnBrk="0" hangingPunct="0">
              <a:lnSpc>
                <a:spcPct val="110000"/>
              </a:lnSpc>
              <a:spcBef>
                <a:spcPct val="20000"/>
              </a:spcBef>
              <a:spcAft>
                <a:spcPct val="10000"/>
              </a:spcAft>
              <a:buClr>
                <a:schemeClr val="accent1"/>
              </a:buClr>
            </a:pPr>
            <a:endParaRPr lang="en-US" sz="1200" b="0" dirty="0">
              <a:latin typeface="Calibri" pitchFamily="34" charset="0"/>
            </a:endParaRPr>
          </a:p>
        </p:txBody>
      </p:sp>
      <p:sp>
        <p:nvSpPr>
          <p:cNvPr id="246" name="AutoShape 6"/>
          <p:cNvSpPr>
            <a:spLocks noChangeArrowheads="1"/>
          </p:cNvSpPr>
          <p:nvPr/>
        </p:nvSpPr>
        <p:spPr bwMode="auto">
          <a:xfrm>
            <a:off x="200471" y="988818"/>
            <a:ext cx="4968551" cy="216001"/>
          </a:xfrm>
          <a:prstGeom prst="homePlate">
            <a:avLst>
              <a:gd name="adj" fmla="val 0"/>
            </a:avLst>
          </a:prstGeom>
          <a:solidFill>
            <a:schemeClr val="tx1"/>
          </a:solidFill>
          <a:ln w="9525" algn="ctr">
            <a:noFill/>
            <a:miter lim="800000"/>
            <a:headEnd/>
            <a:tailEnd/>
          </a:ln>
        </p:spPr>
        <p:txBody>
          <a:bodyPr lIns="72000" tIns="72000" rIns="72000" bIns="72000" anchor="ctr"/>
          <a:lstStyle/>
          <a:p>
            <a:pPr eaLnBrk="0" fontAlgn="auto" hangingPunct="0">
              <a:spcBef>
                <a:spcPts val="0"/>
              </a:spcBef>
              <a:spcAft>
                <a:spcPts val="0"/>
              </a:spcAft>
              <a:defRPr/>
            </a:pPr>
            <a:r>
              <a:rPr lang="it-IT" sz="1050" kern="0" dirty="0" smtClean="0">
                <a:solidFill>
                  <a:srgbClr val="FFFFFF"/>
                </a:solidFill>
                <a:latin typeface="Calibri" pitchFamily="34" charset="0"/>
              </a:rPr>
              <a:t>LD </a:t>
            </a:r>
            <a:r>
              <a:rPr lang="it-IT" sz="1050" kern="0" dirty="0" err="1" smtClean="0">
                <a:solidFill>
                  <a:srgbClr val="FFFFFF"/>
                </a:solidFill>
                <a:latin typeface="Calibri" pitchFamily="34" charset="0"/>
              </a:rPr>
              <a:t>Backbone</a:t>
            </a:r>
            <a:r>
              <a:rPr lang="it-IT" sz="1050" kern="0" dirty="0" smtClean="0">
                <a:solidFill>
                  <a:srgbClr val="FFFFFF"/>
                </a:solidFill>
                <a:latin typeface="Calibri" pitchFamily="34" charset="0"/>
              </a:rPr>
              <a:t> </a:t>
            </a:r>
            <a:r>
              <a:rPr lang="it-IT" sz="1050" kern="0" dirty="0" err="1" smtClean="0">
                <a:solidFill>
                  <a:srgbClr val="FFFFFF"/>
                </a:solidFill>
                <a:latin typeface="Calibri" pitchFamily="34" charset="0"/>
              </a:rPr>
              <a:t>Topology</a:t>
            </a:r>
            <a:r>
              <a:rPr lang="it-IT" sz="1050" kern="0" dirty="0" smtClean="0">
                <a:solidFill>
                  <a:srgbClr val="FFFFFF"/>
                </a:solidFill>
                <a:latin typeface="Calibri" pitchFamily="34" charset="0"/>
              </a:rPr>
              <a:t> Target</a:t>
            </a:r>
            <a:endParaRPr lang="it-IT" sz="1050" kern="0" dirty="0">
              <a:solidFill>
                <a:srgbClr val="FFFFFF"/>
              </a:solidFill>
              <a:latin typeface="Calibri" pitchFamily="34" charset="0"/>
              <a:cs typeface="Arial" charset="0"/>
            </a:endParaRPr>
          </a:p>
        </p:txBody>
      </p:sp>
      <p:sp>
        <p:nvSpPr>
          <p:cNvPr id="248" name="AutoShape 6"/>
          <p:cNvSpPr>
            <a:spLocks noChangeArrowheads="1"/>
          </p:cNvSpPr>
          <p:nvPr/>
        </p:nvSpPr>
        <p:spPr bwMode="auto">
          <a:xfrm>
            <a:off x="5281889" y="988817"/>
            <a:ext cx="4300387" cy="216001"/>
          </a:xfrm>
          <a:prstGeom prst="homePlate">
            <a:avLst>
              <a:gd name="adj" fmla="val 0"/>
            </a:avLst>
          </a:prstGeom>
          <a:solidFill>
            <a:schemeClr val="tx1"/>
          </a:solidFill>
          <a:ln w="9525" algn="ctr">
            <a:noFill/>
            <a:miter lim="800000"/>
            <a:headEnd/>
            <a:tailEnd/>
          </a:ln>
        </p:spPr>
        <p:txBody>
          <a:bodyPr lIns="72000" tIns="72000" rIns="72000" bIns="72000" anchor="ctr"/>
          <a:lstStyle/>
          <a:p>
            <a:pPr eaLnBrk="0" fontAlgn="auto" hangingPunct="0">
              <a:spcBef>
                <a:spcPts val="0"/>
              </a:spcBef>
              <a:spcAft>
                <a:spcPts val="0"/>
              </a:spcAft>
              <a:defRPr/>
            </a:pPr>
            <a:r>
              <a:rPr lang="it-IT" sz="1050" kern="0" dirty="0" smtClean="0">
                <a:solidFill>
                  <a:srgbClr val="FFFFFF"/>
                </a:solidFill>
                <a:latin typeface="Calibri" pitchFamily="34" charset="0"/>
              </a:rPr>
              <a:t>LD </a:t>
            </a:r>
            <a:r>
              <a:rPr lang="it-IT" sz="1050" kern="0" dirty="0" err="1" smtClean="0">
                <a:solidFill>
                  <a:srgbClr val="FFFFFF"/>
                </a:solidFill>
                <a:latin typeface="Calibri" pitchFamily="34" charset="0"/>
              </a:rPr>
              <a:t>Backbone</a:t>
            </a:r>
            <a:r>
              <a:rPr lang="it-IT" sz="1050" kern="0" dirty="0" smtClean="0">
                <a:solidFill>
                  <a:srgbClr val="FFFFFF"/>
                </a:solidFill>
                <a:latin typeface="Calibri" pitchFamily="34" charset="0"/>
              </a:rPr>
              <a:t> </a:t>
            </a:r>
            <a:r>
              <a:rPr lang="it-IT" sz="1050" kern="0" dirty="0" err="1">
                <a:solidFill>
                  <a:srgbClr val="FFFFFF"/>
                </a:solidFill>
                <a:latin typeface="Calibri" pitchFamily="34" charset="0"/>
              </a:rPr>
              <a:t>T</a:t>
            </a:r>
            <a:r>
              <a:rPr lang="it-IT" sz="1050" kern="0" dirty="0" err="1" smtClean="0">
                <a:solidFill>
                  <a:srgbClr val="FFFFFF"/>
                </a:solidFill>
                <a:latin typeface="Calibri" pitchFamily="34" charset="0"/>
              </a:rPr>
              <a:t>opology</a:t>
            </a:r>
            <a:r>
              <a:rPr lang="it-IT" sz="1050" kern="0" dirty="0" smtClean="0">
                <a:solidFill>
                  <a:srgbClr val="FFFFFF"/>
                </a:solidFill>
                <a:latin typeface="Calibri" pitchFamily="34" charset="0"/>
              </a:rPr>
              <a:t> </a:t>
            </a:r>
            <a:r>
              <a:rPr lang="it-IT" sz="1050" kern="0" dirty="0" err="1" smtClean="0">
                <a:solidFill>
                  <a:srgbClr val="FFFFFF"/>
                </a:solidFill>
                <a:latin typeface="Calibri" pitchFamily="34" charset="0"/>
              </a:rPr>
              <a:t>EoP</a:t>
            </a:r>
            <a:endParaRPr lang="it-IT" sz="1050" kern="0" dirty="0">
              <a:solidFill>
                <a:srgbClr val="FFFFFF"/>
              </a:solidFill>
              <a:latin typeface="Calibri" pitchFamily="34" charset="0"/>
              <a:cs typeface="Arial" charset="0"/>
            </a:endParaRPr>
          </a:p>
        </p:txBody>
      </p:sp>
      <p:sp>
        <p:nvSpPr>
          <p:cNvPr id="249" name="Rectangle 16"/>
          <p:cNvSpPr>
            <a:spLocks noChangeArrowheads="1"/>
          </p:cNvSpPr>
          <p:nvPr/>
        </p:nvSpPr>
        <p:spPr bwMode="auto">
          <a:xfrm>
            <a:off x="254784" y="1297476"/>
            <a:ext cx="4786346" cy="278538"/>
          </a:xfrm>
          <a:prstGeom prst="rect">
            <a:avLst/>
          </a:prstGeom>
          <a:noFill/>
          <a:ln w="9525">
            <a:noFill/>
            <a:miter lim="800000"/>
            <a:headEnd/>
            <a:tailEnd/>
          </a:ln>
        </p:spPr>
        <p:txBody>
          <a:bodyPr wrap="square">
            <a:spAutoFit/>
          </a:bodyPr>
          <a:lstStyle/>
          <a:p>
            <a:pPr marL="169863" indent="-169863" eaLnBrk="0" hangingPunct="0">
              <a:lnSpc>
                <a:spcPct val="110000"/>
              </a:lnSpc>
              <a:spcBef>
                <a:spcPct val="20000"/>
              </a:spcBef>
              <a:spcAft>
                <a:spcPct val="10000"/>
              </a:spcAft>
              <a:buClr>
                <a:schemeClr val="accent1"/>
              </a:buClr>
              <a:buFont typeface="Webdings" pitchFamily="18" charset="2"/>
              <a:buChar char="4"/>
            </a:pPr>
            <a:r>
              <a:rPr lang="en-US" sz="1100" b="0" dirty="0" smtClean="0">
                <a:latin typeface="Calibri" pitchFamily="34" charset="0"/>
              </a:rPr>
              <a:t>TOPOLOGY </a:t>
            </a:r>
            <a:r>
              <a:rPr lang="en-US" sz="1100" b="0" dirty="0" err="1" smtClean="0">
                <a:latin typeface="Calibri" pitchFamily="34" charset="0"/>
              </a:rPr>
              <a:t>EoP</a:t>
            </a:r>
            <a:r>
              <a:rPr lang="en-US" sz="1100" b="0" dirty="0" smtClean="0">
                <a:latin typeface="Calibri" pitchFamily="34" charset="0"/>
              </a:rPr>
              <a:t> : Deployment 3 Way for Main Cities in LD Backbone OTN.</a:t>
            </a:r>
          </a:p>
        </p:txBody>
      </p:sp>
      <p:grpSp>
        <p:nvGrpSpPr>
          <p:cNvPr id="2" name="Group 1"/>
          <p:cNvGrpSpPr/>
          <p:nvPr/>
        </p:nvGrpSpPr>
        <p:grpSpPr>
          <a:xfrm>
            <a:off x="244901" y="6021288"/>
            <a:ext cx="1683763" cy="705292"/>
            <a:chOff x="75506" y="6152581"/>
            <a:chExt cx="1683763" cy="705292"/>
          </a:xfrm>
        </p:grpSpPr>
        <p:grpSp>
          <p:nvGrpSpPr>
            <p:cNvPr id="470" name="Group 469"/>
            <p:cNvGrpSpPr/>
            <p:nvPr/>
          </p:nvGrpSpPr>
          <p:grpSpPr>
            <a:xfrm>
              <a:off x="75506" y="6152581"/>
              <a:ext cx="1682196" cy="705292"/>
              <a:chOff x="-597007" y="6263975"/>
              <a:chExt cx="2038801" cy="496437"/>
            </a:xfrm>
          </p:grpSpPr>
          <p:sp>
            <p:nvSpPr>
              <p:cNvPr id="471" name="Rounded Rectangle 379"/>
              <p:cNvSpPr>
                <a:spLocks noChangeArrowheads="1"/>
              </p:cNvSpPr>
              <p:nvPr/>
            </p:nvSpPr>
            <p:spPr bwMode="auto">
              <a:xfrm>
                <a:off x="-597007" y="6265512"/>
                <a:ext cx="2023472" cy="431346"/>
              </a:xfrm>
              <a:prstGeom prst="roundRect">
                <a:avLst>
                  <a:gd name="adj" fmla="val 3081"/>
                </a:avLst>
              </a:prstGeom>
              <a:solidFill>
                <a:schemeClr val="bg1">
                  <a:lumMod val="95000"/>
                </a:schemeClr>
              </a:solidFill>
              <a:ln w="9525" algn="ctr">
                <a:noFill/>
                <a:round/>
                <a:headEnd/>
                <a:tailEnd/>
              </a:ln>
            </p:spPr>
            <p:txBody>
              <a:bodyPr wrap="none" lIns="0" tIns="0" rIns="0" bIns="0" anchor="ctr"/>
              <a:lstStyle/>
              <a:p>
                <a:pPr defTabSz="873125" eaLnBrk="0" hangingPunct="0">
                  <a:defRPr/>
                </a:pPr>
                <a:endParaRPr lang="pt-BR" sz="700" b="0" dirty="0">
                  <a:latin typeface="Calibri" pitchFamily="34" charset="0"/>
                </a:endParaRPr>
              </a:p>
            </p:txBody>
          </p:sp>
          <p:cxnSp>
            <p:nvCxnSpPr>
              <p:cNvPr id="472" name="Straight Connector 471"/>
              <p:cNvCxnSpPr/>
              <p:nvPr/>
            </p:nvCxnSpPr>
            <p:spPr>
              <a:xfrm>
                <a:off x="-499722" y="6336370"/>
                <a:ext cx="323850" cy="1587"/>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473" name="Straight Connector 472"/>
              <p:cNvCxnSpPr/>
              <p:nvPr/>
            </p:nvCxnSpPr>
            <p:spPr>
              <a:xfrm>
                <a:off x="-499722" y="6654099"/>
                <a:ext cx="323850" cy="1587"/>
              </a:xfrm>
              <a:prstGeom prst="line">
                <a:avLst/>
              </a:prstGeom>
              <a:ln w="28575">
                <a:solidFill>
                  <a:srgbClr val="7030A0"/>
                </a:solidFill>
                <a:prstDash val="sysDot"/>
              </a:ln>
            </p:spPr>
            <p:style>
              <a:lnRef idx="1">
                <a:schemeClr val="accent1"/>
              </a:lnRef>
              <a:fillRef idx="0">
                <a:schemeClr val="accent1"/>
              </a:fillRef>
              <a:effectRef idx="0">
                <a:schemeClr val="accent1"/>
              </a:effectRef>
              <a:fontRef idx="minor">
                <a:schemeClr val="tx1"/>
              </a:fontRef>
            </p:style>
          </p:cxnSp>
          <p:sp>
            <p:nvSpPr>
              <p:cNvPr id="474" name="TextBox 473"/>
              <p:cNvSpPr txBox="1"/>
              <p:nvPr/>
            </p:nvSpPr>
            <p:spPr>
              <a:xfrm>
                <a:off x="-110211" y="6263975"/>
                <a:ext cx="1272438" cy="140814"/>
              </a:xfrm>
              <a:prstGeom prst="rect">
                <a:avLst/>
              </a:prstGeom>
              <a:noFill/>
            </p:spPr>
            <p:txBody>
              <a:bodyPr wrap="square">
                <a:spAutoFit/>
              </a:bodyPr>
              <a:lstStyle/>
              <a:p>
                <a:pPr>
                  <a:defRPr/>
                </a:pPr>
                <a:r>
                  <a:rPr lang="pt-BR" sz="700" b="0" dirty="0" smtClean="0">
                    <a:latin typeface="Calibri" pitchFamily="34" charset="0"/>
                  </a:rPr>
                  <a:t>Rede própria  Ativa</a:t>
                </a:r>
                <a:endParaRPr lang="pt-BR" sz="700" b="0" i="0" dirty="0">
                  <a:latin typeface="Calibri" pitchFamily="34" charset="0"/>
                </a:endParaRPr>
              </a:p>
            </p:txBody>
          </p:sp>
          <p:sp>
            <p:nvSpPr>
              <p:cNvPr id="475" name="TextBox 373"/>
              <p:cNvSpPr txBox="1">
                <a:spLocks noChangeArrowheads="1"/>
              </p:cNvSpPr>
              <p:nvPr/>
            </p:nvSpPr>
            <p:spPr bwMode="auto">
              <a:xfrm>
                <a:off x="-120664" y="6584729"/>
                <a:ext cx="1562458" cy="175683"/>
              </a:xfrm>
              <a:prstGeom prst="rect">
                <a:avLst/>
              </a:prstGeom>
              <a:noFill/>
              <a:ln w="9525">
                <a:noFill/>
                <a:miter lim="800000"/>
                <a:headEnd/>
                <a:tailEnd/>
              </a:ln>
            </p:spPr>
            <p:txBody>
              <a:bodyPr wrap="square">
                <a:spAutoFit/>
              </a:bodyPr>
              <a:lstStyle/>
              <a:p>
                <a:pPr>
                  <a:defRPr/>
                </a:pPr>
                <a:r>
                  <a:rPr lang="pt-BR" sz="700" b="0" i="0" dirty="0" smtClean="0">
                    <a:latin typeface="Calibri" pitchFamily="34" charset="0"/>
                  </a:rPr>
                  <a:t>Rede SWAP de Capacidade</a:t>
                </a:r>
                <a:endParaRPr lang="pt-BR" sz="700" b="0" i="0" dirty="0">
                  <a:latin typeface="Calibri" pitchFamily="34" charset="0"/>
                </a:endParaRPr>
              </a:p>
            </p:txBody>
          </p:sp>
        </p:grpSp>
        <p:cxnSp>
          <p:nvCxnSpPr>
            <p:cNvPr id="476" name="Straight Connector 475"/>
            <p:cNvCxnSpPr/>
            <p:nvPr/>
          </p:nvCxnSpPr>
          <p:spPr>
            <a:xfrm>
              <a:off x="165968" y="6396514"/>
              <a:ext cx="267206" cy="1807"/>
            </a:xfrm>
            <a:prstGeom prst="line">
              <a:avLst/>
            </a:prstGeom>
            <a:ln w="28575">
              <a:solidFill>
                <a:srgbClr val="FFE07D"/>
              </a:solidFill>
              <a:prstDash val="solid"/>
            </a:ln>
          </p:spPr>
          <p:style>
            <a:lnRef idx="1">
              <a:schemeClr val="accent1"/>
            </a:lnRef>
            <a:fillRef idx="0">
              <a:schemeClr val="accent1"/>
            </a:fillRef>
            <a:effectRef idx="0">
              <a:schemeClr val="accent1"/>
            </a:effectRef>
            <a:fontRef idx="minor">
              <a:schemeClr val="tx1"/>
            </a:fontRef>
          </p:style>
        </p:cxnSp>
        <p:sp>
          <p:nvSpPr>
            <p:cNvPr id="477" name="TextBox 373"/>
            <p:cNvSpPr txBox="1">
              <a:spLocks noChangeArrowheads="1"/>
            </p:cNvSpPr>
            <p:nvPr/>
          </p:nvSpPr>
          <p:spPr bwMode="auto">
            <a:xfrm>
              <a:off x="470099" y="6303694"/>
              <a:ext cx="1289170" cy="200055"/>
            </a:xfrm>
            <a:prstGeom prst="rect">
              <a:avLst/>
            </a:prstGeom>
            <a:noFill/>
            <a:ln w="9525">
              <a:noFill/>
              <a:miter lim="800000"/>
              <a:headEnd/>
              <a:tailEnd/>
            </a:ln>
          </p:spPr>
          <p:txBody>
            <a:bodyPr wrap="square">
              <a:spAutoFit/>
            </a:bodyPr>
            <a:lstStyle/>
            <a:p>
              <a:pPr>
                <a:defRPr/>
              </a:pPr>
              <a:r>
                <a:rPr lang="pt-BR" sz="700" b="0" i="0" dirty="0" smtClean="0">
                  <a:latin typeface="Calibri" pitchFamily="34" charset="0"/>
                </a:rPr>
                <a:t>Rede própri</a:t>
              </a:r>
              <a:r>
                <a:rPr lang="pt-BR" sz="700" b="0" dirty="0" smtClean="0">
                  <a:latin typeface="Calibri" pitchFamily="34" charset="0"/>
                </a:rPr>
                <a:t>a </a:t>
              </a:r>
              <a:r>
                <a:rPr lang="pt-BR" sz="700" b="0" dirty="0" err="1" smtClean="0">
                  <a:latin typeface="Calibri" pitchFamily="34" charset="0"/>
                </a:rPr>
                <a:t>EoY</a:t>
              </a:r>
              <a:r>
                <a:rPr lang="pt-BR" sz="700" b="0" dirty="0" smtClean="0">
                  <a:latin typeface="Calibri" pitchFamily="34" charset="0"/>
                </a:rPr>
                <a:t> 2013</a:t>
              </a:r>
              <a:endParaRPr lang="pt-BR" sz="700" b="0" i="0" dirty="0">
                <a:latin typeface="Calibri" pitchFamily="34" charset="0"/>
              </a:endParaRPr>
            </a:p>
          </p:txBody>
        </p:sp>
        <p:cxnSp>
          <p:nvCxnSpPr>
            <p:cNvPr id="478" name="Straight Connector 477"/>
            <p:cNvCxnSpPr/>
            <p:nvPr/>
          </p:nvCxnSpPr>
          <p:spPr>
            <a:xfrm>
              <a:off x="162968" y="6557540"/>
              <a:ext cx="267206" cy="1807"/>
            </a:xfrm>
            <a:prstGeom prst="line">
              <a:avLst/>
            </a:prstGeom>
            <a:ln w="28575">
              <a:solidFill>
                <a:srgbClr val="FF0000"/>
              </a:solidFill>
              <a:prstDash val="solid"/>
            </a:ln>
          </p:spPr>
          <p:style>
            <a:lnRef idx="1">
              <a:schemeClr val="accent1"/>
            </a:lnRef>
            <a:fillRef idx="0">
              <a:schemeClr val="accent1"/>
            </a:fillRef>
            <a:effectRef idx="0">
              <a:schemeClr val="accent1"/>
            </a:effectRef>
            <a:fontRef idx="minor">
              <a:schemeClr val="tx1"/>
            </a:fontRef>
          </p:style>
        </p:cxnSp>
        <p:sp>
          <p:nvSpPr>
            <p:cNvPr id="479" name="TextBox 373"/>
            <p:cNvSpPr txBox="1">
              <a:spLocks noChangeArrowheads="1"/>
            </p:cNvSpPr>
            <p:nvPr/>
          </p:nvSpPr>
          <p:spPr bwMode="auto">
            <a:xfrm>
              <a:off x="467099" y="6464720"/>
              <a:ext cx="1289170" cy="200055"/>
            </a:xfrm>
            <a:prstGeom prst="rect">
              <a:avLst/>
            </a:prstGeom>
            <a:noFill/>
            <a:ln w="9525">
              <a:noFill/>
              <a:miter lim="800000"/>
              <a:headEnd/>
              <a:tailEnd/>
            </a:ln>
          </p:spPr>
          <p:txBody>
            <a:bodyPr wrap="square">
              <a:spAutoFit/>
            </a:bodyPr>
            <a:lstStyle/>
            <a:p>
              <a:pPr>
                <a:defRPr/>
              </a:pPr>
              <a:r>
                <a:rPr lang="pt-BR" sz="700" b="0" i="0" dirty="0" smtClean="0">
                  <a:latin typeface="Calibri" pitchFamily="34" charset="0"/>
                </a:rPr>
                <a:t>Rede própri</a:t>
              </a:r>
              <a:r>
                <a:rPr lang="pt-BR" sz="700" b="0" dirty="0" smtClean="0">
                  <a:latin typeface="Calibri" pitchFamily="34" charset="0"/>
                </a:rPr>
                <a:t>a 2014 - 2016</a:t>
              </a:r>
              <a:endParaRPr lang="pt-BR" sz="700" b="0" i="0" dirty="0">
                <a:latin typeface="Calibri" pitchFamily="34" charset="0"/>
              </a:endParaRPr>
            </a:p>
          </p:txBody>
        </p:sp>
      </p:grpSp>
      <p:grpSp>
        <p:nvGrpSpPr>
          <p:cNvPr id="4" name="Group 3"/>
          <p:cNvGrpSpPr/>
          <p:nvPr/>
        </p:nvGrpSpPr>
        <p:grpSpPr>
          <a:xfrm>
            <a:off x="344488" y="1772816"/>
            <a:ext cx="4637815" cy="4308736"/>
            <a:chOff x="272480" y="1556792"/>
            <a:chExt cx="5040567" cy="4982634"/>
          </a:xfrm>
        </p:grpSpPr>
        <p:grpSp>
          <p:nvGrpSpPr>
            <p:cNvPr id="250" name="Group 249"/>
            <p:cNvGrpSpPr/>
            <p:nvPr/>
          </p:nvGrpSpPr>
          <p:grpSpPr>
            <a:xfrm>
              <a:off x="272480" y="1556792"/>
              <a:ext cx="5040567" cy="4982634"/>
              <a:chOff x="344482" y="1412776"/>
              <a:chExt cx="5040567" cy="5184576"/>
            </a:xfrm>
          </p:grpSpPr>
          <p:grpSp>
            <p:nvGrpSpPr>
              <p:cNvPr id="251" name="Group 250"/>
              <p:cNvGrpSpPr/>
              <p:nvPr/>
            </p:nvGrpSpPr>
            <p:grpSpPr>
              <a:xfrm>
                <a:off x="344482" y="1412776"/>
                <a:ext cx="4955145" cy="5184576"/>
                <a:chOff x="4654066" y="1922487"/>
                <a:chExt cx="5299068" cy="4314825"/>
              </a:xfrm>
            </p:grpSpPr>
            <p:grpSp>
              <p:nvGrpSpPr>
                <p:cNvPr id="253" name="Group 23"/>
                <p:cNvGrpSpPr>
                  <a:grpSpLocks/>
                </p:cNvGrpSpPr>
                <p:nvPr/>
              </p:nvGrpSpPr>
              <p:grpSpPr bwMode="auto">
                <a:xfrm>
                  <a:off x="4654066" y="1922487"/>
                  <a:ext cx="5299068" cy="4314825"/>
                  <a:chOff x="3153394" y="1387199"/>
                  <a:chExt cx="6882536" cy="5443529"/>
                </a:xfrm>
              </p:grpSpPr>
              <p:grpSp>
                <p:nvGrpSpPr>
                  <p:cNvPr id="272" name="Group 512"/>
                  <p:cNvGrpSpPr>
                    <a:grpSpLocks/>
                  </p:cNvGrpSpPr>
                  <p:nvPr/>
                </p:nvGrpSpPr>
                <p:grpSpPr bwMode="auto">
                  <a:xfrm>
                    <a:off x="3153394" y="1387199"/>
                    <a:ext cx="6882536" cy="5443529"/>
                    <a:chOff x="2786073" y="1057284"/>
                    <a:chExt cx="6882536" cy="5443529"/>
                  </a:xfrm>
                </p:grpSpPr>
                <p:grpSp>
                  <p:nvGrpSpPr>
                    <p:cNvPr id="274" name="Group 314"/>
                    <p:cNvGrpSpPr>
                      <a:grpSpLocks/>
                    </p:cNvGrpSpPr>
                    <p:nvPr/>
                  </p:nvGrpSpPr>
                  <p:grpSpPr bwMode="auto">
                    <a:xfrm>
                      <a:off x="2786073" y="1057284"/>
                      <a:ext cx="6882536" cy="5443529"/>
                      <a:chOff x="2643158" y="985839"/>
                      <a:chExt cx="6882536" cy="5443529"/>
                    </a:xfrm>
                  </p:grpSpPr>
                  <p:grpSp>
                    <p:nvGrpSpPr>
                      <p:cNvPr id="277" name="Group 199"/>
                      <p:cNvGrpSpPr>
                        <a:grpSpLocks/>
                      </p:cNvGrpSpPr>
                      <p:nvPr/>
                    </p:nvGrpSpPr>
                    <p:grpSpPr bwMode="auto">
                      <a:xfrm>
                        <a:off x="2643158" y="985839"/>
                        <a:ext cx="6882536" cy="5443529"/>
                        <a:chOff x="2643158" y="985839"/>
                        <a:chExt cx="6882536" cy="5443529"/>
                      </a:xfrm>
                    </p:grpSpPr>
                    <p:grpSp>
                      <p:nvGrpSpPr>
                        <p:cNvPr id="295" name="Group 554"/>
                        <p:cNvGrpSpPr>
                          <a:grpSpLocks/>
                        </p:cNvGrpSpPr>
                        <p:nvPr/>
                      </p:nvGrpSpPr>
                      <p:grpSpPr bwMode="auto">
                        <a:xfrm>
                          <a:off x="2643158" y="985839"/>
                          <a:ext cx="6882536" cy="5443529"/>
                          <a:chOff x="2642456" y="985248"/>
                          <a:chExt cx="6883279" cy="5444141"/>
                        </a:xfrm>
                      </p:grpSpPr>
                      <p:grpSp>
                        <p:nvGrpSpPr>
                          <p:cNvPr id="299" name="Group 388"/>
                          <p:cNvGrpSpPr>
                            <a:grpSpLocks/>
                          </p:cNvGrpSpPr>
                          <p:nvPr/>
                        </p:nvGrpSpPr>
                        <p:grpSpPr bwMode="auto">
                          <a:xfrm>
                            <a:off x="2642456" y="985248"/>
                            <a:ext cx="6883279" cy="5444141"/>
                            <a:chOff x="2746322" y="1019142"/>
                            <a:chExt cx="6328428" cy="5237864"/>
                          </a:xfrm>
                        </p:grpSpPr>
                        <p:grpSp>
                          <p:nvGrpSpPr>
                            <p:cNvPr id="302" name="Group 365"/>
                            <p:cNvGrpSpPr>
                              <a:grpSpLocks/>
                            </p:cNvGrpSpPr>
                            <p:nvPr/>
                          </p:nvGrpSpPr>
                          <p:grpSpPr bwMode="auto">
                            <a:xfrm>
                              <a:off x="2746322" y="1019142"/>
                              <a:ext cx="6328428" cy="5237864"/>
                              <a:chOff x="4900595" y="803599"/>
                              <a:chExt cx="3985514" cy="3173096"/>
                            </a:xfrm>
                          </p:grpSpPr>
                          <p:sp>
                            <p:nvSpPr>
                              <p:cNvPr id="309" name="Freeform 25"/>
                              <p:cNvSpPr>
                                <a:spLocks noChangeArrowheads="1"/>
                              </p:cNvSpPr>
                              <p:nvPr/>
                            </p:nvSpPr>
                            <p:spPr bwMode="auto">
                              <a:xfrm>
                                <a:off x="6525106" y="927193"/>
                                <a:ext cx="385398" cy="420566"/>
                              </a:xfrm>
                              <a:custGeom>
                                <a:avLst/>
                                <a:gdLst>
                                  <a:gd name="T0" fmla="*/ 2147483647 w 179"/>
                                  <a:gd name="T1" fmla="*/ 2147483647 h 191"/>
                                  <a:gd name="T2" fmla="*/ 2147483647 w 179"/>
                                  <a:gd name="T3" fmla="*/ 2147483647 h 191"/>
                                  <a:gd name="T4" fmla="*/ 2147483647 w 179"/>
                                  <a:gd name="T5" fmla="*/ 2147483647 h 191"/>
                                  <a:gd name="T6" fmla="*/ 2147483647 w 179"/>
                                  <a:gd name="T7" fmla="*/ 2147483647 h 191"/>
                                  <a:gd name="T8" fmla="*/ 2147483647 w 179"/>
                                  <a:gd name="T9" fmla="*/ 2147483647 h 191"/>
                                  <a:gd name="T10" fmla="*/ 2147483647 w 179"/>
                                  <a:gd name="T11" fmla="*/ 2147483647 h 191"/>
                                  <a:gd name="T12" fmla="*/ 2147483647 w 179"/>
                                  <a:gd name="T13" fmla="*/ 2147483647 h 191"/>
                                  <a:gd name="T14" fmla="*/ 0 w 179"/>
                                  <a:gd name="T15" fmla="*/ 2147483647 h 191"/>
                                  <a:gd name="T16" fmla="*/ 0 w 179"/>
                                  <a:gd name="T17" fmla="*/ 2147483647 h 191"/>
                                  <a:gd name="T18" fmla="*/ 2147483647 w 179"/>
                                  <a:gd name="T19" fmla="*/ 2147483647 h 191"/>
                                  <a:gd name="T20" fmla="*/ 2147483647 w 179"/>
                                  <a:gd name="T21" fmla="*/ 2147483647 h 191"/>
                                  <a:gd name="T22" fmla="*/ 2147483647 w 179"/>
                                  <a:gd name="T23" fmla="*/ 2147483647 h 191"/>
                                  <a:gd name="T24" fmla="*/ 2147483647 w 179"/>
                                  <a:gd name="T25" fmla="*/ 2147483647 h 191"/>
                                  <a:gd name="T26" fmla="*/ 2147483647 w 179"/>
                                  <a:gd name="T27" fmla="*/ 0 h 191"/>
                                  <a:gd name="T28" fmla="*/ 2147483647 w 179"/>
                                  <a:gd name="T29" fmla="*/ 0 h 191"/>
                                  <a:gd name="T30" fmla="*/ 2147483647 w 179"/>
                                  <a:gd name="T31" fmla="*/ 2147483647 h 191"/>
                                  <a:gd name="T32" fmla="*/ 2147483647 w 179"/>
                                  <a:gd name="T33" fmla="*/ 2147483647 h 191"/>
                                  <a:gd name="T34" fmla="*/ 2147483647 w 179"/>
                                  <a:gd name="T35" fmla="*/ 2147483647 h 191"/>
                                  <a:gd name="T36" fmla="*/ 2147483647 w 179"/>
                                  <a:gd name="T37" fmla="*/ 2147483647 h 191"/>
                                  <a:gd name="T38" fmla="*/ 2147483647 w 179"/>
                                  <a:gd name="T39" fmla="*/ 2147483647 h 191"/>
                                  <a:gd name="T40" fmla="*/ 2147483647 w 179"/>
                                  <a:gd name="T41" fmla="*/ 2147483647 h 191"/>
                                  <a:gd name="T42" fmla="*/ 2147483647 w 179"/>
                                  <a:gd name="T43" fmla="*/ 2147483647 h 191"/>
                                  <a:gd name="T44" fmla="*/ 2147483647 w 179"/>
                                  <a:gd name="T45" fmla="*/ 2147483647 h 191"/>
                                  <a:gd name="T46" fmla="*/ 2147483647 w 179"/>
                                  <a:gd name="T47" fmla="*/ 2147483647 h 19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79"/>
                                  <a:gd name="T73" fmla="*/ 0 h 191"/>
                                  <a:gd name="T74" fmla="*/ 179 w 179"/>
                                  <a:gd name="T75" fmla="*/ 191 h 19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79" h="191">
                                    <a:moveTo>
                                      <a:pt x="135" y="191"/>
                                    </a:moveTo>
                                    <a:lnTo>
                                      <a:pt x="112" y="191"/>
                                    </a:lnTo>
                                    <a:lnTo>
                                      <a:pt x="88" y="167"/>
                                    </a:lnTo>
                                    <a:lnTo>
                                      <a:pt x="76" y="135"/>
                                    </a:lnTo>
                                    <a:lnTo>
                                      <a:pt x="56" y="99"/>
                                    </a:lnTo>
                                    <a:lnTo>
                                      <a:pt x="32" y="91"/>
                                    </a:lnTo>
                                    <a:lnTo>
                                      <a:pt x="20" y="91"/>
                                    </a:lnTo>
                                    <a:lnTo>
                                      <a:pt x="0" y="79"/>
                                    </a:lnTo>
                                    <a:lnTo>
                                      <a:pt x="0" y="55"/>
                                    </a:lnTo>
                                    <a:lnTo>
                                      <a:pt x="32" y="67"/>
                                    </a:lnTo>
                                    <a:lnTo>
                                      <a:pt x="68" y="67"/>
                                    </a:lnTo>
                                    <a:lnTo>
                                      <a:pt x="100" y="43"/>
                                    </a:lnTo>
                                    <a:lnTo>
                                      <a:pt x="124" y="12"/>
                                    </a:lnTo>
                                    <a:lnTo>
                                      <a:pt x="135" y="0"/>
                                    </a:lnTo>
                                    <a:lnTo>
                                      <a:pt x="143" y="0"/>
                                    </a:lnTo>
                                    <a:lnTo>
                                      <a:pt x="143" y="32"/>
                                    </a:lnTo>
                                    <a:lnTo>
                                      <a:pt x="155" y="67"/>
                                    </a:lnTo>
                                    <a:lnTo>
                                      <a:pt x="167" y="91"/>
                                    </a:lnTo>
                                    <a:lnTo>
                                      <a:pt x="179" y="99"/>
                                    </a:lnTo>
                                    <a:lnTo>
                                      <a:pt x="179" y="111"/>
                                    </a:lnTo>
                                    <a:lnTo>
                                      <a:pt x="167" y="123"/>
                                    </a:lnTo>
                                    <a:lnTo>
                                      <a:pt x="143" y="147"/>
                                    </a:lnTo>
                                    <a:lnTo>
                                      <a:pt x="135" y="179"/>
                                    </a:lnTo>
                                    <a:lnTo>
                                      <a:pt x="135" y="191"/>
                                    </a:lnTo>
                                    <a:close/>
                                  </a:path>
                                </a:pathLst>
                              </a:custGeom>
                              <a:solidFill>
                                <a:srgbClr val="FFFFFF"/>
                              </a:solidFill>
                              <a:ln w="9360">
                                <a:solidFill>
                                  <a:srgbClr val="969696"/>
                                </a:solidFill>
                                <a:round/>
                                <a:headEnd/>
                                <a:tailEnd/>
                              </a:ln>
                            </p:spPr>
                            <p:txBody>
                              <a:bodyPr wrap="none" anchor="ctr"/>
                              <a:lstStyle/>
                              <a:p>
                                <a:endParaRPr lang="pt-BR"/>
                              </a:p>
                            </p:txBody>
                          </p:sp>
                          <p:sp>
                            <p:nvSpPr>
                              <p:cNvPr id="310" name="Freeform 26"/>
                              <p:cNvSpPr>
                                <a:spLocks noChangeArrowheads="1"/>
                              </p:cNvSpPr>
                              <p:nvPr/>
                            </p:nvSpPr>
                            <p:spPr bwMode="auto">
                              <a:xfrm>
                                <a:off x="5681124" y="803599"/>
                                <a:ext cx="464908" cy="574166"/>
                              </a:xfrm>
                              <a:custGeom>
                                <a:avLst/>
                                <a:gdLst>
                                  <a:gd name="T0" fmla="*/ 2147483647 w 203"/>
                                  <a:gd name="T1" fmla="*/ 2147483647 h 247"/>
                                  <a:gd name="T2" fmla="*/ 2147483647 w 203"/>
                                  <a:gd name="T3" fmla="*/ 2147483647 h 247"/>
                                  <a:gd name="T4" fmla="*/ 2147483647 w 203"/>
                                  <a:gd name="T5" fmla="*/ 2147483647 h 247"/>
                                  <a:gd name="T6" fmla="*/ 2147483647 w 203"/>
                                  <a:gd name="T7" fmla="*/ 2147483647 h 247"/>
                                  <a:gd name="T8" fmla="*/ 2147483647 w 203"/>
                                  <a:gd name="T9" fmla="*/ 2147483647 h 247"/>
                                  <a:gd name="T10" fmla="*/ 2147483647 w 203"/>
                                  <a:gd name="T11" fmla="*/ 2147483647 h 247"/>
                                  <a:gd name="T12" fmla="*/ 2147483647 w 203"/>
                                  <a:gd name="T13" fmla="*/ 2147483647 h 247"/>
                                  <a:gd name="T14" fmla="*/ 2147483647 w 203"/>
                                  <a:gd name="T15" fmla="*/ 2147483647 h 247"/>
                                  <a:gd name="T16" fmla="*/ 2147483647 w 203"/>
                                  <a:gd name="T17" fmla="*/ 2147483647 h 247"/>
                                  <a:gd name="T18" fmla="*/ 2147483647 w 203"/>
                                  <a:gd name="T19" fmla="*/ 2147483647 h 247"/>
                                  <a:gd name="T20" fmla="*/ 2147483647 w 203"/>
                                  <a:gd name="T21" fmla="*/ 2147483647 h 247"/>
                                  <a:gd name="T22" fmla="*/ 2147483647 w 203"/>
                                  <a:gd name="T23" fmla="*/ 2147483647 h 247"/>
                                  <a:gd name="T24" fmla="*/ 2147483647 w 203"/>
                                  <a:gd name="T25" fmla="*/ 2147483647 h 247"/>
                                  <a:gd name="T26" fmla="*/ 2147483647 w 203"/>
                                  <a:gd name="T27" fmla="*/ 2147483647 h 247"/>
                                  <a:gd name="T28" fmla="*/ 2147483647 w 203"/>
                                  <a:gd name="T29" fmla="*/ 2147483647 h 247"/>
                                  <a:gd name="T30" fmla="*/ 2147483647 w 203"/>
                                  <a:gd name="T31" fmla="*/ 2147483647 h 247"/>
                                  <a:gd name="T32" fmla="*/ 2147483647 w 203"/>
                                  <a:gd name="T33" fmla="*/ 2147483647 h 247"/>
                                  <a:gd name="T34" fmla="*/ 2147483647 w 203"/>
                                  <a:gd name="T35" fmla="*/ 2147483647 h 247"/>
                                  <a:gd name="T36" fmla="*/ 2147483647 w 203"/>
                                  <a:gd name="T37" fmla="*/ 2147483647 h 247"/>
                                  <a:gd name="T38" fmla="*/ 0 w 203"/>
                                  <a:gd name="T39" fmla="*/ 2147483647 h 247"/>
                                  <a:gd name="T40" fmla="*/ 2147483647 w 203"/>
                                  <a:gd name="T41" fmla="*/ 2147483647 h 247"/>
                                  <a:gd name="T42" fmla="*/ 2147483647 w 203"/>
                                  <a:gd name="T43" fmla="*/ 2147483647 h 247"/>
                                  <a:gd name="T44" fmla="*/ 2147483647 w 203"/>
                                  <a:gd name="T45" fmla="*/ 2147483647 h 247"/>
                                  <a:gd name="T46" fmla="*/ 2147483647 w 203"/>
                                  <a:gd name="T47" fmla="*/ 2147483647 h 247"/>
                                  <a:gd name="T48" fmla="*/ 2147483647 w 203"/>
                                  <a:gd name="T49" fmla="*/ 2147483647 h 247"/>
                                  <a:gd name="T50" fmla="*/ 2147483647 w 203"/>
                                  <a:gd name="T51" fmla="*/ 2147483647 h 247"/>
                                  <a:gd name="T52" fmla="*/ 2147483647 w 203"/>
                                  <a:gd name="T53" fmla="*/ 0 h 247"/>
                                  <a:gd name="T54" fmla="*/ 2147483647 w 203"/>
                                  <a:gd name="T55" fmla="*/ 2147483647 h 247"/>
                                  <a:gd name="T56" fmla="*/ 2147483647 w 203"/>
                                  <a:gd name="T57" fmla="*/ 2147483647 h 247"/>
                                  <a:gd name="T58" fmla="*/ 2147483647 w 203"/>
                                  <a:gd name="T59" fmla="*/ 2147483647 h 247"/>
                                  <a:gd name="T60" fmla="*/ 2147483647 w 203"/>
                                  <a:gd name="T61" fmla="*/ 2147483647 h 247"/>
                                  <a:gd name="T62" fmla="*/ 2147483647 w 203"/>
                                  <a:gd name="T63" fmla="*/ 2147483647 h 247"/>
                                  <a:gd name="T64" fmla="*/ 2147483647 w 203"/>
                                  <a:gd name="T65" fmla="*/ 2147483647 h 247"/>
                                  <a:gd name="T66" fmla="*/ 2147483647 w 203"/>
                                  <a:gd name="T67" fmla="*/ 2147483647 h 247"/>
                                  <a:gd name="T68" fmla="*/ 2147483647 w 203"/>
                                  <a:gd name="T69" fmla="*/ 2147483647 h 247"/>
                                  <a:gd name="T70" fmla="*/ 2147483647 w 203"/>
                                  <a:gd name="T71" fmla="*/ 2147483647 h 24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03"/>
                                  <a:gd name="T109" fmla="*/ 0 h 247"/>
                                  <a:gd name="T110" fmla="*/ 203 w 203"/>
                                  <a:gd name="T111" fmla="*/ 247 h 24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03" h="247">
                                    <a:moveTo>
                                      <a:pt x="203" y="203"/>
                                    </a:moveTo>
                                    <a:lnTo>
                                      <a:pt x="167" y="203"/>
                                    </a:lnTo>
                                    <a:lnTo>
                                      <a:pt x="155" y="211"/>
                                    </a:lnTo>
                                    <a:lnTo>
                                      <a:pt x="155" y="223"/>
                                    </a:lnTo>
                                    <a:lnTo>
                                      <a:pt x="143" y="235"/>
                                    </a:lnTo>
                                    <a:lnTo>
                                      <a:pt x="135" y="235"/>
                                    </a:lnTo>
                                    <a:lnTo>
                                      <a:pt x="124" y="223"/>
                                    </a:lnTo>
                                    <a:lnTo>
                                      <a:pt x="112" y="223"/>
                                    </a:lnTo>
                                    <a:lnTo>
                                      <a:pt x="100" y="247"/>
                                    </a:lnTo>
                                    <a:lnTo>
                                      <a:pt x="76" y="235"/>
                                    </a:lnTo>
                                    <a:lnTo>
                                      <a:pt x="68" y="223"/>
                                    </a:lnTo>
                                    <a:lnTo>
                                      <a:pt x="76" y="211"/>
                                    </a:lnTo>
                                    <a:lnTo>
                                      <a:pt x="76" y="179"/>
                                    </a:lnTo>
                                    <a:lnTo>
                                      <a:pt x="68" y="155"/>
                                    </a:lnTo>
                                    <a:lnTo>
                                      <a:pt x="68" y="135"/>
                                    </a:lnTo>
                                    <a:lnTo>
                                      <a:pt x="56" y="123"/>
                                    </a:lnTo>
                                    <a:lnTo>
                                      <a:pt x="32" y="111"/>
                                    </a:lnTo>
                                    <a:lnTo>
                                      <a:pt x="20" y="87"/>
                                    </a:lnTo>
                                    <a:lnTo>
                                      <a:pt x="20" y="68"/>
                                    </a:lnTo>
                                    <a:lnTo>
                                      <a:pt x="0" y="56"/>
                                    </a:lnTo>
                                    <a:lnTo>
                                      <a:pt x="8" y="44"/>
                                    </a:lnTo>
                                    <a:lnTo>
                                      <a:pt x="56" y="56"/>
                                    </a:lnTo>
                                    <a:lnTo>
                                      <a:pt x="68" y="56"/>
                                    </a:lnTo>
                                    <a:lnTo>
                                      <a:pt x="76" y="68"/>
                                    </a:lnTo>
                                    <a:lnTo>
                                      <a:pt x="88" y="44"/>
                                    </a:lnTo>
                                    <a:lnTo>
                                      <a:pt x="135" y="20"/>
                                    </a:lnTo>
                                    <a:lnTo>
                                      <a:pt x="135" y="0"/>
                                    </a:lnTo>
                                    <a:lnTo>
                                      <a:pt x="155" y="8"/>
                                    </a:lnTo>
                                    <a:lnTo>
                                      <a:pt x="155" y="32"/>
                                    </a:lnTo>
                                    <a:lnTo>
                                      <a:pt x="167" y="32"/>
                                    </a:lnTo>
                                    <a:lnTo>
                                      <a:pt x="179" y="56"/>
                                    </a:lnTo>
                                    <a:lnTo>
                                      <a:pt x="167" y="87"/>
                                    </a:lnTo>
                                    <a:lnTo>
                                      <a:pt x="179" y="135"/>
                                    </a:lnTo>
                                    <a:lnTo>
                                      <a:pt x="191" y="143"/>
                                    </a:lnTo>
                                    <a:lnTo>
                                      <a:pt x="203" y="179"/>
                                    </a:lnTo>
                                    <a:lnTo>
                                      <a:pt x="203" y="203"/>
                                    </a:lnTo>
                                    <a:close/>
                                  </a:path>
                                </a:pathLst>
                              </a:custGeom>
                              <a:solidFill>
                                <a:srgbClr val="FFFFFF"/>
                              </a:solidFill>
                              <a:ln w="9360">
                                <a:solidFill>
                                  <a:srgbClr val="969696"/>
                                </a:solidFill>
                                <a:round/>
                                <a:headEnd/>
                                <a:tailEnd/>
                              </a:ln>
                            </p:spPr>
                            <p:txBody>
                              <a:bodyPr wrap="none" anchor="ctr"/>
                              <a:lstStyle/>
                              <a:p>
                                <a:endParaRPr lang="pt-BR"/>
                              </a:p>
                            </p:txBody>
                          </p:sp>
                          <p:grpSp>
                            <p:nvGrpSpPr>
                              <p:cNvPr id="311" name="Group 362"/>
                              <p:cNvGrpSpPr>
                                <a:grpSpLocks/>
                              </p:cNvGrpSpPr>
                              <p:nvPr/>
                            </p:nvGrpSpPr>
                            <p:grpSpPr bwMode="auto">
                              <a:xfrm>
                                <a:off x="4900595" y="1051337"/>
                                <a:ext cx="3985514" cy="2925358"/>
                                <a:chOff x="5795288" y="1167617"/>
                                <a:chExt cx="3095567" cy="2607880"/>
                              </a:xfrm>
                            </p:grpSpPr>
                            <p:sp>
                              <p:nvSpPr>
                                <p:cNvPr id="312" name="Freeform 12"/>
                                <p:cNvSpPr>
                                  <a:spLocks noChangeArrowheads="1"/>
                                </p:cNvSpPr>
                                <p:nvPr/>
                              </p:nvSpPr>
                              <p:spPr bwMode="auto">
                                <a:xfrm>
                                  <a:off x="8028472" y="1832762"/>
                                  <a:ext cx="460869" cy="154577"/>
                                </a:xfrm>
                                <a:custGeom>
                                  <a:avLst/>
                                  <a:gdLst>
                                    <a:gd name="T0" fmla="*/ 2147483647 w 239"/>
                                    <a:gd name="T1" fmla="*/ 0 h 79"/>
                                    <a:gd name="T2" fmla="*/ 2147483647 w 239"/>
                                    <a:gd name="T3" fmla="*/ 0 h 79"/>
                                    <a:gd name="T4" fmla="*/ 2147483647 w 239"/>
                                    <a:gd name="T5" fmla="*/ 2147483647 h 79"/>
                                    <a:gd name="T6" fmla="*/ 2147483647 w 239"/>
                                    <a:gd name="T7" fmla="*/ 2147483647 h 79"/>
                                    <a:gd name="T8" fmla="*/ 2147483647 w 239"/>
                                    <a:gd name="T9" fmla="*/ 2147483647 h 79"/>
                                    <a:gd name="T10" fmla="*/ 2147483647 w 239"/>
                                    <a:gd name="T11" fmla="*/ 2147483647 h 79"/>
                                    <a:gd name="T12" fmla="*/ 2147483647 w 239"/>
                                    <a:gd name="T13" fmla="*/ 2147483647 h 79"/>
                                    <a:gd name="T14" fmla="*/ 2147483647 w 239"/>
                                    <a:gd name="T15" fmla="*/ 2147483647 h 79"/>
                                    <a:gd name="T16" fmla="*/ 2147483647 w 239"/>
                                    <a:gd name="T17" fmla="*/ 2147483647 h 79"/>
                                    <a:gd name="T18" fmla="*/ 2147483647 w 239"/>
                                    <a:gd name="T19" fmla="*/ 2147483647 h 79"/>
                                    <a:gd name="T20" fmla="*/ 2147483647 w 239"/>
                                    <a:gd name="T21" fmla="*/ 2147483647 h 79"/>
                                    <a:gd name="T22" fmla="*/ 2147483647 w 239"/>
                                    <a:gd name="T23" fmla="*/ 2147483647 h 79"/>
                                    <a:gd name="T24" fmla="*/ 2147483647 w 239"/>
                                    <a:gd name="T25" fmla="*/ 2147483647 h 79"/>
                                    <a:gd name="T26" fmla="*/ 2147483647 w 239"/>
                                    <a:gd name="T27" fmla="*/ 2147483647 h 79"/>
                                    <a:gd name="T28" fmla="*/ 2147483647 w 239"/>
                                    <a:gd name="T29" fmla="*/ 2147483647 h 79"/>
                                    <a:gd name="T30" fmla="*/ 2147483647 w 239"/>
                                    <a:gd name="T31" fmla="*/ 2147483647 h 79"/>
                                    <a:gd name="T32" fmla="*/ 2147483647 w 239"/>
                                    <a:gd name="T33" fmla="*/ 2147483647 h 79"/>
                                    <a:gd name="T34" fmla="*/ 0 w 239"/>
                                    <a:gd name="T35" fmla="*/ 2147483647 h 79"/>
                                    <a:gd name="T36" fmla="*/ 2147483647 w 239"/>
                                    <a:gd name="T37" fmla="*/ 2147483647 h 79"/>
                                    <a:gd name="T38" fmla="*/ 2147483647 w 239"/>
                                    <a:gd name="T39" fmla="*/ 2147483647 h 79"/>
                                    <a:gd name="T40" fmla="*/ 2147483647 w 239"/>
                                    <a:gd name="T41" fmla="*/ 2147483647 h 79"/>
                                    <a:gd name="T42" fmla="*/ 2147483647 w 239"/>
                                    <a:gd name="T43" fmla="*/ 2147483647 h 79"/>
                                    <a:gd name="T44" fmla="*/ 2147483647 w 239"/>
                                    <a:gd name="T45" fmla="*/ 2147483647 h 79"/>
                                    <a:gd name="T46" fmla="*/ 2147483647 w 239"/>
                                    <a:gd name="T47" fmla="*/ 2147483647 h 79"/>
                                    <a:gd name="T48" fmla="*/ 2147483647 w 239"/>
                                    <a:gd name="T49" fmla="*/ 2147483647 h 79"/>
                                    <a:gd name="T50" fmla="*/ 2147483647 w 239"/>
                                    <a:gd name="T51" fmla="*/ 2147483647 h 79"/>
                                    <a:gd name="T52" fmla="*/ 2147483647 w 239"/>
                                    <a:gd name="T53" fmla="*/ 2147483647 h 79"/>
                                    <a:gd name="T54" fmla="*/ 2147483647 w 239"/>
                                    <a:gd name="T55" fmla="*/ 2147483647 h 79"/>
                                    <a:gd name="T56" fmla="*/ 2147483647 w 239"/>
                                    <a:gd name="T57" fmla="*/ 2147483647 h 79"/>
                                    <a:gd name="T58" fmla="*/ 2147483647 w 239"/>
                                    <a:gd name="T59" fmla="*/ 2147483647 h 79"/>
                                    <a:gd name="T60" fmla="*/ 2147483647 w 239"/>
                                    <a:gd name="T61" fmla="*/ 2147483647 h 79"/>
                                    <a:gd name="T62" fmla="*/ 2147483647 w 239"/>
                                    <a:gd name="T63" fmla="*/ 2147483647 h 79"/>
                                    <a:gd name="T64" fmla="*/ 2147483647 w 239"/>
                                    <a:gd name="T65" fmla="*/ 0 h 7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39"/>
                                    <a:gd name="T100" fmla="*/ 0 h 79"/>
                                    <a:gd name="T101" fmla="*/ 239 w 239"/>
                                    <a:gd name="T102" fmla="*/ 79 h 7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39" h="79">
                                      <a:moveTo>
                                        <a:pt x="239" y="0"/>
                                      </a:moveTo>
                                      <a:lnTo>
                                        <a:pt x="227" y="0"/>
                                      </a:lnTo>
                                      <a:lnTo>
                                        <a:pt x="203" y="23"/>
                                      </a:lnTo>
                                      <a:lnTo>
                                        <a:pt x="179" y="23"/>
                                      </a:lnTo>
                                      <a:lnTo>
                                        <a:pt x="171" y="23"/>
                                      </a:lnTo>
                                      <a:lnTo>
                                        <a:pt x="159" y="35"/>
                                      </a:lnTo>
                                      <a:lnTo>
                                        <a:pt x="136" y="35"/>
                                      </a:lnTo>
                                      <a:lnTo>
                                        <a:pt x="148" y="11"/>
                                      </a:lnTo>
                                      <a:lnTo>
                                        <a:pt x="136" y="11"/>
                                      </a:lnTo>
                                      <a:lnTo>
                                        <a:pt x="112" y="23"/>
                                      </a:lnTo>
                                      <a:lnTo>
                                        <a:pt x="104" y="35"/>
                                      </a:lnTo>
                                      <a:lnTo>
                                        <a:pt x="68" y="23"/>
                                      </a:lnTo>
                                      <a:lnTo>
                                        <a:pt x="56" y="23"/>
                                      </a:lnTo>
                                      <a:lnTo>
                                        <a:pt x="44" y="11"/>
                                      </a:lnTo>
                                      <a:lnTo>
                                        <a:pt x="24" y="11"/>
                                      </a:lnTo>
                                      <a:lnTo>
                                        <a:pt x="12" y="23"/>
                                      </a:lnTo>
                                      <a:lnTo>
                                        <a:pt x="12" y="43"/>
                                      </a:lnTo>
                                      <a:lnTo>
                                        <a:pt x="0" y="55"/>
                                      </a:lnTo>
                                      <a:lnTo>
                                        <a:pt x="12" y="67"/>
                                      </a:lnTo>
                                      <a:lnTo>
                                        <a:pt x="12" y="79"/>
                                      </a:lnTo>
                                      <a:lnTo>
                                        <a:pt x="36" y="79"/>
                                      </a:lnTo>
                                      <a:lnTo>
                                        <a:pt x="56" y="55"/>
                                      </a:lnTo>
                                      <a:lnTo>
                                        <a:pt x="104" y="67"/>
                                      </a:lnTo>
                                      <a:lnTo>
                                        <a:pt x="104" y="79"/>
                                      </a:lnTo>
                                      <a:lnTo>
                                        <a:pt x="112" y="79"/>
                                      </a:lnTo>
                                      <a:lnTo>
                                        <a:pt x="124" y="67"/>
                                      </a:lnTo>
                                      <a:lnTo>
                                        <a:pt x="148" y="67"/>
                                      </a:lnTo>
                                      <a:lnTo>
                                        <a:pt x="171" y="79"/>
                                      </a:lnTo>
                                      <a:lnTo>
                                        <a:pt x="179" y="79"/>
                                      </a:lnTo>
                                      <a:lnTo>
                                        <a:pt x="191" y="67"/>
                                      </a:lnTo>
                                      <a:lnTo>
                                        <a:pt x="227" y="67"/>
                                      </a:lnTo>
                                      <a:lnTo>
                                        <a:pt x="239" y="35"/>
                                      </a:lnTo>
                                      <a:lnTo>
                                        <a:pt x="239" y="0"/>
                                      </a:lnTo>
                                      <a:close/>
                                    </a:path>
                                  </a:pathLst>
                                </a:custGeom>
                                <a:solidFill>
                                  <a:srgbClr val="FFFFFF"/>
                                </a:solidFill>
                                <a:ln w="9360">
                                  <a:solidFill>
                                    <a:srgbClr val="969696"/>
                                  </a:solidFill>
                                  <a:round/>
                                  <a:headEnd/>
                                  <a:tailEnd/>
                                </a:ln>
                              </p:spPr>
                              <p:txBody>
                                <a:bodyPr wrap="none" anchor="ctr"/>
                                <a:lstStyle/>
                                <a:p>
                                  <a:endParaRPr lang="pt-BR"/>
                                </a:p>
                              </p:txBody>
                            </p:sp>
                            <p:sp>
                              <p:nvSpPr>
                                <p:cNvPr id="313" name="Freeform 15"/>
                                <p:cNvSpPr>
                                  <a:spLocks noChangeArrowheads="1"/>
                                </p:cNvSpPr>
                                <p:nvPr/>
                              </p:nvSpPr>
                              <p:spPr bwMode="auto">
                                <a:xfrm>
                                  <a:off x="8007010" y="1543516"/>
                                  <a:ext cx="306116" cy="333743"/>
                                </a:xfrm>
                                <a:custGeom>
                                  <a:avLst/>
                                  <a:gdLst>
                                    <a:gd name="T0" fmla="*/ 2147483647 w 160"/>
                                    <a:gd name="T1" fmla="*/ 2147483647 h 171"/>
                                    <a:gd name="T2" fmla="*/ 2147483647 w 160"/>
                                    <a:gd name="T3" fmla="*/ 2147483647 h 171"/>
                                    <a:gd name="T4" fmla="*/ 2147483647 w 160"/>
                                    <a:gd name="T5" fmla="*/ 2147483647 h 171"/>
                                    <a:gd name="T6" fmla="*/ 2147483647 w 160"/>
                                    <a:gd name="T7" fmla="*/ 2147483647 h 171"/>
                                    <a:gd name="T8" fmla="*/ 2147483647 w 160"/>
                                    <a:gd name="T9" fmla="*/ 0 h 171"/>
                                    <a:gd name="T10" fmla="*/ 0 w 160"/>
                                    <a:gd name="T11" fmla="*/ 0 h 171"/>
                                    <a:gd name="T12" fmla="*/ 0 w 160"/>
                                    <a:gd name="T13" fmla="*/ 2147483647 h 171"/>
                                    <a:gd name="T14" fmla="*/ 0 w 160"/>
                                    <a:gd name="T15" fmla="*/ 2147483647 h 171"/>
                                    <a:gd name="T16" fmla="*/ 2147483647 w 160"/>
                                    <a:gd name="T17" fmla="*/ 2147483647 h 171"/>
                                    <a:gd name="T18" fmla="*/ 2147483647 w 160"/>
                                    <a:gd name="T19" fmla="*/ 2147483647 h 171"/>
                                    <a:gd name="T20" fmla="*/ 2147483647 w 160"/>
                                    <a:gd name="T21" fmla="*/ 2147483647 h 171"/>
                                    <a:gd name="T22" fmla="*/ 2147483647 w 160"/>
                                    <a:gd name="T23" fmla="*/ 2147483647 h 171"/>
                                    <a:gd name="T24" fmla="*/ 2147483647 w 160"/>
                                    <a:gd name="T25" fmla="*/ 2147483647 h 171"/>
                                    <a:gd name="T26" fmla="*/ 2147483647 w 160"/>
                                    <a:gd name="T27" fmla="*/ 2147483647 h 171"/>
                                    <a:gd name="T28" fmla="*/ 2147483647 w 160"/>
                                    <a:gd name="T29" fmla="*/ 2147483647 h 171"/>
                                    <a:gd name="T30" fmla="*/ 2147483647 w 160"/>
                                    <a:gd name="T31" fmla="*/ 2147483647 h 171"/>
                                    <a:gd name="T32" fmla="*/ 2147483647 w 160"/>
                                    <a:gd name="T33" fmla="*/ 2147483647 h 171"/>
                                    <a:gd name="T34" fmla="*/ 2147483647 w 160"/>
                                    <a:gd name="T35" fmla="*/ 2147483647 h 171"/>
                                    <a:gd name="T36" fmla="*/ 2147483647 w 160"/>
                                    <a:gd name="T37" fmla="*/ 2147483647 h 171"/>
                                    <a:gd name="T38" fmla="*/ 2147483647 w 160"/>
                                    <a:gd name="T39" fmla="*/ 2147483647 h 171"/>
                                    <a:gd name="T40" fmla="*/ 2147483647 w 160"/>
                                    <a:gd name="T41" fmla="*/ 2147483647 h 17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60"/>
                                    <a:gd name="T64" fmla="*/ 0 h 171"/>
                                    <a:gd name="T65" fmla="*/ 160 w 160"/>
                                    <a:gd name="T66" fmla="*/ 171 h 17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60" h="171">
                                      <a:moveTo>
                                        <a:pt x="160" y="56"/>
                                      </a:moveTo>
                                      <a:lnTo>
                                        <a:pt x="124" y="36"/>
                                      </a:lnTo>
                                      <a:lnTo>
                                        <a:pt x="116" y="36"/>
                                      </a:lnTo>
                                      <a:lnTo>
                                        <a:pt x="92" y="12"/>
                                      </a:lnTo>
                                      <a:lnTo>
                                        <a:pt x="56" y="0"/>
                                      </a:lnTo>
                                      <a:lnTo>
                                        <a:pt x="0" y="0"/>
                                      </a:lnTo>
                                      <a:lnTo>
                                        <a:pt x="0" y="24"/>
                                      </a:lnTo>
                                      <a:lnTo>
                                        <a:pt x="0" y="48"/>
                                      </a:lnTo>
                                      <a:lnTo>
                                        <a:pt x="12" y="92"/>
                                      </a:lnTo>
                                      <a:lnTo>
                                        <a:pt x="12" y="116"/>
                                      </a:lnTo>
                                      <a:lnTo>
                                        <a:pt x="36" y="148"/>
                                      </a:lnTo>
                                      <a:lnTo>
                                        <a:pt x="36" y="159"/>
                                      </a:lnTo>
                                      <a:lnTo>
                                        <a:pt x="56" y="159"/>
                                      </a:lnTo>
                                      <a:lnTo>
                                        <a:pt x="68" y="171"/>
                                      </a:lnTo>
                                      <a:lnTo>
                                        <a:pt x="80" y="171"/>
                                      </a:lnTo>
                                      <a:lnTo>
                                        <a:pt x="92" y="159"/>
                                      </a:lnTo>
                                      <a:lnTo>
                                        <a:pt x="104" y="124"/>
                                      </a:lnTo>
                                      <a:lnTo>
                                        <a:pt x="124" y="92"/>
                                      </a:lnTo>
                                      <a:lnTo>
                                        <a:pt x="136" y="68"/>
                                      </a:lnTo>
                                      <a:lnTo>
                                        <a:pt x="148" y="56"/>
                                      </a:lnTo>
                                      <a:lnTo>
                                        <a:pt x="160" y="56"/>
                                      </a:lnTo>
                                      <a:close/>
                                    </a:path>
                                  </a:pathLst>
                                </a:custGeom>
                                <a:solidFill>
                                  <a:srgbClr val="FFFFFF"/>
                                </a:solidFill>
                                <a:ln w="9360">
                                  <a:solidFill>
                                    <a:srgbClr val="969696"/>
                                  </a:solidFill>
                                  <a:round/>
                                  <a:headEnd/>
                                  <a:tailEnd/>
                                </a:ln>
                              </p:spPr>
                              <p:txBody>
                                <a:bodyPr wrap="none" anchor="ctr"/>
                                <a:lstStyle/>
                                <a:p>
                                  <a:endParaRPr lang="pt-BR"/>
                                </a:p>
                              </p:txBody>
                            </p:sp>
                            <p:sp>
                              <p:nvSpPr>
                                <p:cNvPr id="314" name="Freeform 5"/>
                                <p:cNvSpPr>
                                  <a:spLocks noChangeArrowheads="1"/>
                                </p:cNvSpPr>
                                <p:nvPr/>
                              </p:nvSpPr>
                              <p:spPr bwMode="auto">
                                <a:xfrm>
                                  <a:off x="7230986" y="2762557"/>
                                  <a:ext cx="558014" cy="370046"/>
                                </a:xfrm>
                                <a:custGeom>
                                  <a:avLst/>
                                  <a:gdLst>
                                    <a:gd name="T0" fmla="*/ 2147483647 w 294"/>
                                    <a:gd name="T1" fmla="*/ 2147483647 h 191"/>
                                    <a:gd name="T2" fmla="*/ 2147483647 w 294"/>
                                    <a:gd name="T3" fmla="*/ 2147483647 h 191"/>
                                    <a:gd name="T4" fmla="*/ 2147483647 w 294"/>
                                    <a:gd name="T5" fmla="*/ 2147483647 h 191"/>
                                    <a:gd name="T6" fmla="*/ 2147483647 w 294"/>
                                    <a:gd name="T7" fmla="*/ 2147483647 h 191"/>
                                    <a:gd name="T8" fmla="*/ 2147483647 w 294"/>
                                    <a:gd name="T9" fmla="*/ 2147483647 h 191"/>
                                    <a:gd name="T10" fmla="*/ 2147483647 w 294"/>
                                    <a:gd name="T11" fmla="*/ 2147483647 h 191"/>
                                    <a:gd name="T12" fmla="*/ 2147483647 w 294"/>
                                    <a:gd name="T13" fmla="*/ 2147483647 h 191"/>
                                    <a:gd name="T14" fmla="*/ 2147483647 w 294"/>
                                    <a:gd name="T15" fmla="*/ 2147483647 h 191"/>
                                    <a:gd name="T16" fmla="*/ 2147483647 w 294"/>
                                    <a:gd name="T17" fmla="*/ 2147483647 h 191"/>
                                    <a:gd name="T18" fmla="*/ 2147483647 w 294"/>
                                    <a:gd name="T19" fmla="*/ 2147483647 h 191"/>
                                    <a:gd name="T20" fmla="*/ 2147483647 w 294"/>
                                    <a:gd name="T21" fmla="*/ 2147483647 h 191"/>
                                    <a:gd name="T22" fmla="*/ 2147483647 w 294"/>
                                    <a:gd name="T23" fmla="*/ 0 h 191"/>
                                    <a:gd name="T24" fmla="*/ 2147483647 w 294"/>
                                    <a:gd name="T25" fmla="*/ 2147483647 h 191"/>
                                    <a:gd name="T26" fmla="*/ 2147483647 w 294"/>
                                    <a:gd name="T27" fmla="*/ 0 h 191"/>
                                    <a:gd name="T28" fmla="*/ 2147483647 w 294"/>
                                    <a:gd name="T29" fmla="*/ 0 h 191"/>
                                    <a:gd name="T30" fmla="*/ 2147483647 w 294"/>
                                    <a:gd name="T31" fmla="*/ 2147483647 h 191"/>
                                    <a:gd name="T32" fmla="*/ 2147483647 w 294"/>
                                    <a:gd name="T33" fmla="*/ 2147483647 h 191"/>
                                    <a:gd name="T34" fmla="*/ 2147483647 w 294"/>
                                    <a:gd name="T35" fmla="*/ 2147483647 h 191"/>
                                    <a:gd name="T36" fmla="*/ 0 w 294"/>
                                    <a:gd name="T37" fmla="*/ 2147483647 h 191"/>
                                    <a:gd name="T38" fmla="*/ 2147483647 w 294"/>
                                    <a:gd name="T39" fmla="*/ 2147483647 h 191"/>
                                    <a:gd name="T40" fmla="*/ 2147483647 w 294"/>
                                    <a:gd name="T41" fmla="*/ 2147483647 h 191"/>
                                    <a:gd name="T42" fmla="*/ 2147483647 w 294"/>
                                    <a:gd name="T43" fmla="*/ 2147483647 h 191"/>
                                    <a:gd name="T44" fmla="*/ 2147483647 w 294"/>
                                    <a:gd name="T45" fmla="*/ 2147483647 h 191"/>
                                    <a:gd name="T46" fmla="*/ 2147483647 w 294"/>
                                    <a:gd name="T47" fmla="*/ 2147483647 h 191"/>
                                    <a:gd name="T48" fmla="*/ 2147483647 w 294"/>
                                    <a:gd name="T49" fmla="*/ 2147483647 h 191"/>
                                    <a:gd name="T50" fmla="*/ 2147483647 w 294"/>
                                    <a:gd name="T51" fmla="*/ 2147483647 h 191"/>
                                    <a:gd name="T52" fmla="*/ 2147483647 w 294"/>
                                    <a:gd name="T53" fmla="*/ 2147483647 h 191"/>
                                    <a:gd name="T54" fmla="*/ 2147483647 w 294"/>
                                    <a:gd name="T55" fmla="*/ 2147483647 h 191"/>
                                    <a:gd name="T56" fmla="*/ 2147483647 w 294"/>
                                    <a:gd name="T57" fmla="*/ 2147483647 h 191"/>
                                    <a:gd name="T58" fmla="*/ 2147483647 w 294"/>
                                    <a:gd name="T59" fmla="*/ 2147483647 h 191"/>
                                    <a:gd name="T60" fmla="*/ 2147483647 w 294"/>
                                    <a:gd name="T61" fmla="*/ 2147483647 h 191"/>
                                    <a:gd name="T62" fmla="*/ 2147483647 w 294"/>
                                    <a:gd name="T63" fmla="*/ 2147483647 h 19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4"/>
                                    <a:gd name="T97" fmla="*/ 0 h 191"/>
                                    <a:gd name="T98" fmla="*/ 294 w 294"/>
                                    <a:gd name="T99" fmla="*/ 191 h 19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4" h="191">
                                      <a:moveTo>
                                        <a:pt x="282" y="123"/>
                                      </a:moveTo>
                                      <a:lnTo>
                                        <a:pt x="282" y="115"/>
                                      </a:lnTo>
                                      <a:lnTo>
                                        <a:pt x="294" y="103"/>
                                      </a:lnTo>
                                      <a:lnTo>
                                        <a:pt x="270" y="103"/>
                                      </a:lnTo>
                                      <a:lnTo>
                                        <a:pt x="250" y="103"/>
                                      </a:lnTo>
                                      <a:lnTo>
                                        <a:pt x="226" y="91"/>
                                      </a:lnTo>
                                      <a:lnTo>
                                        <a:pt x="215" y="68"/>
                                      </a:lnTo>
                                      <a:lnTo>
                                        <a:pt x="215" y="56"/>
                                      </a:lnTo>
                                      <a:lnTo>
                                        <a:pt x="203" y="48"/>
                                      </a:lnTo>
                                      <a:lnTo>
                                        <a:pt x="203" y="24"/>
                                      </a:lnTo>
                                      <a:lnTo>
                                        <a:pt x="191" y="12"/>
                                      </a:lnTo>
                                      <a:lnTo>
                                        <a:pt x="171" y="0"/>
                                      </a:lnTo>
                                      <a:lnTo>
                                        <a:pt x="135" y="12"/>
                                      </a:lnTo>
                                      <a:lnTo>
                                        <a:pt x="115" y="0"/>
                                      </a:lnTo>
                                      <a:lnTo>
                                        <a:pt x="79" y="0"/>
                                      </a:lnTo>
                                      <a:lnTo>
                                        <a:pt x="55" y="36"/>
                                      </a:lnTo>
                                      <a:lnTo>
                                        <a:pt x="36" y="68"/>
                                      </a:lnTo>
                                      <a:lnTo>
                                        <a:pt x="12" y="91"/>
                                      </a:lnTo>
                                      <a:lnTo>
                                        <a:pt x="0" y="103"/>
                                      </a:lnTo>
                                      <a:lnTo>
                                        <a:pt x="24" y="103"/>
                                      </a:lnTo>
                                      <a:lnTo>
                                        <a:pt x="55" y="115"/>
                                      </a:lnTo>
                                      <a:lnTo>
                                        <a:pt x="91" y="115"/>
                                      </a:lnTo>
                                      <a:lnTo>
                                        <a:pt x="103" y="123"/>
                                      </a:lnTo>
                                      <a:lnTo>
                                        <a:pt x="115" y="135"/>
                                      </a:lnTo>
                                      <a:lnTo>
                                        <a:pt x="135" y="171"/>
                                      </a:lnTo>
                                      <a:lnTo>
                                        <a:pt x="147" y="171"/>
                                      </a:lnTo>
                                      <a:lnTo>
                                        <a:pt x="171" y="191"/>
                                      </a:lnTo>
                                      <a:lnTo>
                                        <a:pt x="183" y="191"/>
                                      </a:lnTo>
                                      <a:lnTo>
                                        <a:pt x="191" y="183"/>
                                      </a:lnTo>
                                      <a:lnTo>
                                        <a:pt x="226" y="159"/>
                                      </a:lnTo>
                                      <a:lnTo>
                                        <a:pt x="258" y="135"/>
                                      </a:lnTo>
                                      <a:lnTo>
                                        <a:pt x="282" y="123"/>
                                      </a:lnTo>
                                      <a:close/>
                                    </a:path>
                                  </a:pathLst>
                                </a:custGeom>
                                <a:solidFill>
                                  <a:srgbClr val="FFFFFF"/>
                                </a:solidFill>
                                <a:ln w="9360">
                                  <a:solidFill>
                                    <a:srgbClr val="969696"/>
                                  </a:solidFill>
                                  <a:round/>
                                  <a:headEnd/>
                                  <a:tailEnd/>
                                </a:ln>
                              </p:spPr>
                              <p:txBody>
                                <a:bodyPr wrap="none" anchor="ctr"/>
                                <a:lstStyle/>
                                <a:p>
                                  <a:endParaRPr lang="pt-BR"/>
                                </a:p>
                              </p:txBody>
                            </p:sp>
                            <p:sp>
                              <p:nvSpPr>
                                <p:cNvPr id="315" name="Freeform 5"/>
                                <p:cNvSpPr>
                                  <a:spLocks noChangeArrowheads="1"/>
                                </p:cNvSpPr>
                                <p:nvPr/>
                              </p:nvSpPr>
                              <p:spPr bwMode="auto">
                                <a:xfrm>
                                  <a:off x="7229858" y="2757874"/>
                                  <a:ext cx="0" cy="63235"/>
                                </a:xfrm>
                                <a:custGeom>
                                  <a:avLst/>
                                  <a:gdLst>
                                    <a:gd name="T0" fmla="*/ 0 w 294"/>
                                    <a:gd name="T1" fmla="*/ 2147483647 h 191"/>
                                    <a:gd name="T2" fmla="*/ 0 w 294"/>
                                    <a:gd name="T3" fmla="*/ 2147483647 h 191"/>
                                    <a:gd name="T4" fmla="*/ 0 w 294"/>
                                    <a:gd name="T5" fmla="*/ 2147483647 h 191"/>
                                    <a:gd name="T6" fmla="*/ 0 w 294"/>
                                    <a:gd name="T7" fmla="*/ 2147483647 h 191"/>
                                    <a:gd name="T8" fmla="*/ 0 w 294"/>
                                    <a:gd name="T9" fmla="*/ 2147483647 h 191"/>
                                    <a:gd name="T10" fmla="*/ 0 w 294"/>
                                    <a:gd name="T11" fmla="*/ 2147483647 h 191"/>
                                    <a:gd name="T12" fmla="*/ 0 w 294"/>
                                    <a:gd name="T13" fmla="*/ 2147483647 h 191"/>
                                    <a:gd name="T14" fmla="*/ 0 w 294"/>
                                    <a:gd name="T15" fmla="*/ 2147483647 h 191"/>
                                    <a:gd name="T16" fmla="*/ 0 w 294"/>
                                    <a:gd name="T17" fmla="*/ 2147483647 h 191"/>
                                    <a:gd name="T18" fmla="*/ 0 w 294"/>
                                    <a:gd name="T19" fmla="*/ 2147483647 h 191"/>
                                    <a:gd name="T20" fmla="*/ 0 w 294"/>
                                    <a:gd name="T21" fmla="*/ 2147483647 h 191"/>
                                    <a:gd name="T22" fmla="*/ 0 w 294"/>
                                    <a:gd name="T23" fmla="*/ 0 h 191"/>
                                    <a:gd name="T24" fmla="*/ 0 w 294"/>
                                    <a:gd name="T25" fmla="*/ 2147483647 h 191"/>
                                    <a:gd name="T26" fmla="*/ 0 w 294"/>
                                    <a:gd name="T27" fmla="*/ 0 h 191"/>
                                    <a:gd name="T28" fmla="*/ 0 w 294"/>
                                    <a:gd name="T29" fmla="*/ 0 h 191"/>
                                    <a:gd name="T30" fmla="*/ 0 w 294"/>
                                    <a:gd name="T31" fmla="*/ 2147483647 h 191"/>
                                    <a:gd name="T32" fmla="*/ 0 w 294"/>
                                    <a:gd name="T33" fmla="*/ 2147483647 h 191"/>
                                    <a:gd name="T34" fmla="*/ 0 w 294"/>
                                    <a:gd name="T35" fmla="*/ 2147483647 h 191"/>
                                    <a:gd name="T36" fmla="*/ 0 w 294"/>
                                    <a:gd name="T37" fmla="*/ 2147483647 h 191"/>
                                    <a:gd name="T38" fmla="*/ 0 w 294"/>
                                    <a:gd name="T39" fmla="*/ 2147483647 h 191"/>
                                    <a:gd name="T40" fmla="*/ 0 w 294"/>
                                    <a:gd name="T41" fmla="*/ 2147483647 h 191"/>
                                    <a:gd name="T42" fmla="*/ 0 w 294"/>
                                    <a:gd name="T43" fmla="*/ 2147483647 h 191"/>
                                    <a:gd name="T44" fmla="*/ 0 w 294"/>
                                    <a:gd name="T45" fmla="*/ 2147483647 h 191"/>
                                    <a:gd name="T46" fmla="*/ 0 w 294"/>
                                    <a:gd name="T47" fmla="*/ 2147483647 h 191"/>
                                    <a:gd name="T48" fmla="*/ 0 w 294"/>
                                    <a:gd name="T49" fmla="*/ 2147483647 h 191"/>
                                    <a:gd name="T50" fmla="*/ 0 w 294"/>
                                    <a:gd name="T51" fmla="*/ 2147483647 h 191"/>
                                    <a:gd name="T52" fmla="*/ 0 w 294"/>
                                    <a:gd name="T53" fmla="*/ 2147483647 h 191"/>
                                    <a:gd name="T54" fmla="*/ 0 w 294"/>
                                    <a:gd name="T55" fmla="*/ 2147483647 h 191"/>
                                    <a:gd name="T56" fmla="*/ 0 w 294"/>
                                    <a:gd name="T57" fmla="*/ 2147483647 h 191"/>
                                    <a:gd name="T58" fmla="*/ 0 w 294"/>
                                    <a:gd name="T59" fmla="*/ 2147483647 h 191"/>
                                    <a:gd name="T60" fmla="*/ 0 w 294"/>
                                    <a:gd name="T61" fmla="*/ 2147483647 h 191"/>
                                    <a:gd name="T62" fmla="*/ 0 w 294"/>
                                    <a:gd name="T63" fmla="*/ 2147483647 h 19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4"/>
                                    <a:gd name="T97" fmla="*/ 0 h 191"/>
                                    <a:gd name="T98" fmla="*/ 0 w 294"/>
                                    <a:gd name="T99" fmla="*/ 191 h 19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4" h="191">
                                      <a:moveTo>
                                        <a:pt x="282" y="123"/>
                                      </a:moveTo>
                                      <a:lnTo>
                                        <a:pt x="282" y="115"/>
                                      </a:lnTo>
                                      <a:lnTo>
                                        <a:pt x="294" y="103"/>
                                      </a:lnTo>
                                      <a:lnTo>
                                        <a:pt x="270" y="103"/>
                                      </a:lnTo>
                                      <a:lnTo>
                                        <a:pt x="250" y="103"/>
                                      </a:lnTo>
                                      <a:lnTo>
                                        <a:pt x="226" y="91"/>
                                      </a:lnTo>
                                      <a:lnTo>
                                        <a:pt x="215" y="68"/>
                                      </a:lnTo>
                                      <a:lnTo>
                                        <a:pt x="215" y="56"/>
                                      </a:lnTo>
                                      <a:lnTo>
                                        <a:pt x="203" y="48"/>
                                      </a:lnTo>
                                      <a:lnTo>
                                        <a:pt x="203" y="24"/>
                                      </a:lnTo>
                                      <a:lnTo>
                                        <a:pt x="191" y="12"/>
                                      </a:lnTo>
                                      <a:lnTo>
                                        <a:pt x="171" y="0"/>
                                      </a:lnTo>
                                      <a:lnTo>
                                        <a:pt x="135" y="12"/>
                                      </a:lnTo>
                                      <a:lnTo>
                                        <a:pt x="115" y="0"/>
                                      </a:lnTo>
                                      <a:lnTo>
                                        <a:pt x="79" y="0"/>
                                      </a:lnTo>
                                      <a:lnTo>
                                        <a:pt x="55" y="36"/>
                                      </a:lnTo>
                                      <a:lnTo>
                                        <a:pt x="36" y="68"/>
                                      </a:lnTo>
                                      <a:lnTo>
                                        <a:pt x="12" y="91"/>
                                      </a:lnTo>
                                      <a:lnTo>
                                        <a:pt x="0" y="103"/>
                                      </a:lnTo>
                                      <a:lnTo>
                                        <a:pt x="24" y="103"/>
                                      </a:lnTo>
                                      <a:lnTo>
                                        <a:pt x="55" y="115"/>
                                      </a:lnTo>
                                      <a:lnTo>
                                        <a:pt x="91" y="115"/>
                                      </a:lnTo>
                                      <a:lnTo>
                                        <a:pt x="103" y="123"/>
                                      </a:lnTo>
                                      <a:lnTo>
                                        <a:pt x="115" y="135"/>
                                      </a:lnTo>
                                      <a:lnTo>
                                        <a:pt x="135" y="171"/>
                                      </a:lnTo>
                                      <a:lnTo>
                                        <a:pt x="147" y="171"/>
                                      </a:lnTo>
                                      <a:lnTo>
                                        <a:pt x="171" y="191"/>
                                      </a:lnTo>
                                      <a:lnTo>
                                        <a:pt x="183" y="191"/>
                                      </a:lnTo>
                                      <a:lnTo>
                                        <a:pt x="191" y="183"/>
                                      </a:lnTo>
                                      <a:lnTo>
                                        <a:pt x="226" y="159"/>
                                      </a:lnTo>
                                      <a:lnTo>
                                        <a:pt x="258" y="135"/>
                                      </a:lnTo>
                                      <a:lnTo>
                                        <a:pt x="282" y="123"/>
                                      </a:lnTo>
                                      <a:close/>
                                    </a:path>
                                  </a:pathLst>
                                </a:custGeom>
                                <a:noFill/>
                                <a:ln w="9525" algn="ctr">
                                  <a:noFill/>
                                  <a:round/>
                                  <a:headEnd/>
                                  <a:tailEnd/>
                                </a:ln>
                              </p:spPr>
                              <p:txBody>
                                <a:bodyPr wrap="none" lIns="0" tIns="0" rIns="0" bIns="0">
                                  <a:spAutoFit/>
                                </a:bodyPr>
                                <a:lstStyle/>
                                <a:p>
                                  <a:endParaRPr lang="pt-BR"/>
                                </a:p>
                              </p:txBody>
                            </p:sp>
                            <p:sp>
                              <p:nvSpPr>
                                <p:cNvPr id="316" name="Freeform 3"/>
                                <p:cNvSpPr>
                                  <a:spLocks noChangeArrowheads="1"/>
                                </p:cNvSpPr>
                                <p:nvPr/>
                              </p:nvSpPr>
                              <p:spPr bwMode="auto">
                                <a:xfrm>
                                  <a:off x="7210654" y="3198182"/>
                                  <a:ext cx="325319" cy="241232"/>
                                </a:xfrm>
                                <a:custGeom>
                                  <a:avLst/>
                                  <a:gdLst>
                                    <a:gd name="T0" fmla="*/ 2147483647 w 171"/>
                                    <a:gd name="T1" fmla="*/ 2147483647 h 123"/>
                                    <a:gd name="T2" fmla="*/ 2147483647 w 171"/>
                                    <a:gd name="T3" fmla="*/ 2147483647 h 123"/>
                                    <a:gd name="T4" fmla="*/ 2147483647 w 171"/>
                                    <a:gd name="T5" fmla="*/ 2147483647 h 123"/>
                                    <a:gd name="T6" fmla="*/ 2147483647 w 171"/>
                                    <a:gd name="T7" fmla="*/ 2147483647 h 123"/>
                                    <a:gd name="T8" fmla="*/ 2147483647 w 171"/>
                                    <a:gd name="T9" fmla="*/ 2147483647 h 123"/>
                                    <a:gd name="T10" fmla="*/ 2147483647 w 171"/>
                                    <a:gd name="T11" fmla="*/ 0 h 123"/>
                                    <a:gd name="T12" fmla="*/ 2147483647 w 171"/>
                                    <a:gd name="T13" fmla="*/ 0 h 123"/>
                                    <a:gd name="T14" fmla="*/ 2147483647 w 171"/>
                                    <a:gd name="T15" fmla="*/ 2147483647 h 123"/>
                                    <a:gd name="T16" fmla="*/ 2147483647 w 171"/>
                                    <a:gd name="T17" fmla="*/ 2147483647 h 123"/>
                                    <a:gd name="T18" fmla="*/ 2147483647 w 171"/>
                                    <a:gd name="T19" fmla="*/ 2147483647 h 123"/>
                                    <a:gd name="T20" fmla="*/ 0 w 171"/>
                                    <a:gd name="T21" fmla="*/ 2147483647 h 123"/>
                                    <a:gd name="T22" fmla="*/ 0 w 171"/>
                                    <a:gd name="T23" fmla="*/ 2147483647 h 123"/>
                                    <a:gd name="T24" fmla="*/ 2147483647 w 171"/>
                                    <a:gd name="T25" fmla="*/ 2147483647 h 123"/>
                                    <a:gd name="T26" fmla="*/ 2147483647 w 171"/>
                                    <a:gd name="T27" fmla="*/ 2147483647 h 123"/>
                                    <a:gd name="T28" fmla="*/ 2147483647 w 171"/>
                                    <a:gd name="T29" fmla="*/ 2147483647 h 123"/>
                                    <a:gd name="T30" fmla="*/ 2147483647 w 171"/>
                                    <a:gd name="T31" fmla="*/ 2147483647 h 123"/>
                                    <a:gd name="T32" fmla="*/ 2147483647 w 171"/>
                                    <a:gd name="T33" fmla="*/ 2147483647 h 123"/>
                                    <a:gd name="T34" fmla="*/ 2147483647 w 171"/>
                                    <a:gd name="T35" fmla="*/ 2147483647 h 123"/>
                                    <a:gd name="T36" fmla="*/ 2147483647 w 171"/>
                                    <a:gd name="T37" fmla="*/ 2147483647 h 123"/>
                                    <a:gd name="T38" fmla="*/ 2147483647 w 171"/>
                                    <a:gd name="T39" fmla="*/ 2147483647 h 12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71"/>
                                    <a:gd name="T61" fmla="*/ 0 h 123"/>
                                    <a:gd name="T62" fmla="*/ 171 w 171"/>
                                    <a:gd name="T63" fmla="*/ 123 h 12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71" h="123">
                                      <a:moveTo>
                                        <a:pt x="135" y="123"/>
                                      </a:moveTo>
                                      <a:lnTo>
                                        <a:pt x="159" y="91"/>
                                      </a:lnTo>
                                      <a:lnTo>
                                        <a:pt x="171" y="43"/>
                                      </a:lnTo>
                                      <a:lnTo>
                                        <a:pt x="171" y="12"/>
                                      </a:lnTo>
                                      <a:lnTo>
                                        <a:pt x="159" y="12"/>
                                      </a:lnTo>
                                      <a:lnTo>
                                        <a:pt x="135" y="0"/>
                                      </a:lnTo>
                                      <a:lnTo>
                                        <a:pt x="115" y="0"/>
                                      </a:lnTo>
                                      <a:lnTo>
                                        <a:pt x="91" y="12"/>
                                      </a:lnTo>
                                      <a:lnTo>
                                        <a:pt x="79" y="24"/>
                                      </a:lnTo>
                                      <a:lnTo>
                                        <a:pt x="36" y="12"/>
                                      </a:lnTo>
                                      <a:lnTo>
                                        <a:pt x="0" y="12"/>
                                      </a:lnTo>
                                      <a:lnTo>
                                        <a:pt x="0" y="43"/>
                                      </a:lnTo>
                                      <a:lnTo>
                                        <a:pt x="36" y="43"/>
                                      </a:lnTo>
                                      <a:lnTo>
                                        <a:pt x="67" y="55"/>
                                      </a:lnTo>
                                      <a:lnTo>
                                        <a:pt x="79" y="67"/>
                                      </a:lnTo>
                                      <a:lnTo>
                                        <a:pt x="103" y="79"/>
                                      </a:lnTo>
                                      <a:lnTo>
                                        <a:pt x="115" y="91"/>
                                      </a:lnTo>
                                      <a:lnTo>
                                        <a:pt x="127" y="91"/>
                                      </a:lnTo>
                                      <a:lnTo>
                                        <a:pt x="127" y="111"/>
                                      </a:lnTo>
                                      <a:lnTo>
                                        <a:pt x="135" y="123"/>
                                      </a:lnTo>
                                      <a:close/>
                                    </a:path>
                                  </a:pathLst>
                                </a:custGeom>
                                <a:solidFill>
                                  <a:srgbClr val="FFFFFF"/>
                                </a:solidFill>
                                <a:ln w="9360">
                                  <a:solidFill>
                                    <a:srgbClr val="969696"/>
                                  </a:solidFill>
                                  <a:round/>
                                  <a:headEnd/>
                                  <a:tailEnd/>
                                </a:ln>
                              </p:spPr>
                              <p:txBody>
                                <a:bodyPr wrap="none" anchor="ctr"/>
                                <a:lstStyle/>
                                <a:p>
                                  <a:endParaRPr lang="pt-BR"/>
                                </a:p>
                              </p:txBody>
                            </p:sp>
                            <p:sp>
                              <p:nvSpPr>
                                <p:cNvPr id="317" name="Freeform 4"/>
                                <p:cNvSpPr>
                                  <a:spLocks noChangeArrowheads="1"/>
                                </p:cNvSpPr>
                                <p:nvPr/>
                              </p:nvSpPr>
                              <p:spPr bwMode="auto">
                                <a:xfrm>
                                  <a:off x="7148527" y="2958119"/>
                                  <a:ext cx="433760" cy="285731"/>
                                </a:xfrm>
                                <a:custGeom>
                                  <a:avLst/>
                                  <a:gdLst>
                                    <a:gd name="T0" fmla="*/ 2147483647 w 227"/>
                                    <a:gd name="T1" fmla="*/ 2147483647 h 148"/>
                                    <a:gd name="T2" fmla="*/ 2147483647 w 227"/>
                                    <a:gd name="T3" fmla="*/ 2147483647 h 148"/>
                                    <a:gd name="T4" fmla="*/ 2147483647 w 227"/>
                                    <a:gd name="T5" fmla="*/ 2147483647 h 148"/>
                                    <a:gd name="T6" fmla="*/ 2147483647 w 227"/>
                                    <a:gd name="T7" fmla="*/ 2147483647 h 148"/>
                                    <a:gd name="T8" fmla="*/ 2147483647 w 227"/>
                                    <a:gd name="T9" fmla="*/ 2147483647 h 148"/>
                                    <a:gd name="T10" fmla="*/ 2147483647 w 227"/>
                                    <a:gd name="T11" fmla="*/ 2147483647 h 148"/>
                                    <a:gd name="T12" fmla="*/ 2147483647 w 227"/>
                                    <a:gd name="T13" fmla="*/ 2147483647 h 148"/>
                                    <a:gd name="T14" fmla="*/ 2147483647 w 227"/>
                                    <a:gd name="T15" fmla="*/ 2147483647 h 148"/>
                                    <a:gd name="T16" fmla="*/ 2147483647 w 227"/>
                                    <a:gd name="T17" fmla="*/ 2147483647 h 148"/>
                                    <a:gd name="T18" fmla="*/ 2147483647 w 227"/>
                                    <a:gd name="T19" fmla="*/ 2147483647 h 148"/>
                                    <a:gd name="T20" fmla="*/ 2147483647 w 227"/>
                                    <a:gd name="T21" fmla="*/ 2147483647 h 148"/>
                                    <a:gd name="T22" fmla="*/ 2147483647 w 227"/>
                                    <a:gd name="T23" fmla="*/ 2147483647 h 148"/>
                                    <a:gd name="T24" fmla="*/ 2147483647 w 227"/>
                                    <a:gd name="T25" fmla="*/ 2147483647 h 148"/>
                                    <a:gd name="T26" fmla="*/ 2147483647 w 227"/>
                                    <a:gd name="T27" fmla="*/ 2147483647 h 148"/>
                                    <a:gd name="T28" fmla="*/ 2147483647 w 227"/>
                                    <a:gd name="T29" fmla="*/ 2147483647 h 148"/>
                                    <a:gd name="T30" fmla="*/ 2147483647 w 227"/>
                                    <a:gd name="T31" fmla="*/ 2147483647 h 148"/>
                                    <a:gd name="T32" fmla="*/ 2147483647 w 227"/>
                                    <a:gd name="T33" fmla="*/ 2147483647 h 148"/>
                                    <a:gd name="T34" fmla="*/ 2147483647 w 227"/>
                                    <a:gd name="T35" fmla="*/ 0 h 148"/>
                                    <a:gd name="T36" fmla="*/ 2147483647 w 227"/>
                                    <a:gd name="T37" fmla="*/ 0 h 148"/>
                                    <a:gd name="T38" fmla="*/ 2147483647 w 227"/>
                                    <a:gd name="T39" fmla="*/ 2147483647 h 148"/>
                                    <a:gd name="T40" fmla="*/ 2147483647 w 227"/>
                                    <a:gd name="T41" fmla="*/ 2147483647 h 148"/>
                                    <a:gd name="T42" fmla="*/ 2147483647 w 227"/>
                                    <a:gd name="T43" fmla="*/ 2147483647 h 148"/>
                                    <a:gd name="T44" fmla="*/ 2147483647 w 227"/>
                                    <a:gd name="T45" fmla="*/ 2147483647 h 148"/>
                                    <a:gd name="T46" fmla="*/ 0 w 227"/>
                                    <a:gd name="T47" fmla="*/ 2147483647 h 148"/>
                                    <a:gd name="T48" fmla="*/ 0 w 227"/>
                                    <a:gd name="T49" fmla="*/ 2147483647 h 148"/>
                                    <a:gd name="T50" fmla="*/ 2147483647 w 227"/>
                                    <a:gd name="T51" fmla="*/ 2147483647 h 148"/>
                                    <a:gd name="T52" fmla="*/ 2147483647 w 227"/>
                                    <a:gd name="T53" fmla="*/ 2147483647 h 14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27"/>
                                    <a:gd name="T82" fmla="*/ 0 h 148"/>
                                    <a:gd name="T83" fmla="*/ 227 w 227"/>
                                    <a:gd name="T84" fmla="*/ 148 h 14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27" h="148">
                                      <a:moveTo>
                                        <a:pt x="32" y="136"/>
                                      </a:moveTo>
                                      <a:lnTo>
                                        <a:pt x="68" y="136"/>
                                      </a:lnTo>
                                      <a:lnTo>
                                        <a:pt x="111" y="148"/>
                                      </a:lnTo>
                                      <a:lnTo>
                                        <a:pt x="123" y="136"/>
                                      </a:lnTo>
                                      <a:lnTo>
                                        <a:pt x="147" y="124"/>
                                      </a:lnTo>
                                      <a:lnTo>
                                        <a:pt x="167" y="124"/>
                                      </a:lnTo>
                                      <a:lnTo>
                                        <a:pt x="191" y="136"/>
                                      </a:lnTo>
                                      <a:lnTo>
                                        <a:pt x="203" y="136"/>
                                      </a:lnTo>
                                      <a:lnTo>
                                        <a:pt x="203" y="112"/>
                                      </a:lnTo>
                                      <a:lnTo>
                                        <a:pt x="227" y="88"/>
                                      </a:lnTo>
                                      <a:lnTo>
                                        <a:pt x="215" y="88"/>
                                      </a:lnTo>
                                      <a:lnTo>
                                        <a:pt x="191" y="68"/>
                                      </a:lnTo>
                                      <a:lnTo>
                                        <a:pt x="179" y="68"/>
                                      </a:lnTo>
                                      <a:lnTo>
                                        <a:pt x="159" y="32"/>
                                      </a:lnTo>
                                      <a:lnTo>
                                        <a:pt x="147" y="20"/>
                                      </a:lnTo>
                                      <a:lnTo>
                                        <a:pt x="135" y="12"/>
                                      </a:lnTo>
                                      <a:lnTo>
                                        <a:pt x="99" y="12"/>
                                      </a:lnTo>
                                      <a:lnTo>
                                        <a:pt x="68" y="0"/>
                                      </a:lnTo>
                                      <a:lnTo>
                                        <a:pt x="44" y="0"/>
                                      </a:lnTo>
                                      <a:lnTo>
                                        <a:pt x="32" y="12"/>
                                      </a:lnTo>
                                      <a:lnTo>
                                        <a:pt x="12" y="44"/>
                                      </a:lnTo>
                                      <a:lnTo>
                                        <a:pt x="12" y="68"/>
                                      </a:lnTo>
                                      <a:lnTo>
                                        <a:pt x="12" y="88"/>
                                      </a:lnTo>
                                      <a:lnTo>
                                        <a:pt x="0" y="100"/>
                                      </a:lnTo>
                                      <a:lnTo>
                                        <a:pt x="0" y="112"/>
                                      </a:lnTo>
                                      <a:lnTo>
                                        <a:pt x="24" y="124"/>
                                      </a:lnTo>
                                      <a:lnTo>
                                        <a:pt x="32" y="136"/>
                                      </a:lnTo>
                                      <a:close/>
                                    </a:path>
                                  </a:pathLst>
                                </a:custGeom>
                                <a:solidFill>
                                  <a:srgbClr val="FFFFFF"/>
                                </a:solidFill>
                                <a:ln w="9360">
                                  <a:solidFill>
                                    <a:srgbClr val="969696"/>
                                  </a:solidFill>
                                  <a:round/>
                                  <a:headEnd/>
                                  <a:tailEnd/>
                                </a:ln>
                              </p:spPr>
                              <p:txBody>
                                <a:bodyPr wrap="none" anchor="ctr"/>
                                <a:lstStyle/>
                                <a:p>
                                  <a:endParaRPr lang="pt-BR"/>
                                </a:p>
                              </p:txBody>
                            </p:sp>
                            <p:sp>
                              <p:nvSpPr>
                                <p:cNvPr id="318" name="Freeform 19"/>
                                <p:cNvSpPr>
                                  <a:spLocks noChangeArrowheads="1"/>
                                </p:cNvSpPr>
                                <p:nvPr/>
                              </p:nvSpPr>
                              <p:spPr bwMode="auto">
                                <a:xfrm>
                                  <a:off x="7203877" y="2298831"/>
                                  <a:ext cx="502665" cy="420399"/>
                                </a:xfrm>
                                <a:custGeom>
                                  <a:avLst/>
                                  <a:gdLst>
                                    <a:gd name="T0" fmla="*/ 2147483647 w 262"/>
                                    <a:gd name="T1" fmla="*/ 2147483647 h 215"/>
                                    <a:gd name="T2" fmla="*/ 2147483647 w 262"/>
                                    <a:gd name="T3" fmla="*/ 2147483647 h 215"/>
                                    <a:gd name="T4" fmla="*/ 2147483647 w 262"/>
                                    <a:gd name="T5" fmla="*/ 2147483647 h 215"/>
                                    <a:gd name="T6" fmla="*/ 2147483647 w 262"/>
                                    <a:gd name="T7" fmla="*/ 2147483647 h 215"/>
                                    <a:gd name="T8" fmla="*/ 2147483647 w 262"/>
                                    <a:gd name="T9" fmla="*/ 2147483647 h 215"/>
                                    <a:gd name="T10" fmla="*/ 2147483647 w 262"/>
                                    <a:gd name="T11" fmla="*/ 2147483647 h 215"/>
                                    <a:gd name="T12" fmla="*/ 0 w 262"/>
                                    <a:gd name="T13" fmla="*/ 2147483647 h 215"/>
                                    <a:gd name="T14" fmla="*/ 0 w 262"/>
                                    <a:gd name="T15" fmla="*/ 2147483647 h 215"/>
                                    <a:gd name="T16" fmla="*/ 2147483647 w 262"/>
                                    <a:gd name="T17" fmla="*/ 2147483647 h 215"/>
                                    <a:gd name="T18" fmla="*/ 2147483647 w 262"/>
                                    <a:gd name="T19" fmla="*/ 2147483647 h 215"/>
                                    <a:gd name="T20" fmla="*/ 2147483647 w 262"/>
                                    <a:gd name="T21" fmla="*/ 2147483647 h 215"/>
                                    <a:gd name="T22" fmla="*/ 2147483647 w 262"/>
                                    <a:gd name="T23" fmla="*/ 2147483647 h 215"/>
                                    <a:gd name="T24" fmla="*/ 2147483647 w 262"/>
                                    <a:gd name="T25" fmla="*/ 2147483647 h 215"/>
                                    <a:gd name="T26" fmla="*/ 2147483647 w 262"/>
                                    <a:gd name="T27" fmla="*/ 2147483647 h 215"/>
                                    <a:gd name="T28" fmla="*/ 2147483647 w 262"/>
                                    <a:gd name="T29" fmla="*/ 2147483647 h 215"/>
                                    <a:gd name="T30" fmla="*/ 2147483647 w 262"/>
                                    <a:gd name="T31" fmla="*/ 2147483647 h 215"/>
                                    <a:gd name="T32" fmla="*/ 2147483647 w 262"/>
                                    <a:gd name="T33" fmla="*/ 2147483647 h 215"/>
                                    <a:gd name="T34" fmla="*/ 2147483647 w 262"/>
                                    <a:gd name="T35" fmla="*/ 2147483647 h 215"/>
                                    <a:gd name="T36" fmla="*/ 2147483647 w 262"/>
                                    <a:gd name="T37" fmla="*/ 2147483647 h 215"/>
                                    <a:gd name="T38" fmla="*/ 2147483647 w 262"/>
                                    <a:gd name="T39" fmla="*/ 2147483647 h 215"/>
                                    <a:gd name="T40" fmla="*/ 2147483647 w 262"/>
                                    <a:gd name="T41" fmla="*/ 2147483647 h 215"/>
                                    <a:gd name="T42" fmla="*/ 2147483647 w 262"/>
                                    <a:gd name="T43" fmla="*/ 2147483647 h 215"/>
                                    <a:gd name="T44" fmla="*/ 2147483647 w 262"/>
                                    <a:gd name="T45" fmla="*/ 2147483647 h 215"/>
                                    <a:gd name="T46" fmla="*/ 2147483647 w 262"/>
                                    <a:gd name="T47" fmla="*/ 2147483647 h 215"/>
                                    <a:gd name="T48" fmla="*/ 2147483647 w 262"/>
                                    <a:gd name="T49" fmla="*/ 0 h 215"/>
                                    <a:gd name="T50" fmla="*/ 2147483647 w 262"/>
                                    <a:gd name="T51" fmla="*/ 2147483647 h 215"/>
                                    <a:gd name="T52" fmla="*/ 2147483647 w 262"/>
                                    <a:gd name="T53" fmla="*/ 2147483647 h 215"/>
                                    <a:gd name="T54" fmla="*/ 2147483647 w 262"/>
                                    <a:gd name="T55" fmla="*/ 2147483647 h 215"/>
                                    <a:gd name="T56" fmla="*/ 2147483647 w 262"/>
                                    <a:gd name="T57" fmla="*/ 0 h 215"/>
                                    <a:gd name="T58" fmla="*/ 2147483647 w 262"/>
                                    <a:gd name="T59" fmla="*/ 0 h 215"/>
                                    <a:gd name="T60" fmla="*/ 2147483647 w 262"/>
                                    <a:gd name="T61" fmla="*/ 2147483647 h 215"/>
                                    <a:gd name="T62" fmla="*/ 2147483647 w 262"/>
                                    <a:gd name="T63" fmla="*/ 2147483647 h 21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62"/>
                                    <a:gd name="T97" fmla="*/ 0 h 215"/>
                                    <a:gd name="T98" fmla="*/ 262 w 262"/>
                                    <a:gd name="T99" fmla="*/ 215 h 21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62" h="215">
                                      <a:moveTo>
                                        <a:pt x="79" y="8"/>
                                      </a:moveTo>
                                      <a:lnTo>
                                        <a:pt x="79" y="32"/>
                                      </a:lnTo>
                                      <a:lnTo>
                                        <a:pt x="67" y="56"/>
                                      </a:lnTo>
                                      <a:lnTo>
                                        <a:pt x="48" y="68"/>
                                      </a:lnTo>
                                      <a:lnTo>
                                        <a:pt x="36" y="88"/>
                                      </a:lnTo>
                                      <a:lnTo>
                                        <a:pt x="12" y="112"/>
                                      </a:lnTo>
                                      <a:lnTo>
                                        <a:pt x="0" y="147"/>
                                      </a:lnTo>
                                      <a:lnTo>
                                        <a:pt x="0" y="167"/>
                                      </a:lnTo>
                                      <a:lnTo>
                                        <a:pt x="24" y="179"/>
                                      </a:lnTo>
                                      <a:lnTo>
                                        <a:pt x="67" y="215"/>
                                      </a:lnTo>
                                      <a:lnTo>
                                        <a:pt x="91" y="215"/>
                                      </a:lnTo>
                                      <a:lnTo>
                                        <a:pt x="115" y="191"/>
                                      </a:lnTo>
                                      <a:lnTo>
                                        <a:pt x="147" y="179"/>
                                      </a:lnTo>
                                      <a:lnTo>
                                        <a:pt x="195" y="179"/>
                                      </a:lnTo>
                                      <a:lnTo>
                                        <a:pt x="215" y="155"/>
                                      </a:lnTo>
                                      <a:lnTo>
                                        <a:pt x="215" y="147"/>
                                      </a:lnTo>
                                      <a:lnTo>
                                        <a:pt x="203" y="124"/>
                                      </a:lnTo>
                                      <a:lnTo>
                                        <a:pt x="215" y="112"/>
                                      </a:lnTo>
                                      <a:lnTo>
                                        <a:pt x="215" y="88"/>
                                      </a:lnTo>
                                      <a:lnTo>
                                        <a:pt x="227" y="80"/>
                                      </a:lnTo>
                                      <a:lnTo>
                                        <a:pt x="238" y="56"/>
                                      </a:lnTo>
                                      <a:lnTo>
                                        <a:pt x="262" y="68"/>
                                      </a:lnTo>
                                      <a:lnTo>
                                        <a:pt x="262" y="32"/>
                                      </a:lnTo>
                                      <a:lnTo>
                                        <a:pt x="250" y="8"/>
                                      </a:lnTo>
                                      <a:lnTo>
                                        <a:pt x="203" y="0"/>
                                      </a:lnTo>
                                      <a:lnTo>
                                        <a:pt x="183" y="8"/>
                                      </a:lnTo>
                                      <a:lnTo>
                                        <a:pt x="171" y="20"/>
                                      </a:lnTo>
                                      <a:lnTo>
                                        <a:pt x="147" y="8"/>
                                      </a:lnTo>
                                      <a:lnTo>
                                        <a:pt x="135" y="0"/>
                                      </a:lnTo>
                                      <a:lnTo>
                                        <a:pt x="115" y="0"/>
                                      </a:lnTo>
                                      <a:lnTo>
                                        <a:pt x="91" y="8"/>
                                      </a:lnTo>
                                      <a:lnTo>
                                        <a:pt x="79" y="8"/>
                                      </a:lnTo>
                                      <a:close/>
                                    </a:path>
                                  </a:pathLst>
                                </a:custGeom>
                                <a:solidFill>
                                  <a:srgbClr val="FFFFFF"/>
                                </a:solidFill>
                                <a:ln w="9360">
                                  <a:solidFill>
                                    <a:srgbClr val="969696"/>
                                  </a:solidFill>
                                  <a:round/>
                                  <a:headEnd/>
                                  <a:tailEnd/>
                                </a:ln>
                              </p:spPr>
                              <p:txBody>
                                <a:bodyPr wrap="none" anchor="ctr"/>
                                <a:lstStyle/>
                                <a:p>
                                  <a:endParaRPr lang="pt-BR"/>
                                </a:p>
                              </p:txBody>
                            </p:sp>
                            <p:sp>
                              <p:nvSpPr>
                                <p:cNvPr id="319" name="Freeform 7"/>
                                <p:cNvSpPr>
                                  <a:spLocks noChangeArrowheads="1"/>
                                </p:cNvSpPr>
                                <p:nvPr/>
                              </p:nvSpPr>
                              <p:spPr bwMode="auto">
                                <a:xfrm>
                                  <a:off x="7968604" y="2624377"/>
                                  <a:ext cx="169438" cy="241232"/>
                                </a:xfrm>
                                <a:custGeom>
                                  <a:avLst/>
                                  <a:gdLst>
                                    <a:gd name="T0" fmla="*/ 2147483647 w 87"/>
                                    <a:gd name="T1" fmla="*/ 2147483647 h 124"/>
                                    <a:gd name="T2" fmla="*/ 2147483647 w 87"/>
                                    <a:gd name="T3" fmla="*/ 2147483647 h 124"/>
                                    <a:gd name="T4" fmla="*/ 2147483647 w 87"/>
                                    <a:gd name="T5" fmla="*/ 2147483647 h 124"/>
                                    <a:gd name="T6" fmla="*/ 2147483647 w 87"/>
                                    <a:gd name="T7" fmla="*/ 2147483647 h 124"/>
                                    <a:gd name="T8" fmla="*/ 2147483647 w 87"/>
                                    <a:gd name="T9" fmla="*/ 0 h 124"/>
                                    <a:gd name="T10" fmla="*/ 2147483647 w 87"/>
                                    <a:gd name="T11" fmla="*/ 0 h 124"/>
                                    <a:gd name="T12" fmla="*/ 2147483647 w 87"/>
                                    <a:gd name="T13" fmla="*/ 2147483647 h 124"/>
                                    <a:gd name="T14" fmla="*/ 2147483647 w 87"/>
                                    <a:gd name="T15" fmla="*/ 2147483647 h 124"/>
                                    <a:gd name="T16" fmla="*/ 2147483647 w 87"/>
                                    <a:gd name="T17" fmla="*/ 2147483647 h 124"/>
                                    <a:gd name="T18" fmla="*/ 2147483647 w 87"/>
                                    <a:gd name="T19" fmla="*/ 2147483647 h 124"/>
                                    <a:gd name="T20" fmla="*/ 2147483647 w 87"/>
                                    <a:gd name="T21" fmla="*/ 2147483647 h 124"/>
                                    <a:gd name="T22" fmla="*/ 0 w 87"/>
                                    <a:gd name="T23" fmla="*/ 2147483647 h 124"/>
                                    <a:gd name="T24" fmla="*/ 2147483647 w 87"/>
                                    <a:gd name="T25" fmla="*/ 2147483647 h 124"/>
                                    <a:gd name="T26" fmla="*/ 2147483647 w 87"/>
                                    <a:gd name="T27" fmla="*/ 2147483647 h 12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7"/>
                                    <a:gd name="T43" fmla="*/ 0 h 124"/>
                                    <a:gd name="T44" fmla="*/ 87 w 87"/>
                                    <a:gd name="T45" fmla="*/ 124 h 12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7" h="124">
                                      <a:moveTo>
                                        <a:pt x="43" y="124"/>
                                      </a:moveTo>
                                      <a:lnTo>
                                        <a:pt x="67" y="80"/>
                                      </a:lnTo>
                                      <a:lnTo>
                                        <a:pt x="75" y="36"/>
                                      </a:lnTo>
                                      <a:lnTo>
                                        <a:pt x="87" y="12"/>
                                      </a:lnTo>
                                      <a:lnTo>
                                        <a:pt x="75" y="0"/>
                                      </a:lnTo>
                                      <a:lnTo>
                                        <a:pt x="55" y="0"/>
                                      </a:lnTo>
                                      <a:lnTo>
                                        <a:pt x="43" y="12"/>
                                      </a:lnTo>
                                      <a:lnTo>
                                        <a:pt x="43" y="24"/>
                                      </a:lnTo>
                                      <a:lnTo>
                                        <a:pt x="31" y="48"/>
                                      </a:lnTo>
                                      <a:lnTo>
                                        <a:pt x="31" y="56"/>
                                      </a:lnTo>
                                      <a:lnTo>
                                        <a:pt x="8" y="80"/>
                                      </a:lnTo>
                                      <a:lnTo>
                                        <a:pt x="0" y="104"/>
                                      </a:lnTo>
                                      <a:lnTo>
                                        <a:pt x="8" y="124"/>
                                      </a:lnTo>
                                      <a:lnTo>
                                        <a:pt x="43" y="124"/>
                                      </a:lnTo>
                                      <a:close/>
                                    </a:path>
                                  </a:pathLst>
                                </a:custGeom>
                                <a:solidFill>
                                  <a:srgbClr val="FFFFFF"/>
                                </a:solidFill>
                                <a:ln w="9360">
                                  <a:solidFill>
                                    <a:srgbClr val="969696"/>
                                  </a:solidFill>
                                  <a:round/>
                                  <a:headEnd/>
                                  <a:tailEnd/>
                                </a:ln>
                              </p:spPr>
                              <p:txBody>
                                <a:bodyPr wrap="none" anchor="ctr"/>
                                <a:lstStyle/>
                                <a:p>
                                  <a:endParaRPr lang="pt-BR"/>
                                </a:p>
                              </p:txBody>
                            </p:sp>
                            <p:sp>
                              <p:nvSpPr>
                                <p:cNvPr id="320" name="Freeform 6"/>
                                <p:cNvSpPr>
                                  <a:spLocks noChangeArrowheads="1"/>
                                </p:cNvSpPr>
                                <p:nvPr/>
                              </p:nvSpPr>
                              <p:spPr bwMode="auto">
                                <a:xfrm>
                                  <a:off x="7746077" y="2829306"/>
                                  <a:ext cx="306116" cy="168628"/>
                                </a:xfrm>
                                <a:custGeom>
                                  <a:avLst/>
                                  <a:gdLst>
                                    <a:gd name="T0" fmla="*/ 2147483647 w 159"/>
                                    <a:gd name="T1" fmla="*/ 2147483647 h 87"/>
                                    <a:gd name="T2" fmla="*/ 2147483647 w 159"/>
                                    <a:gd name="T3" fmla="*/ 2147483647 h 87"/>
                                    <a:gd name="T4" fmla="*/ 2147483647 w 159"/>
                                    <a:gd name="T5" fmla="*/ 2147483647 h 87"/>
                                    <a:gd name="T6" fmla="*/ 0 w 159"/>
                                    <a:gd name="T7" fmla="*/ 2147483647 h 87"/>
                                    <a:gd name="T8" fmla="*/ 2147483647 w 159"/>
                                    <a:gd name="T9" fmla="*/ 2147483647 h 87"/>
                                    <a:gd name="T10" fmla="*/ 2147483647 w 159"/>
                                    <a:gd name="T11" fmla="*/ 2147483647 h 87"/>
                                    <a:gd name="T12" fmla="*/ 2147483647 w 159"/>
                                    <a:gd name="T13" fmla="*/ 2147483647 h 87"/>
                                    <a:gd name="T14" fmla="*/ 2147483647 w 159"/>
                                    <a:gd name="T15" fmla="*/ 2147483647 h 87"/>
                                    <a:gd name="T16" fmla="*/ 2147483647 w 159"/>
                                    <a:gd name="T17" fmla="*/ 2147483647 h 87"/>
                                    <a:gd name="T18" fmla="*/ 2147483647 w 159"/>
                                    <a:gd name="T19" fmla="*/ 0 h 87"/>
                                    <a:gd name="T20" fmla="*/ 2147483647 w 159"/>
                                    <a:gd name="T21" fmla="*/ 2147483647 h 87"/>
                                    <a:gd name="T22" fmla="*/ 2147483647 w 159"/>
                                    <a:gd name="T23" fmla="*/ 2147483647 h 87"/>
                                    <a:gd name="T24" fmla="*/ 2147483647 w 159"/>
                                    <a:gd name="T25" fmla="*/ 2147483647 h 87"/>
                                    <a:gd name="T26" fmla="*/ 2147483647 w 159"/>
                                    <a:gd name="T27" fmla="*/ 2147483647 h 87"/>
                                    <a:gd name="T28" fmla="*/ 2147483647 w 159"/>
                                    <a:gd name="T29" fmla="*/ 2147483647 h 87"/>
                                    <a:gd name="T30" fmla="*/ 2147483647 w 159"/>
                                    <a:gd name="T31" fmla="*/ 2147483647 h 87"/>
                                    <a:gd name="T32" fmla="*/ 2147483647 w 159"/>
                                    <a:gd name="T33" fmla="*/ 2147483647 h 87"/>
                                    <a:gd name="T34" fmla="*/ 2147483647 w 159"/>
                                    <a:gd name="T35" fmla="*/ 2147483647 h 8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59"/>
                                    <a:gd name="T55" fmla="*/ 0 h 87"/>
                                    <a:gd name="T56" fmla="*/ 159 w 159"/>
                                    <a:gd name="T57" fmla="*/ 87 h 8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59" h="87">
                                      <a:moveTo>
                                        <a:pt x="12" y="87"/>
                                      </a:moveTo>
                                      <a:lnTo>
                                        <a:pt x="12" y="79"/>
                                      </a:lnTo>
                                      <a:lnTo>
                                        <a:pt x="24" y="67"/>
                                      </a:lnTo>
                                      <a:lnTo>
                                        <a:pt x="0" y="67"/>
                                      </a:lnTo>
                                      <a:lnTo>
                                        <a:pt x="24" y="55"/>
                                      </a:lnTo>
                                      <a:lnTo>
                                        <a:pt x="48" y="43"/>
                                      </a:lnTo>
                                      <a:lnTo>
                                        <a:pt x="68" y="43"/>
                                      </a:lnTo>
                                      <a:lnTo>
                                        <a:pt x="92" y="32"/>
                                      </a:lnTo>
                                      <a:lnTo>
                                        <a:pt x="104" y="12"/>
                                      </a:lnTo>
                                      <a:lnTo>
                                        <a:pt x="116" y="0"/>
                                      </a:lnTo>
                                      <a:lnTo>
                                        <a:pt x="124" y="20"/>
                                      </a:lnTo>
                                      <a:lnTo>
                                        <a:pt x="159" y="20"/>
                                      </a:lnTo>
                                      <a:lnTo>
                                        <a:pt x="147" y="32"/>
                                      </a:lnTo>
                                      <a:lnTo>
                                        <a:pt x="147" y="43"/>
                                      </a:lnTo>
                                      <a:lnTo>
                                        <a:pt x="124" y="55"/>
                                      </a:lnTo>
                                      <a:lnTo>
                                        <a:pt x="116" y="79"/>
                                      </a:lnTo>
                                      <a:lnTo>
                                        <a:pt x="56" y="79"/>
                                      </a:lnTo>
                                      <a:lnTo>
                                        <a:pt x="12" y="87"/>
                                      </a:lnTo>
                                      <a:close/>
                                    </a:path>
                                  </a:pathLst>
                                </a:custGeom>
                                <a:solidFill>
                                  <a:srgbClr val="FFFFFF"/>
                                </a:solidFill>
                                <a:ln w="9360">
                                  <a:solidFill>
                                    <a:srgbClr val="969696"/>
                                  </a:solidFill>
                                  <a:round/>
                                  <a:headEnd/>
                                  <a:tailEnd/>
                                </a:ln>
                              </p:spPr>
                              <p:txBody>
                                <a:bodyPr wrap="none" anchor="ctr"/>
                                <a:lstStyle/>
                                <a:p>
                                  <a:endParaRPr lang="pt-BR"/>
                                </a:p>
                              </p:txBody>
                            </p:sp>
                            <p:sp>
                              <p:nvSpPr>
                                <p:cNvPr id="321" name="Freeform 8"/>
                                <p:cNvSpPr>
                                  <a:spLocks noChangeArrowheads="1"/>
                                </p:cNvSpPr>
                                <p:nvPr/>
                              </p:nvSpPr>
                              <p:spPr bwMode="auto">
                                <a:xfrm>
                                  <a:off x="7380092" y="2384315"/>
                                  <a:ext cx="757950" cy="573804"/>
                                </a:xfrm>
                                <a:custGeom>
                                  <a:avLst/>
                                  <a:gdLst>
                                    <a:gd name="T0" fmla="*/ 2147483647 w 394"/>
                                    <a:gd name="T1" fmla="*/ 2147483647 h 294"/>
                                    <a:gd name="T2" fmla="*/ 2147483647 w 394"/>
                                    <a:gd name="T3" fmla="*/ 2147483647 h 294"/>
                                    <a:gd name="T4" fmla="*/ 2147483647 w 394"/>
                                    <a:gd name="T5" fmla="*/ 2147483647 h 294"/>
                                    <a:gd name="T6" fmla="*/ 2147483647 w 394"/>
                                    <a:gd name="T7" fmla="*/ 2147483647 h 294"/>
                                    <a:gd name="T8" fmla="*/ 2147483647 w 394"/>
                                    <a:gd name="T9" fmla="*/ 2147483647 h 294"/>
                                    <a:gd name="T10" fmla="*/ 2147483647 w 394"/>
                                    <a:gd name="T11" fmla="*/ 2147483647 h 294"/>
                                    <a:gd name="T12" fmla="*/ 2147483647 w 394"/>
                                    <a:gd name="T13" fmla="*/ 2147483647 h 294"/>
                                    <a:gd name="T14" fmla="*/ 2147483647 w 394"/>
                                    <a:gd name="T15" fmla="*/ 2147483647 h 294"/>
                                    <a:gd name="T16" fmla="*/ 2147483647 w 394"/>
                                    <a:gd name="T17" fmla="*/ 2147483647 h 294"/>
                                    <a:gd name="T18" fmla="*/ 2147483647 w 394"/>
                                    <a:gd name="T19" fmla="*/ 2147483647 h 294"/>
                                    <a:gd name="T20" fmla="*/ 2147483647 w 394"/>
                                    <a:gd name="T21" fmla="*/ 2147483647 h 294"/>
                                    <a:gd name="T22" fmla="*/ 2147483647 w 394"/>
                                    <a:gd name="T23" fmla="*/ 0 h 294"/>
                                    <a:gd name="T24" fmla="*/ 2147483647 w 394"/>
                                    <a:gd name="T25" fmla="*/ 0 h 294"/>
                                    <a:gd name="T26" fmla="*/ 2147483647 w 394"/>
                                    <a:gd name="T27" fmla="*/ 2147483647 h 294"/>
                                    <a:gd name="T28" fmla="*/ 2147483647 w 394"/>
                                    <a:gd name="T29" fmla="*/ 2147483647 h 294"/>
                                    <a:gd name="T30" fmla="*/ 2147483647 w 394"/>
                                    <a:gd name="T31" fmla="*/ 2147483647 h 294"/>
                                    <a:gd name="T32" fmla="*/ 2147483647 w 394"/>
                                    <a:gd name="T33" fmla="*/ 2147483647 h 294"/>
                                    <a:gd name="T34" fmla="*/ 2147483647 w 394"/>
                                    <a:gd name="T35" fmla="*/ 2147483647 h 294"/>
                                    <a:gd name="T36" fmla="*/ 2147483647 w 394"/>
                                    <a:gd name="T37" fmla="*/ 2147483647 h 294"/>
                                    <a:gd name="T38" fmla="*/ 2147483647 w 394"/>
                                    <a:gd name="T39" fmla="*/ 2147483647 h 294"/>
                                    <a:gd name="T40" fmla="*/ 2147483647 w 394"/>
                                    <a:gd name="T41" fmla="*/ 2147483647 h 294"/>
                                    <a:gd name="T42" fmla="*/ 2147483647 w 394"/>
                                    <a:gd name="T43" fmla="*/ 2147483647 h 294"/>
                                    <a:gd name="T44" fmla="*/ 2147483647 w 394"/>
                                    <a:gd name="T45" fmla="*/ 2147483647 h 294"/>
                                    <a:gd name="T46" fmla="*/ 2147483647 w 394"/>
                                    <a:gd name="T47" fmla="*/ 2147483647 h 294"/>
                                    <a:gd name="T48" fmla="*/ 2147483647 w 394"/>
                                    <a:gd name="T49" fmla="*/ 2147483647 h 294"/>
                                    <a:gd name="T50" fmla="*/ 0 w 394"/>
                                    <a:gd name="T51" fmla="*/ 2147483647 h 294"/>
                                    <a:gd name="T52" fmla="*/ 0 w 394"/>
                                    <a:gd name="T53" fmla="*/ 2147483647 h 294"/>
                                    <a:gd name="T54" fmla="*/ 2147483647 w 394"/>
                                    <a:gd name="T55" fmla="*/ 2147483647 h 294"/>
                                    <a:gd name="T56" fmla="*/ 2147483647 w 394"/>
                                    <a:gd name="T57" fmla="*/ 2147483647 h 294"/>
                                    <a:gd name="T58" fmla="*/ 2147483647 w 394"/>
                                    <a:gd name="T59" fmla="*/ 2147483647 h 294"/>
                                    <a:gd name="T60" fmla="*/ 2147483647 w 394"/>
                                    <a:gd name="T61" fmla="*/ 2147483647 h 294"/>
                                    <a:gd name="T62" fmla="*/ 2147483647 w 394"/>
                                    <a:gd name="T63" fmla="*/ 2147483647 h 294"/>
                                    <a:gd name="T64" fmla="*/ 2147483647 w 394"/>
                                    <a:gd name="T65" fmla="*/ 2147483647 h 294"/>
                                    <a:gd name="T66" fmla="*/ 2147483647 w 394"/>
                                    <a:gd name="T67" fmla="*/ 2147483647 h 294"/>
                                    <a:gd name="T68" fmla="*/ 2147483647 w 394"/>
                                    <a:gd name="T69" fmla="*/ 2147483647 h 294"/>
                                    <a:gd name="T70" fmla="*/ 2147483647 w 394"/>
                                    <a:gd name="T71" fmla="*/ 2147483647 h 294"/>
                                    <a:gd name="T72" fmla="*/ 2147483647 w 394"/>
                                    <a:gd name="T73" fmla="*/ 2147483647 h 294"/>
                                    <a:gd name="T74" fmla="*/ 2147483647 w 394"/>
                                    <a:gd name="T75" fmla="*/ 2147483647 h 294"/>
                                    <a:gd name="T76" fmla="*/ 2147483647 w 394"/>
                                    <a:gd name="T77" fmla="*/ 2147483647 h 294"/>
                                    <a:gd name="T78" fmla="*/ 2147483647 w 394"/>
                                    <a:gd name="T79" fmla="*/ 2147483647 h 294"/>
                                    <a:gd name="T80" fmla="*/ 2147483647 w 394"/>
                                    <a:gd name="T81" fmla="*/ 2147483647 h 294"/>
                                    <a:gd name="T82" fmla="*/ 2147483647 w 394"/>
                                    <a:gd name="T83" fmla="*/ 2147483647 h 294"/>
                                    <a:gd name="T84" fmla="*/ 2147483647 w 394"/>
                                    <a:gd name="T85" fmla="*/ 2147483647 h 294"/>
                                    <a:gd name="T86" fmla="*/ 2147483647 w 394"/>
                                    <a:gd name="T87" fmla="*/ 2147483647 h 294"/>
                                    <a:gd name="T88" fmla="*/ 2147483647 w 394"/>
                                    <a:gd name="T89" fmla="*/ 2147483647 h 294"/>
                                    <a:gd name="T90" fmla="*/ 2147483647 w 394"/>
                                    <a:gd name="T91" fmla="*/ 2147483647 h 294"/>
                                    <a:gd name="T92" fmla="*/ 2147483647 w 394"/>
                                    <a:gd name="T93" fmla="*/ 2147483647 h 294"/>
                                    <a:gd name="T94" fmla="*/ 2147483647 w 394"/>
                                    <a:gd name="T95" fmla="*/ 2147483647 h 294"/>
                                    <a:gd name="T96" fmla="*/ 2147483647 w 394"/>
                                    <a:gd name="T97" fmla="*/ 2147483647 h 294"/>
                                    <a:gd name="T98" fmla="*/ 2147483647 w 394"/>
                                    <a:gd name="T99" fmla="*/ 2147483647 h 294"/>
                                    <a:gd name="T100" fmla="*/ 2147483647 w 394"/>
                                    <a:gd name="T101" fmla="*/ 2147483647 h 294"/>
                                    <a:gd name="T102" fmla="*/ 2147483647 w 394"/>
                                    <a:gd name="T103" fmla="*/ 2147483647 h 29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94"/>
                                    <a:gd name="T157" fmla="*/ 0 h 294"/>
                                    <a:gd name="T158" fmla="*/ 394 w 394"/>
                                    <a:gd name="T159" fmla="*/ 294 h 29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94" h="294">
                                      <a:moveTo>
                                        <a:pt x="382" y="111"/>
                                      </a:moveTo>
                                      <a:lnTo>
                                        <a:pt x="374" y="103"/>
                                      </a:lnTo>
                                      <a:lnTo>
                                        <a:pt x="382" y="80"/>
                                      </a:lnTo>
                                      <a:lnTo>
                                        <a:pt x="394" y="68"/>
                                      </a:lnTo>
                                      <a:lnTo>
                                        <a:pt x="394" y="56"/>
                                      </a:lnTo>
                                      <a:lnTo>
                                        <a:pt x="362" y="44"/>
                                      </a:lnTo>
                                      <a:lnTo>
                                        <a:pt x="350" y="44"/>
                                      </a:lnTo>
                                      <a:lnTo>
                                        <a:pt x="326" y="24"/>
                                      </a:lnTo>
                                      <a:lnTo>
                                        <a:pt x="307" y="24"/>
                                      </a:lnTo>
                                      <a:lnTo>
                                        <a:pt x="283" y="12"/>
                                      </a:lnTo>
                                      <a:lnTo>
                                        <a:pt x="259" y="12"/>
                                      </a:lnTo>
                                      <a:lnTo>
                                        <a:pt x="239" y="0"/>
                                      </a:lnTo>
                                      <a:lnTo>
                                        <a:pt x="203" y="0"/>
                                      </a:lnTo>
                                      <a:lnTo>
                                        <a:pt x="191" y="12"/>
                                      </a:lnTo>
                                      <a:lnTo>
                                        <a:pt x="171" y="24"/>
                                      </a:lnTo>
                                      <a:lnTo>
                                        <a:pt x="147" y="12"/>
                                      </a:lnTo>
                                      <a:lnTo>
                                        <a:pt x="136" y="36"/>
                                      </a:lnTo>
                                      <a:lnTo>
                                        <a:pt x="124" y="44"/>
                                      </a:lnTo>
                                      <a:lnTo>
                                        <a:pt x="124" y="68"/>
                                      </a:lnTo>
                                      <a:lnTo>
                                        <a:pt x="112" y="80"/>
                                      </a:lnTo>
                                      <a:lnTo>
                                        <a:pt x="124" y="103"/>
                                      </a:lnTo>
                                      <a:lnTo>
                                        <a:pt x="124" y="111"/>
                                      </a:lnTo>
                                      <a:lnTo>
                                        <a:pt x="104" y="135"/>
                                      </a:lnTo>
                                      <a:lnTo>
                                        <a:pt x="56" y="135"/>
                                      </a:lnTo>
                                      <a:lnTo>
                                        <a:pt x="24" y="147"/>
                                      </a:lnTo>
                                      <a:lnTo>
                                        <a:pt x="0" y="171"/>
                                      </a:lnTo>
                                      <a:lnTo>
                                        <a:pt x="0" y="191"/>
                                      </a:lnTo>
                                      <a:lnTo>
                                        <a:pt x="36" y="191"/>
                                      </a:lnTo>
                                      <a:lnTo>
                                        <a:pt x="56" y="203"/>
                                      </a:lnTo>
                                      <a:lnTo>
                                        <a:pt x="92" y="191"/>
                                      </a:lnTo>
                                      <a:lnTo>
                                        <a:pt x="112" y="203"/>
                                      </a:lnTo>
                                      <a:lnTo>
                                        <a:pt x="124" y="215"/>
                                      </a:lnTo>
                                      <a:lnTo>
                                        <a:pt x="124" y="239"/>
                                      </a:lnTo>
                                      <a:lnTo>
                                        <a:pt x="136" y="247"/>
                                      </a:lnTo>
                                      <a:lnTo>
                                        <a:pt x="136" y="259"/>
                                      </a:lnTo>
                                      <a:lnTo>
                                        <a:pt x="147" y="282"/>
                                      </a:lnTo>
                                      <a:lnTo>
                                        <a:pt x="171" y="294"/>
                                      </a:lnTo>
                                      <a:lnTo>
                                        <a:pt x="191" y="294"/>
                                      </a:lnTo>
                                      <a:lnTo>
                                        <a:pt x="215" y="282"/>
                                      </a:lnTo>
                                      <a:lnTo>
                                        <a:pt x="239" y="270"/>
                                      </a:lnTo>
                                      <a:lnTo>
                                        <a:pt x="259" y="270"/>
                                      </a:lnTo>
                                      <a:lnTo>
                                        <a:pt x="283" y="259"/>
                                      </a:lnTo>
                                      <a:lnTo>
                                        <a:pt x="295" y="239"/>
                                      </a:lnTo>
                                      <a:lnTo>
                                        <a:pt x="307" y="227"/>
                                      </a:lnTo>
                                      <a:lnTo>
                                        <a:pt x="315" y="203"/>
                                      </a:lnTo>
                                      <a:lnTo>
                                        <a:pt x="338" y="179"/>
                                      </a:lnTo>
                                      <a:lnTo>
                                        <a:pt x="338" y="171"/>
                                      </a:lnTo>
                                      <a:lnTo>
                                        <a:pt x="350" y="147"/>
                                      </a:lnTo>
                                      <a:lnTo>
                                        <a:pt x="350" y="135"/>
                                      </a:lnTo>
                                      <a:lnTo>
                                        <a:pt x="362" y="123"/>
                                      </a:lnTo>
                                      <a:lnTo>
                                        <a:pt x="382" y="123"/>
                                      </a:lnTo>
                                      <a:lnTo>
                                        <a:pt x="382" y="111"/>
                                      </a:lnTo>
                                      <a:close/>
                                    </a:path>
                                  </a:pathLst>
                                </a:custGeom>
                                <a:solidFill>
                                  <a:srgbClr val="FFFFFF"/>
                                </a:solidFill>
                                <a:ln w="9360">
                                  <a:solidFill>
                                    <a:srgbClr val="969696"/>
                                  </a:solidFill>
                                  <a:round/>
                                  <a:headEnd/>
                                  <a:tailEnd/>
                                </a:ln>
                              </p:spPr>
                              <p:txBody>
                                <a:bodyPr wrap="none" anchor="ctr"/>
                                <a:lstStyle/>
                                <a:p>
                                  <a:endParaRPr lang="pt-BR"/>
                                </a:p>
                              </p:txBody>
                            </p:sp>
                            <p:sp>
                              <p:nvSpPr>
                                <p:cNvPr id="322" name="Freeform 10"/>
                                <p:cNvSpPr>
                                  <a:spLocks noChangeArrowheads="1"/>
                                </p:cNvSpPr>
                                <p:nvPr/>
                              </p:nvSpPr>
                              <p:spPr bwMode="auto">
                                <a:xfrm>
                                  <a:off x="8229537" y="2036520"/>
                                  <a:ext cx="127642" cy="146379"/>
                                </a:xfrm>
                                <a:custGeom>
                                  <a:avLst/>
                                  <a:gdLst>
                                    <a:gd name="T0" fmla="*/ 2147483647 w 67"/>
                                    <a:gd name="T1" fmla="*/ 2147483647 h 76"/>
                                    <a:gd name="T2" fmla="*/ 2147483647 w 67"/>
                                    <a:gd name="T3" fmla="*/ 2147483647 h 76"/>
                                    <a:gd name="T4" fmla="*/ 2147483647 w 67"/>
                                    <a:gd name="T5" fmla="*/ 2147483647 h 76"/>
                                    <a:gd name="T6" fmla="*/ 2147483647 w 67"/>
                                    <a:gd name="T7" fmla="*/ 0 h 76"/>
                                    <a:gd name="T8" fmla="*/ 2147483647 w 67"/>
                                    <a:gd name="T9" fmla="*/ 0 h 76"/>
                                    <a:gd name="T10" fmla="*/ 2147483647 w 67"/>
                                    <a:gd name="T11" fmla="*/ 2147483647 h 76"/>
                                    <a:gd name="T12" fmla="*/ 2147483647 w 67"/>
                                    <a:gd name="T13" fmla="*/ 2147483647 h 76"/>
                                    <a:gd name="T14" fmla="*/ 0 w 67"/>
                                    <a:gd name="T15" fmla="*/ 2147483647 h 76"/>
                                    <a:gd name="T16" fmla="*/ 0 w 67"/>
                                    <a:gd name="T17" fmla="*/ 2147483647 h 76"/>
                                    <a:gd name="T18" fmla="*/ 2147483647 w 67"/>
                                    <a:gd name="T19" fmla="*/ 2147483647 h 76"/>
                                    <a:gd name="T20" fmla="*/ 2147483647 w 67"/>
                                    <a:gd name="T21" fmla="*/ 2147483647 h 76"/>
                                    <a:gd name="T22" fmla="*/ 2147483647 w 67"/>
                                    <a:gd name="T23" fmla="*/ 2147483647 h 7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7"/>
                                    <a:gd name="T37" fmla="*/ 0 h 76"/>
                                    <a:gd name="T38" fmla="*/ 67 w 67"/>
                                    <a:gd name="T39" fmla="*/ 76 h 7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7" h="76">
                                      <a:moveTo>
                                        <a:pt x="44" y="76"/>
                                      </a:moveTo>
                                      <a:lnTo>
                                        <a:pt x="67" y="32"/>
                                      </a:lnTo>
                                      <a:lnTo>
                                        <a:pt x="55" y="20"/>
                                      </a:lnTo>
                                      <a:lnTo>
                                        <a:pt x="32" y="0"/>
                                      </a:lnTo>
                                      <a:lnTo>
                                        <a:pt x="20" y="0"/>
                                      </a:lnTo>
                                      <a:lnTo>
                                        <a:pt x="20" y="20"/>
                                      </a:lnTo>
                                      <a:lnTo>
                                        <a:pt x="8" y="32"/>
                                      </a:lnTo>
                                      <a:lnTo>
                                        <a:pt x="0" y="32"/>
                                      </a:lnTo>
                                      <a:lnTo>
                                        <a:pt x="0" y="44"/>
                                      </a:lnTo>
                                      <a:lnTo>
                                        <a:pt x="8" y="56"/>
                                      </a:lnTo>
                                      <a:lnTo>
                                        <a:pt x="8" y="68"/>
                                      </a:lnTo>
                                      <a:lnTo>
                                        <a:pt x="44" y="76"/>
                                      </a:lnTo>
                                      <a:close/>
                                    </a:path>
                                  </a:pathLst>
                                </a:custGeom>
                                <a:solidFill>
                                  <a:srgbClr val="FFFFFF"/>
                                </a:solidFill>
                                <a:ln w="9360">
                                  <a:solidFill>
                                    <a:srgbClr val="969696"/>
                                  </a:solidFill>
                                  <a:round/>
                                  <a:headEnd/>
                                  <a:tailEnd/>
                                </a:ln>
                              </p:spPr>
                              <p:txBody>
                                <a:bodyPr wrap="none" anchor="ctr"/>
                                <a:lstStyle/>
                                <a:p>
                                  <a:endParaRPr lang="pt-BR"/>
                                </a:p>
                              </p:txBody>
                            </p:sp>
                            <p:sp>
                              <p:nvSpPr>
                                <p:cNvPr id="323" name="Freeform 13"/>
                                <p:cNvSpPr>
                                  <a:spLocks noChangeArrowheads="1"/>
                                </p:cNvSpPr>
                                <p:nvPr/>
                              </p:nvSpPr>
                              <p:spPr bwMode="auto">
                                <a:xfrm>
                                  <a:off x="8160634" y="1744935"/>
                                  <a:ext cx="328708" cy="155747"/>
                                </a:xfrm>
                                <a:custGeom>
                                  <a:avLst/>
                                  <a:gdLst>
                                    <a:gd name="T0" fmla="*/ 2147483647 w 171"/>
                                    <a:gd name="T1" fmla="*/ 2147483647 h 79"/>
                                    <a:gd name="T2" fmla="*/ 2147483647 w 171"/>
                                    <a:gd name="T3" fmla="*/ 2147483647 h 79"/>
                                    <a:gd name="T4" fmla="*/ 2147483647 w 171"/>
                                    <a:gd name="T5" fmla="*/ 2147483647 h 79"/>
                                    <a:gd name="T6" fmla="*/ 2147483647 w 171"/>
                                    <a:gd name="T7" fmla="*/ 2147483647 h 79"/>
                                    <a:gd name="T8" fmla="*/ 2147483647 w 171"/>
                                    <a:gd name="T9" fmla="*/ 2147483647 h 79"/>
                                    <a:gd name="T10" fmla="*/ 2147483647 w 171"/>
                                    <a:gd name="T11" fmla="*/ 2147483647 h 79"/>
                                    <a:gd name="T12" fmla="*/ 2147483647 w 171"/>
                                    <a:gd name="T13" fmla="*/ 2147483647 h 79"/>
                                    <a:gd name="T14" fmla="*/ 2147483647 w 171"/>
                                    <a:gd name="T15" fmla="*/ 2147483647 h 79"/>
                                    <a:gd name="T16" fmla="*/ 2147483647 w 171"/>
                                    <a:gd name="T17" fmla="*/ 2147483647 h 79"/>
                                    <a:gd name="T18" fmla="*/ 2147483647 w 171"/>
                                    <a:gd name="T19" fmla="*/ 0 h 79"/>
                                    <a:gd name="T20" fmla="*/ 2147483647 w 171"/>
                                    <a:gd name="T21" fmla="*/ 2147483647 h 79"/>
                                    <a:gd name="T22" fmla="*/ 2147483647 w 171"/>
                                    <a:gd name="T23" fmla="*/ 2147483647 h 79"/>
                                    <a:gd name="T24" fmla="*/ 2147483647 w 171"/>
                                    <a:gd name="T25" fmla="*/ 2147483647 h 79"/>
                                    <a:gd name="T26" fmla="*/ 2147483647 w 171"/>
                                    <a:gd name="T27" fmla="*/ 2147483647 h 79"/>
                                    <a:gd name="T28" fmla="*/ 0 w 171"/>
                                    <a:gd name="T29" fmla="*/ 2147483647 h 79"/>
                                    <a:gd name="T30" fmla="*/ 2147483647 w 171"/>
                                    <a:gd name="T31" fmla="*/ 2147483647 h 79"/>
                                    <a:gd name="T32" fmla="*/ 2147483647 w 171"/>
                                    <a:gd name="T33" fmla="*/ 2147483647 h 79"/>
                                    <a:gd name="T34" fmla="*/ 2147483647 w 171"/>
                                    <a:gd name="T35" fmla="*/ 2147483647 h 79"/>
                                    <a:gd name="T36" fmla="*/ 2147483647 w 171"/>
                                    <a:gd name="T37" fmla="*/ 2147483647 h 79"/>
                                    <a:gd name="T38" fmla="*/ 2147483647 w 171"/>
                                    <a:gd name="T39" fmla="*/ 2147483647 h 79"/>
                                    <a:gd name="T40" fmla="*/ 2147483647 w 171"/>
                                    <a:gd name="T41" fmla="*/ 2147483647 h 79"/>
                                    <a:gd name="T42" fmla="*/ 2147483647 w 171"/>
                                    <a:gd name="T43" fmla="*/ 2147483647 h 79"/>
                                    <a:gd name="T44" fmla="*/ 2147483647 w 171"/>
                                    <a:gd name="T45" fmla="*/ 2147483647 h 79"/>
                                    <a:gd name="T46" fmla="*/ 2147483647 w 171"/>
                                    <a:gd name="T47" fmla="*/ 2147483647 h 79"/>
                                    <a:gd name="T48" fmla="*/ 2147483647 w 171"/>
                                    <a:gd name="T49" fmla="*/ 2147483647 h 7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71"/>
                                    <a:gd name="T76" fmla="*/ 0 h 79"/>
                                    <a:gd name="T77" fmla="*/ 171 w 171"/>
                                    <a:gd name="T78" fmla="*/ 79 h 7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71" h="79">
                                      <a:moveTo>
                                        <a:pt x="171" y="44"/>
                                      </a:moveTo>
                                      <a:lnTo>
                                        <a:pt x="159" y="20"/>
                                      </a:lnTo>
                                      <a:lnTo>
                                        <a:pt x="123" y="20"/>
                                      </a:lnTo>
                                      <a:lnTo>
                                        <a:pt x="111" y="12"/>
                                      </a:lnTo>
                                      <a:lnTo>
                                        <a:pt x="103" y="12"/>
                                      </a:lnTo>
                                      <a:lnTo>
                                        <a:pt x="103" y="20"/>
                                      </a:lnTo>
                                      <a:lnTo>
                                        <a:pt x="103" y="32"/>
                                      </a:lnTo>
                                      <a:lnTo>
                                        <a:pt x="56" y="32"/>
                                      </a:lnTo>
                                      <a:lnTo>
                                        <a:pt x="80" y="12"/>
                                      </a:lnTo>
                                      <a:lnTo>
                                        <a:pt x="68" y="0"/>
                                      </a:lnTo>
                                      <a:lnTo>
                                        <a:pt x="56" y="12"/>
                                      </a:lnTo>
                                      <a:lnTo>
                                        <a:pt x="36" y="20"/>
                                      </a:lnTo>
                                      <a:lnTo>
                                        <a:pt x="24" y="20"/>
                                      </a:lnTo>
                                      <a:lnTo>
                                        <a:pt x="12" y="55"/>
                                      </a:lnTo>
                                      <a:lnTo>
                                        <a:pt x="0" y="67"/>
                                      </a:lnTo>
                                      <a:lnTo>
                                        <a:pt x="36" y="79"/>
                                      </a:lnTo>
                                      <a:lnTo>
                                        <a:pt x="44" y="67"/>
                                      </a:lnTo>
                                      <a:lnTo>
                                        <a:pt x="68" y="55"/>
                                      </a:lnTo>
                                      <a:lnTo>
                                        <a:pt x="80" y="55"/>
                                      </a:lnTo>
                                      <a:lnTo>
                                        <a:pt x="68" y="79"/>
                                      </a:lnTo>
                                      <a:lnTo>
                                        <a:pt x="91" y="79"/>
                                      </a:lnTo>
                                      <a:lnTo>
                                        <a:pt x="103" y="67"/>
                                      </a:lnTo>
                                      <a:lnTo>
                                        <a:pt x="135" y="67"/>
                                      </a:lnTo>
                                      <a:lnTo>
                                        <a:pt x="159" y="44"/>
                                      </a:lnTo>
                                      <a:lnTo>
                                        <a:pt x="171" y="44"/>
                                      </a:lnTo>
                                      <a:close/>
                                    </a:path>
                                  </a:pathLst>
                                </a:custGeom>
                                <a:solidFill>
                                  <a:srgbClr val="FFFFFF"/>
                                </a:solidFill>
                                <a:ln w="9360">
                                  <a:solidFill>
                                    <a:srgbClr val="969696"/>
                                  </a:solidFill>
                                  <a:round/>
                                  <a:headEnd/>
                                  <a:tailEnd/>
                                </a:ln>
                              </p:spPr>
                              <p:txBody>
                                <a:bodyPr wrap="none" anchor="ctr"/>
                                <a:lstStyle/>
                                <a:p>
                                  <a:endParaRPr lang="pt-BR"/>
                                </a:p>
                              </p:txBody>
                            </p:sp>
                            <p:sp>
                              <p:nvSpPr>
                                <p:cNvPr id="324" name="Freeform 9"/>
                                <p:cNvSpPr>
                                  <a:spLocks noChangeArrowheads="1"/>
                                </p:cNvSpPr>
                                <p:nvPr/>
                              </p:nvSpPr>
                              <p:spPr bwMode="auto">
                                <a:xfrm>
                                  <a:off x="7661358" y="1941666"/>
                                  <a:ext cx="651769" cy="707301"/>
                                </a:xfrm>
                                <a:custGeom>
                                  <a:avLst/>
                                  <a:gdLst>
                                    <a:gd name="T0" fmla="*/ 2147483647 w 339"/>
                                    <a:gd name="T1" fmla="*/ 2147483647 h 362"/>
                                    <a:gd name="T2" fmla="*/ 2147483647 w 339"/>
                                    <a:gd name="T3" fmla="*/ 2147483647 h 362"/>
                                    <a:gd name="T4" fmla="*/ 2147483647 w 339"/>
                                    <a:gd name="T5" fmla="*/ 2147483647 h 362"/>
                                    <a:gd name="T6" fmla="*/ 2147483647 w 339"/>
                                    <a:gd name="T7" fmla="*/ 2147483647 h 362"/>
                                    <a:gd name="T8" fmla="*/ 2147483647 w 339"/>
                                    <a:gd name="T9" fmla="*/ 2147483647 h 362"/>
                                    <a:gd name="T10" fmla="*/ 2147483647 w 339"/>
                                    <a:gd name="T11" fmla="*/ 2147483647 h 362"/>
                                    <a:gd name="T12" fmla="*/ 2147483647 w 339"/>
                                    <a:gd name="T13" fmla="*/ 2147483647 h 362"/>
                                    <a:gd name="T14" fmla="*/ 2147483647 w 339"/>
                                    <a:gd name="T15" fmla="*/ 2147483647 h 362"/>
                                    <a:gd name="T16" fmla="*/ 2147483647 w 339"/>
                                    <a:gd name="T17" fmla="*/ 2147483647 h 362"/>
                                    <a:gd name="T18" fmla="*/ 2147483647 w 339"/>
                                    <a:gd name="T19" fmla="*/ 2147483647 h 362"/>
                                    <a:gd name="T20" fmla="*/ 2147483647 w 339"/>
                                    <a:gd name="T21" fmla="*/ 2147483647 h 362"/>
                                    <a:gd name="T22" fmla="*/ 2147483647 w 339"/>
                                    <a:gd name="T23" fmla="*/ 2147483647 h 362"/>
                                    <a:gd name="T24" fmla="*/ 2147483647 w 339"/>
                                    <a:gd name="T25" fmla="*/ 2147483647 h 362"/>
                                    <a:gd name="T26" fmla="*/ 2147483647 w 339"/>
                                    <a:gd name="T27" fmla="*/ 2147483647 h 362"/>
                                    <a:gd name="T28" fmla="*/ 2147483647 w 339"/>
                                    <a:gd name="T29" fmla="*/ 2147483647 h 362"/>
                                    <a:gd name="T30" fmla="*/ 2147483647 w 339"/>
                                    <a:gd name="T31" fmla="*/ 2147483647 h 362"/>
                                    <a:gd name="T32" fmla="*/ 2147483647 w 339"/>
                                    <a:gd name="T33" fmla="*/ 2147483647 h 362"/>
                                    <a:gd name="T34" fmla="*/ 2147483647 w 339"/>
                                    <a:gd name="T35" fmla="*/ 2147483647 h 362"/>
                                    <a:gd name="T36" fmla="*/ 2147483647 w 339"/>
                                    <a:gd name="T37" fmla="*/ 2147483647 h 362"/>
                                    <a:gd name="T38" fmla="*/ 2147483647 w 339"/>
                                    <a:gd name="T39" fmla="*/ 2147483647 h 362"/>
                                    <a:gd name="T40" fmla="*/ 2147483647 w 339"/>
                                    <a:gd name="T41" fmla="*/ 2147483647 h 362"/>
                                    <a:gd name="T42" fmla="*/ 2147483647 w 339"/>
                                    <a:gd name="T43" fmla="*/ 2147483647 h 362"/>
                                    <a:gd name="T44" fmla="*/ 2147483647 w 339"/>
                                    <a:gd name="T45" fmla="*/ 2147483647 h 362"/>
                                    <a:gd name="T46" fmla="*/ 2147483647 w 339"/>
                                    <a:gd name="T47" fmla="*/ 2147483647 h 362"/>
                                    <a:gd name="T48" fmla="*/ 2147483647 w 339"/>
                                    <a:gd name="T49" fmla="*/ 2147483647 h 362"/>
                                    <a:gd name="T50" fmla="*/ 2147483647 w 339"/>
                                    <a:gd name="T51" fmla="*/ 2147483647 h 362"/>
                                    <a:gd name="T52" fmla="*/ 2147483647 w 339"/>
                                    <a:gd name="T53" fmla="*/ 2147483647 h 362"/>
                                    <a:gd name="T54" fmla="*/ 2147483647 w 339"/>
                                    <a:gd name="T55" fmla="*/ 2147483647 h 362"/>
                                    <a:gd name="T56" fmla="*/ 2147483647 w 339"/>
                                    <a:gd name="T57" fmla="*/ 2147483647 h 362"/>
                                    <a:gd name="T58" fmla="*/ 2147483647 w 339"/>
                                    <a:gd name="T59" fmla="*/ 2147483647 h 362"/>
                                    <a:gd name="T60" fmla="*/ 2147483647 w 339"/>
                                    <a:gd name="T61" fmla="*/ 2147483647 h 362"/>
                                    <a:gd name="T62" fmla="*/ 2147483647 w 339"/>
                                    <a:gd name="T63" fmla="*/ 2147483647 h 362"/>
                                    <a:gd name="T64" fmla="*/ 2147483647 w 339"/>
                                    <a:gd name="T65" fmla="*/ 2147483647 h 362"/>
                                    <a:gd name="T66" fmla="*/ 2147483647 w 339"/>
                                    <a:gd name="T67" fmla="*/ 2147483647 h 362"/>
                                    <a:gd name="T68" fmla="*/ 2147483647 w 339"/>
                                    <a:gd name="T69" fmla="*/ 2147483647 h 362"/>
                                    <a:gd name="T70" fmla="*/ 2147483647 w 339"/>
                                    <a:gd name="T71" fmla="*/ 2147483647 h 362"/>
                                    <a:gd name="T72" fmla="*/ 2147483647 w 339"/>
                                    <a:gd name="T73" fmla="*/ 2147483647 h 362"/>
                                    <a:gd name="T74" fmla="*/ 2147483647 w 339"/>
                                    <a:gd name="T75" fmla="*/ 0 h 362"/>
                                    <a:gd name="T76" fmla="*/ 2147483647 w 339"/>
                                    <a:gd name="T77" fmla="*/ 2147483647 h 362"/>
                                    <a:gd name="T78" fmla="*/ 2147483647 w 339"/>
                                    <a:gd name="T79" fmla="*/ 2147483647 h 362"/>
                                    <a:gd name="T80" fmla="*/ 2147483647 w 339"/>
                                    <a:gd name="T81" fmla="*/ 2147483647 h 362"/>
                                    <a:gd name="T82" fmla="*/ 2147483647 w 339"/>
                                    <a:gd name="T83" fmla="*/ 0 h 362"/>
                                    <a:gd name="T84" fmla="*/ 2147483647 w 339"/>
                                    <a:gd name="T85" fmla="*/ 2147483647 h 362"/>
                                    <a:gd name="T86" fmla="*/ 2147483647 w 339"/>
                                    <a:gd name="T87" fmla="*/ 2147483647 h 362"/>
                                    <a:gd name="T88" fmla="*/ 2147483647 w 339"/>
                                    <a:gd name="T89" fmla="*/ 2147483647 h 362"/>
                                    <a:gd name="T90" fmla="*/ 2147483647 w 339"/>
                                    <a:gd name="T91" fmla="*/ 2147483647 h 362"/>
                                    <a:gd name="T92" fmla="*/ 2147483647 w 339"/>
                                    <a:gd name="T93" fmla="*/ 2147483647 h 362"/>
                                    <a:gd name="T94" fmla="*/ 2147483647 w 339"/>
                                    <a:gd name="T95" fmla="*/ 2147483647 h 362"/>
                                    <a:gd name="T96" fmla="*/ 2147483647 w 339"/>
                                    <a:gd name="T97" fmla="*/ 2147483647 h 362"/>
                                    <a:gd name="T98" fmla="*/ 2147483647 w 339"/>
                                    <a:gd name="T99" fmla="*/ 2147483647 h 362"/>
                                    <a:gd name="T100" fmla="*/ 2147483647 w 339"/>
                                    <a:gd name="T101" fmla="*/ 2147483647 h 362"/>
                                    <a:gd name="T102" fmla="*/ 2147483647 w 339"/>
                                    <a:gd name="T103" fmla="*/ 2147483647 h 362"/>
                                    <a:gd name="T104" fmla="*/ 2147483647 w 339"/>
                                    <a:gd name="T105" fmla="*/ 2147483647 h 362"/>
                                    <a:gd name="T106" fmla="*/ 2147483647 w 339"/>
                                    <a:gd name="T107" fmla="*/ 2147483647 h 362"/>
                                    <a:gd name="T108" fmla="*/ 0 w 339"/>
                                    <a:gd name="T109" fmla="*/ 2147483647 h 362"/>
                                    <a:gd name="T110" fmla="*/ 2147483647 w 339"/>
                                    <a:gd name="T111" fmla="*/ 2147483647 h 362"/>
                                    <a:gd name="T112" fmla="*/ 2147483647 w 339"/>
                                    <a:gd name="T113" fmla="*/ 2147483647 h 362"/>
                                    <a:gd name="T114" fmla="*/ 2147483647 w 339"/>
                                    <a:gd name="T115" fmla="*/ 2147483647 h 362"/>
                                    <a:gd name="T116" fmla="*/ 2147483647 w 339"/>
                                    <a:gd name="T117" fmla="*/ 2147483647 h 36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39"/>
                                    <a:gd name="T178" fmla="*/ 0 h 362"/>
                                    <a:gd name="T179" fmla="*/ 339 w 339"/>
                                    <a:gd name="T180" fmla="*/ 362 h 36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39" h="362">
                                      <a:moveTo>
                                        <a:pt x="24" y="251"/>
                                      </a:moveTo>
                                      <a:lnTo>
                                        <a:pt x="44" y="239"/>
                                      </a:lnTo>
                                      <a:lnTo>
                                        <a:pt x="56" y="227"/>
                                      </a:lnTo>
                                      <a:lnTo>
                                        <a:pt x="92" y="227"/>
                                      </a:lnTo>
                                      <a:lnTo>
                                        <a:pt x="112" y="239"/>
                                      </a:lnTo>
                                      <a:lnTo>
                                        <a:pt x="136" y="239"/>
                                      </a:lnTo>
                                      <a:lnTo>
                                        <a:pt x="160" y="251"/>
                                      </a:lnTo>
                                      <a:lnTo>
                                        <a:pt x="179" y="251"/>
                                      </a:lnTo>
                                      <a:lnTo>
                                        <a:pt x="203" y="271"/>
                                      </a:lnTo>
                                      <a:lnTo>
                                        <a:pt x="215" y="271"/>
                                      </a:lnTo>
                                      <a:lnTo>
                                        <a:pt x="247" y="283"/>
                                      </a:lnTo>
                                      <a:lnTo>
                                        <a:pt x="247" y="295"/>
                                      </a:lnTo>
                                      <a:lnTo>
                                        <a:pt x="235" y="307"/>
                                      </a:lnTo>
                                      <a:lnTo>
                                        <a:pt x="227" y="330"/>
                                      </a:lnTo>
                                      <a:lnTo>
                                        <a:pt x="235" y="338"/>
                                      </a:lnTo>
                                      <a:lnTo>
                                        <a:pt x="235" y="350"/>
                                      </a:lnTo>
                                      <a:lnTo>
                                        <a:pt x="247" y="362"/>
                                      </a:lnTo>
                                      <a:lnTo>
                                        <a:pt x="259" y="350"/>
                                      </a:lnTo>
                                      <a:lnTo>
                                        <a:pt x="271" y="330"/>
                                      </a:lnTo>
                                      <a:lnTo>
                                        <a:pt x="271" y="295"/>
                                      </a:lnTo>
                                      <a:lnTo>
                                        <a:pt x="283" y="271"/>
                                      </a:lnTo>
                                      <a:lnTo>
                                        <a:pt x="283" y="191"/>
                                      </a:lnTo>
                                      <a:lnTo>
                                        <a:pt x="295" y="171"/>
                                      </a:lnTo>
                                      <a:lnTo>
                                        <a:pt x="295" y="183"/>
                                      </a:lnTo>
                                      <a:lnTo>
                                        <a:pt x="303" y="183"/>
                                      </a:lnTo>
                                      <a:lnTo>
                                        <a:pt x="327" y="135"/>
                                      </a:lnTo>
                                      <a:lnTo>
                                        <a:pt x="339" y="124"/>
                                      </a:lnTo>
                                      <a:lnTo>
                                        <a:pt x="303" y="116"/>
                                      </a:lnTo>
                                      <a:lnTo>
                                        <a:pt x="303" y="104"/>
                                      </a:lnTo>
                                      <a:lnTo>
                                        <a:pt x="295" y="92"/>
                                      </a:lnTo>
                                      <a:lnTo>
                                        <a:pt x="295" y="80"/>
                                      </a:lnTo>
                                      <a:lnTo>
                                        <a:pt x="303" y="80"/>
                                      </a:lnTo>
                                      <a:lnTo>
                                        <a:pt x="315" y="68"/>
                                      </a:lnTo>
                                      <a:lnTo>
                                        <a:pt x="315" y="48"/>
                                      </a:lnTo>
                                      <a:lnTo>
                                        <a:pt x="303" y="24"/>
                                      </a:lnTo>
                                      <a:lnTo>
                                        <a:pt x="295" y="24"/>
                                      </a:lnTo>
                                      <a:lnTo>
                                        <a:pt x="295" y="12"/>
                                      </a:lnTo>
                                      <a:lnTo>
                                        <a:pt x="247" y="0"/>
                                      </a:lnTo>
                                      <a:lnTo>
                                        <a:pt x="227" y="24"/>
                                      </a:lnTo>
                                      <a:lnTo>
                                        <a:pt x="203" y="24"/>
                                      </a:lnTo>
                                      <a:lnTo>
                                        <a:pt x="203" y="12"/>
                                      </a:lnTo>
                                      <a:lnTo>
                                        <a:pt x="191" y="0"/>
                                      </a:lnTo>
                                      <a:lnTo>
                                        <a:pt x="168" y="24"/>
                                      </a:lnTo>
                                      <a:lnTo>
                                        <a:pt x="124" y="36"/>
                                      </a:lnTo>
                                      <a:lnTo>
                                        <a:pt x="100" y="24"/>
                                      </a:lnTo>
                                      <a:lnTo>
                                        <a:pt x="92" y="36"/>
                                      </a:lnTo>
                                      <a:lnTo>
                                        <a:pt x="92" y="48"/>
                                      </a:lnTo>
                                      <a:lnTo>
                                        <a:pt x="100" y="56"/>
                                      </a:lnTo>
                                      <a:lnTo>
                                        <a:pt x="100" y="68"/>
                                      </a:lnTo>
                                      <a:lnTo>
                                        <a:pt x="80" y="92"/>
                                      </a:lnTo>
                                      <a:lnTo>
                                        <a:pt x="56" y="92"/>
                                      </a:lnTo>
                                      <a:lnTo>
                                        <a:pt x="32" y="80"/>
                                      </a:lnTo>
                                      <a:lnTo>
                                        <a:pt x="24" y="80"/>
                                      </a:lnTo>
                                      <a:lnTo>
                                        <a:pt x="12" y="92"/>
                                      </a:lnTo>
                                      <a:lnTo>
                                        <a:pt x="0" y="116"/>
                                      </a:lnTo>
                                      <a:lnTo>
                                        <a:pt x="12" y="147"/>
                                      </a:lnTo>
                                      <a:lnTo>
                                        <a:pt x="12" y="191"/>
                                      </a:lnTo>
                                      <a:lnTo>
                                        <a:pt x="24" y="215"/>
                                      </a:lnTo>
                                      <a:lnTo>
                                        <a:pt x="24" y="251"/>
                                      </a:lnTo>
                                      <a:close/>
                                    </a:path>
                                  </a:pathLst>
                                </a:custGeom>
                                <a:solidFill>
                                  <a:srgbClr val="FFFFFF"/>
                                </a:solidFill>
                                <a:ln w="9360">
                                  <a:solidFill>
                                    <a:srgbClr val="969696"/>
                                  </a:solidFill>
                                  <a:round/>
                                  <a:headEnd/>
                                  <a:tailEnd/>
                                </a:ln>
                              </p:spPr>
                              <p:txBody>
                                <a:bodyPr wrap="none" anchor="ctr"/>
                                <a:lstStyle/>
                                <a:p>
                                  <a:endParaRPr lang="pt-BR"/>
                                </a:p>
                              </p:txBody>
                            </p:sp>
                            <p:sp>
                              <p:nvSpPr>
                                <p:cNvPr id="325" name="Freeform 11"/>
                                <p:cNvSpPr>
                                  <a:spLocks noChangeArrowheads="1"/>
                                </p:cNvSpPr>
                                <p:nvPr/>
                              </p:nvSpPr>
                              <p:spPr bwMode="auto">
                                <a:xfrm>
                                  <a:off x="8235187" y="1963916"/>
                                  <a:ext cx="219139" cy="133497"/>
                                </a:xfrm>
                                <a:custGeom>
                                  <a:avLst/>
                                  <a:gdLst>
                                    <a:gd name="T0" fmla="*/ 2147483647 w 115"/>
                                    <a:gd name="T1" fmla="*/ 2147483647 h 68"/>
                                    <a:gd name="T2" fmla="*/ 2147483647 w 115"/>
                                    <a:gd name="T3" fmla="*/ 2147483647 h 68"/>
                                    <a:gd name="T4" fmla="*/ 2147483647 w 115"/>
                                    <a:gd name="T5" fmla="*/ 2147483647 h 68"/>
                                    <a:gd name="T6" fmla="*/ 2147483647 w 115"/>
                                    <a:gd name="T7" fmla="*/ 0 h 68"/>
                                    <a:gd name="T8" fmla="*/ 2147483647 w 115"/>
                                    <a:gd name="T9" fmla="*/ 0 h 68"/>
                                    <a:gd name="T10" fmla="*/ 2147483647 w 115"/>
                                    <a:gd name="T11" fmla="*/ 2147483647 h 68"/>
                                    <a:gd name="T12" fmla="*/ 2147483647 w 115"/>
                                    <a:gd name="T13" fmla="*/ 2147483647 h 68"/>
                                    <a:gd name="T14" fmla="*/ 2147483647 w 115"/>
                                    <a:gd name="T15" fmla="*/ 0 h 68"/>
                                    <a:gd name="T16" fmla="*/ 2147483647 w 115"/>
                                    <a:gd name="T17" fmla="*/ 0 h 68"/>
                                    <a:gd name="T18" fmla="*/ 0 w 115"/>
                                    <a:gd name="T19" fmla="*/ 2147483647 h 68"/>
                                    <a:gd name="T20" fmla="*/ 2147483647 w 115"/>
                                    <a:gd name="T21" fmla="*/ 2147483647 h 68"/>
                                    <a:gd name="T22" fmla="*/ 2147483647 w 115"/>
                                    <a:gd name="T23" fmla="*/ 2147483647 h 68"/>
                                    <a:gd name="T24" fmla="*/ 2147483647 w 115"/>
                                    <a:gd name="T25" fmla="*/ 2147483647 h 68"/>
                                    <a:gd name="T26" fmla="*/ 2147483647 w 115"/>
                                    <a:gd name="T27" fmla="*/ 2147483647 h 6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5"/>
                                    <a:gd name="T43" fmla="*/ 0 h 68"/>
                                    <a:gd name="T44" fmla="*/ 115 w 115"/>
                                    <a:gd name="T45" fmla="*/ 68 h 6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5" h="68">
                                      <a:moveTo>
                                        <a:pt x="59" y="68"/>
                                      </a:moveTo>
                                      <a:lnTo>
                                        <a:pt x="79" y="56"/>
                                      </a:lnTo>
                                      <a:lnTo>
                                        <a:pt x="91" y="36"/>
                                      </a:lnTo>
                                      <a:lnTo>
                                        <a:pt x="115" y="0"/>
                                      </a:lnTo>
                                      <a:lnTo>
                                        <a:pt x="79" y="0"/>
                                      </a:lnTo>
                                      <a:lnTo>
                                        <a:pt x="67" y="12"/>
                                      </a:lnTo>
                                      <a:lnTo>
                                        <a:pt x="59" y="12"/>
                                      </a:lnTo>
                                      <a:lnTo>
                                        <a:pt x="36" y="0"/>
                                      </a:lnTo>
                                      <a:lnTo>
                                        <a:pt x="12" y="0"/>
                                      </a:lnTo>
                                      <a:lnTo>
                                        <a:pt x="0" y="12"/>
                                      </a:lnTo>
                                      <a:lnTo>
                                        <a:pt x="12" y="36"/>
                                      </a:lnTo>
                                      <a:lnTo>
                                        <a:pt x="24" y="36"/>
                                      </a:lnTo>
                                      <a:lnTo>
                                        <a:pt x="47" y="56"/>
                                      </a:lnTo>
                                      <a:lnTo>
                                        <a:pt x="59" y="68"/>
                                      </a:lnTo>
                                      <a:close/>
                                    </a:path>
                                  </a:pathLst>
                                </a:custGeom>
                                <a:solidFill>
                                  <a:srgbClr val="FFFFFF"/>
                                </a:solidFill>
                                <a:ln w="9360">
                                  <a:solidFill>
                                    <a:srgbClr val="969696"/>
                                  </a:solidFill>
                                  <a:round/>
                                  <a:headEnd/>
                                  <a:tailEnd/>
                                </a:ln>
                              </p:spPr>
                              <p:txBody>
                                <a:bodyPr wrap="none" anchor="ctr"/>
                                <a:lstStyle/>
                                <a:p>
                                  <a:endParaRPr lang="pt-BR"/>
                                </a:p>
                              </p:txBody>
                            </p:sp>
                            <p:sp>
                              <p:nvSpPr>
                                <p:cNvPr id="326" name="Freeform 58"/>
                                <p:cNvSpPr>
                                  <a:spLocks noChangeArrowheads="1"/>
                                </p:cNvSpPr>
                                <p:nvPr/>
                              </p:nvSpPr>
                              <p:spPr bwMode="auto">
                                <a:xfrm>
                                  <a:off x="7546512" y="1586310"/>
                                  <a:ext cx="908185" cy="1440365"/>
                                </a:xfrm>
                                <a:custGeom>
                                  <a:avLst/>
                                  <a:gdLst>
                                    <a:gd name="T0" fmla="*/ 2147483647 w 961"/>
                                    <a:gd name="T1" fmla="*/ 2147483647 h 1609"/>
                                    <a:gd name="T2" fmla="*/ 2147483647 w 961"/>
                                    <a:gd name="T3" fmla="*/ 2147483647 h 1609"/>
                                    <a:gd name="T4" fmla="*/ 2147483647 w 961"/>
                                    <a:gd name="T5" fmla="*/ 2147483647 h 1609"/>
                                    <a:gd name="T6" fmla="*/ 0 w 961"/>
                                    <a:gd name="T7" fmla="*/ 2147483647 h 1609"/>
                                    <a:gd name="T8" fmla="*/ 2147483647 w 961"/>
                                    <a:gd name="T9" fmla="*/ 2147483647 h 1609"/>
                                    <a:gd name="T10" fmla="*/ 2147483647 w 961"/>
                                    <a:gd name="T11" fmla="*/ 2147483647 h 1609"/>
                                    <a:gd name="T12" fmla="*/ 2147483647 w 961"/>
                                    <a:gd name="T13" fmla="*/ 2147483647 h 1609"/>
                                    <a:gd name="T14" fmla="*/ 2147483647 w 961"/>
                                    <a:gd name="T15" fmla="*/ 2147483647 h 1609"/>
                                    <a:gd name="T16" fmla="*/ 2147483647 w 961"/>
                                    <a:gd name="T17" fmla="*/ 2147483647 h 1609"/>
                                    <a:gd name="T18" fmla="*/ 2147483647 w 961"/>
                                    <a:gd name="T19" fmla="*/ 2147483647 h 1609"/>
                                    <a:gd name="T20" fmla="*/ 2147483647 w 961"/>
                                    <a:gd name="T21" fmla="*/ 2147483647 h 1609"/>
                                    <a:gd name="T22" fmla="*/ 2147483647 w 961"/>
                                    <a:gd name="T23" fmla="*/ 2147483647 h 1609"/>
                                    <a:gd name="T24" fmla="*/ 2147483647 w 961"/>
                                    <a:gd name="T25" fmla="*/ 2147483647 h 1609"/>
                                    <a:gd name="T26" fmla="*/ 2147483647 w 961"/>
                                    <a:gd name="T27" fmla="*/ 2147483647 h 1609"/>
                                    <a:gd name="T28" fmla="*/ 2147483647 w 961"/>
                                    <a:gd name="T29" fmla="*/ 2147483647 h 1609"/>
                                    <a:gd name="T30" fmla="*/ 2147483647 w 961"/>
                                    <a:gd name="T31" fmla="*/ 2147483647 h 1609"/>
                                    <a:gd name="T32" fmla="*/ 2147483647 w 961"/>
                                    <a:gd name="T33" fmla="*/ 2147483647 h 1609"/>
                                    <a:gd name="T34" fmla="*/ 2147483647 w 961"/>
                                    <a:gd name="T35" fmla="*/ 2147483647 h 1609"/>
                                    <a:gd name="T36" fmla="*/ 2147483647 w 961"/>
                                    <a:gd name="T37" fmla="*/ 2147483647 h 1609"/>
                                    <a:gd name="T38" fmla="*/ 2147483647 w 961"/>
                                    <a:gd name="T39" fmla="*/ 2147483647 h 1609"/>
                                    <a:gd name="T40" fmla="*/ 2147483647 w 961"/>
                                    <a:gd name="T41" fmla="*/ 2147483647 h 1609"/>
                                    <a:gd name="T42" fmla="*/ 2147483647 w 961"/>
                                    <a:gd name="T43" fmla="*/ 2147483647 h 1609"/>
                                    <a:gd name="T44" fmla="*/ 2147483647 w 961"/>
                                    <a:gd name="T45" fmla="*/ 0 h 1609"/>
                                    <a:gd name="T46" fmla="*/ 2147483647 w 961"/>
                                    <a:gd name="T47" fmla="*/ 0 h 1609"/>
                                    <a:gd name="T48" fmla="*/ 2147483647 w 961"/>
                                    <a:gd name="T49" fmla="*/ 2147483647 h 1609"/>
                                    <a:gd name="T50" fmla="*/ 2147483647 w 961"/>
                                    <a:gd name="T51" fmla="*/ 2147483647 h 1609"/>
                                    <a:gd name="T52" fmla="*/ 2147483647 w 961"/>
                                    <a:gd name="T53" fmla="*/ 2147483647 h 1609"/>
                                    <a:gd name="T54" fmla="*/ 2147483647 w 961"/>
                                    <a:gd name="T55" fmla="*/ 2147483647 h 160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961"/>
                                    <a:gd name="T85" fmla="*/ 0 h 1609"/>
                                    <a:gd name="T86" fmla="*/ 961 w 961"/>
                                    <a:gd name="T87" fmla="*/ 1609 h 160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961" h="1609">
                                      <a:moveTo>
                                        <a:pt x="33" y="926"/>
                                      </a:moveTo>
                                      <a:cubicBezTo>
                                        <a:pt x="27" y="981"/>
                                        <a:pt x="22" y="1035"/>
                                        <a:pt x="16" y="1090"/>
                                      </a:cubicBezTo>
                                      <a:cubicBezTo>
                                        <a:pt x="24" y="1143"/>
                                        <a:pt x="31" y="1196"/>
                                        <a:pt x="39" y="1249"/>
                                      </a:cubicBezTo>
                                      <a:lnTo>
                                        <a:pt x="0" y="1366"/>
                                      </a:lnTo>
                                      <a:lnTo>
                                        <a:pt x="72" y="1486"/>
                                      </a:lnTo>
                                      <a:cubicBezTo>
                                        <a:pt x="79" y="1509"/>
                                        <a:pt x="85" y="1531"/>
                                        <a:pt x="92" y="1554"/>
                                      </a:cubicBezTo>
                                      <a:lnTo>
                                        <a:pt x="138" y="1609"/>
                                      </a:lnTo>
                                      <a:cubicBezTo>
                                        <a:pt x="150" y="1602"/>
                                        <a:pt x="161" y="1595"/>
                                        <a:pt x="173" y="1588"/>
                                      </a:cubicBezTo>
                                      <a:lnTo>
                                        <a:pt x="288" y="1554"/>
                                      </a:lnTo>
                                      <a:lnTo>
                                        <a:pt x="419" y="1545"/>
                                      </a:lnTo>
                                      <a:lnTo>
                                        <a:pt x="344" y="1404"/>
                                      </a:lnTo>
                                      <a:cubicBezTo>
                                        <a:pt x="307" y="1333"/>
                                        <a:pt x="269" y="1262"/>
                                        <a:pt x="232" y="1191"/>
                                      </a:cubicBezTo>
                                      <a:cubicBezTo>
                                        <a:pt x="232" y="1191"/>
                                        <a:pt x="385" y="1186"/>
                                        <a:pt x="444" y="1147"/>
                                      </a:cubicBezTo>
                                      <a:cubicBezTo>
                                        <a:pt x="503" y="1108"/>
                                        <a:pt x="559" y="1022"/>
                                        <a:pt x="585" y="963"/>
                                      </a:cubicBezTo>
                                      <a:cubicBezTo>
                                        <a:pt x="612" y="905"/>
                                        <a:pt x="571" y="836"/>
                                        <a:pt x="599" y="797"/>
                                      </a:cubicBezTo>
                                      <a:lnTo>
                                        <a:pt x="750" y="734"/>
                                      </a:lnTo>
                                      <a:cubicBezTo>
                                        <a:pt x="771" y="693"/>
                                        <a:pt x="791" y="651"/>
                                        <a:pt x="812" y="610"/>
                                      </a:cubicBezTo>
                                      <a:cubicBezTo>
                                        <a:pt x="843" y="566"/>
                                        <a:pt x="873" y="522"/>
                                        <a:pt x="904" y="478"/>
                                      </a:cubicBezTo>
                                      <a:lnTo>
                                        <a:pt x="961" y="337"/>
                                      </a:lnTo>
                                      <a:cubicBezTo>
                                        <a:pt x="953" y="304"/>
                                        <a:pt x="917" y="298"/>
                                        <a:pt x="853" y="277"/>
                                      </a:cubicBezTo>
                                      <a:cubicBezTo>
                                        <a:pt x="789" y="256"/>
                                        <a:pt x="624" y="245"/>
                                        <a:pt x="576" y="208"/>
                                      </a:cubicBezTo>
                                      <a:cubicBezTo>
                                        <a:pt x="503" y="176"/>
                                        <a:pt x="548" y="88"/>
                                        <a:pt x="562" y="53"/>
                                      </a:cubicBezTo>
                                      <a:cubicBezTo>
                                        <a:pt x="577" y="18"/>
                                        <a:pt x="646" y="9"/>
                                        <a:pt x="661" y="0"/>
                                      </a:cubicBezTo>
                                      <a:lnTo>
                                        <a:pt x="654" y="0"/>
                                      </a:lnTo>
                                      <a:cubicBezTo>
                                        <a:pt x="649" y="41"/>
                                        <a:pt x="656" y="82"/>
                                        <a:pt x="651" y="123"/>
                                      </a:cubicBezTo>
                                      <a:cubicBezTo>
                                        <a:pt x="633" y="174"/>
                                        <a:pt x="655" y="266"/>
                                        <a:pt x="637" y="317"/>
                                      </a:cubicBezTo>
                                      <a:cubicBezTo>
                                        <a:pt x="663" y="356"/>
                                        <a:pt x="688" y="395"/>
                                        <a:pt x="714" y="434"/>
                                      </a:cubicBezTo>
                                      <a:cubicBezTo>
                                        <a:pt x="722" y="528"/>
                                        <a:pt x="729" y="622"/>
                                        <a:pt x="737" y="716"/>
                                      </a:cubicBezTo>
                                    </a:path>
                                  </a:pathLst>
                                </a:custGeom>
                                <a:noFill/>
                                <a:ln w="28575">
                                  <a:solidFill>
                                    <a:srgbClr val="0070C0"/>
                                  </a:solidFill>
                                  <a:round/>
                                  <a:headEnd/>
                                  <a:tailEnd/>
                                </a:ln>
                              </p:spPr>
                              <p:txBody>
                                <a:bodyPr wrap="none" anchor="ctr"/>
                                <a:lstStyle/>
                                <a:p>
                                  <a:endParaRPr lang="pt-BR"/>
                                </a:p>
                              </p:txBody>
                            </p:sp>
                            <p:sp>
                              <p:nvSpPr>
                                <p:cNvPr id="327" name="Freeform 2"/>
                                <p:cNvSpPr>
                                  <a:spLocks noChangeArrowheads="1"/>
                                </p:cNvSpPr>
                                <p:nvPr/>
                              </p:nvSpPr>
                              <p:spPr bwMode="auto">
                                <a:xfrm>
                                  <a:off x="7016366" y="3283666"/>
                                  <a:ext cx="450704" cy="491831"/>
                                </a:xfrm>
                                <a:custGeom>
                                  <a:avLst/>
                                  <a:gdLst>
                                    <a:gd name="T0" fmla="*/ 2147483647 w 235"/>
                                    <a:gd name="T1" fmla="*/ 2147483647 h 251"/>
                                    <a:gd name="T2" fmla="*/ 2147483647 w 235"/>
                                    <a:gd name="T3" fmla="*/ 2147483647 h 251"/>
                                    <a:gd name="T4" fmla="*/ 2147483647 w 235"/>
                                    <a:gd name="T5" fmla="*/ 2147483647 h 251"/>
                                    <a:gd name="T6" fmla="*/ 2147483647 w 235"/>
                                    <a:gd name="T7" fmla="*/ 2147483647 h 251"/>
                                    <a:gd name="T8" fmla="*/ 2147483647 w 235"/>
                                    <a:gd name="T9" fmla="*/ 2147483647 h 251"/>
                                    <a:gd name="T10" fmla="*/ 2147483647 w 235"/>
                                    <a:gd name="T11" fmla="*/ 2147483647 h 251"/>
                                    <a:gd name="T12" fmla="*/ 2147483647 w 235"/>
                                    <a:gd name="T13" fmla="*/ 2147483647 h 251"/>
                                    <a:gd name="T14" fmla="*/ 2147483647 w 235"/>
                                    <a:gd name="T15" fmla="*/ 2147483647 h 251"/>
                                    <a:gd name="T16" fmla="*/ 2147483647 w 235"/>
                                    <a:gd name="T17" fmla="*/ 2147483647 h 251"/>
                                    <a:gd name="T18" fmla="*/ 2147483647 w 235"/>
                                    <a:gd name="T19" fmla="*/ 2147483647 h 251"/>
                                    <a:gd name="T20" fmla="*/ 2147483647 w 235"/>
                                    <a:gd name="T21" fmla="*/ 2147483647 h 251"/>
                                    <a:gd name="T22" fmla="*/ 2147483647 w 235"/>
                                    <a:gd name="T23" fmla="*/ 2147483647 h 251"/>
                                    <a:gd name="T24" fmla="*/ 2147483647 w 235"/>
                                    <a:gd name="T25" fmla="*/ 0 h 251"/>
                                    <a:gd name="T26" fmla="*/ 2147483647 w 235"/>
                                    <a:gd name="T27" fmla="*/ 0 h 251"/>
                                    <a:gd name="T28" fmla="*/ 2147483647 w 235"/>
                                    <a:gd name="T29" fmla="*/ 2147483647 h 251"/>
                                    <a:gd name="T30" fmla="*/ 0 w 235"/>
                                    <a:gd name="T31" fmla="*/ 2147483647 h 251"/>
                                    <a:gd name="T32" fmla="*/ 0 w 235"/>
                                    <a:gd name="T33" fmla="*/ 2147483647 h 251"/>
                                    <a:gd name="T34" fmla="*/ 2147483647 w 235"/>
                                    <a:gd name="T35" fmla="*/ 2147483647 h 251"/>
                                    <a:gd name="T36" fmla="*/ 2147483647 w 235"/>
                                    <a:gd name="T37" fmla="*/ 2147483647 h 251"/>
                                    <a:gd name="T38" fmla="*/ 2147483647 w 235"/>
                                    <a:gd name="T39" fmla="*/ 2147483647 h 251"/>
                                    <a:gd name="T40" fmla="*/ 2147483647 w 235"/>
                                    <a:gd name="T41" fmla="*/ 2147483647 h 251"/>
                                    <a:gd name="T42" fmla="*/ 2147483647 w 235"/>
                                    <a:gd name="T43" fmla="*/ 2147483647 h 251"/>
                                    <a:gd name="T44" fmla="*/ 2147483647 w 235"/>
                                    <a:gd name="T45" fmla="*/ 2147483647 h 251"/>
                                    <a:gd name="T46" fmla="*/ 2147483647 w 235"/>
                                    <a:gd name="T47" fmla="*/ 2147483647 h 251"/>
                                    <a:gd name="T48" fmla="*/ 2147483647 w 235"/>
                                    <a:gd name="T49" fmla="*/ 2147483647 h 2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35"/>
                                    <a:gd name="T76" fmla="*/ 0 h 251"/>
                                    <a:gd name="T77" fmla="*/ 235 w 235"/>
                                    <a:gd name="T78" fmla="*/ 251 h 2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35" h="251">
                                      <a:moveTo>
                                        <a:pt x="124" y="251"/>
                                      </a:moveTo>
                                      <a:lnTo>
                                        <a:pt x="148" y="239"/>
                                      </a:lnTo>
                                      <a:lnTo>
                                        <a:pt x="167" y="191"/>
                                      </a:lnTo>
                                      <a:lnTo>
                                        <a:pt x="191" y="171"/>
                                      </a:lnTo>
                                      <a:lnTo>
                                        <a:pt x="215" y="116"/>
                                      </a:lnTo>
                                      <a:lnTo>
                                        <a:pt x="235" y="80"/>
                                      </a:lnTo>
                                      <a:lnTo>
                                        <a:pt x="227" y="68"/>
                                      </a:lnTo>
                                      <a:lnTo>
                                        <a:pt x="227" y="48"/>
                                      </a:lnTo>
                                      <a:lnTo>
                                        <a:pt x="215" y="48"/>
                                      </a:lnTo>
                                      <a:lnTo>
                                        <a:pt x="203" y="36"/>
                                      </a:lnTo>
                                      <a:lnTo>
                                        <a:pt x="179" y="24"/>
                                      </a:lnTo>
                                      <a:lnTo>
                                        <a:pt x="167" y="12"/>
                                      </a:lnTo>
                                      <a:lnTo>
                                        <a:pt x="136" y="0"/>
                                      </a:lnTo>
                                      <a:lnTo>
                                        <a:pt x="100" y="0"/>
                                      </a:lnTo>
                                      <a:lnTo>
                                        <a:pt x="68" y="24"/>
                                      </a:lnTo>
                                      <a:lnTo>
                                        <a:pt x="0" y="124"/>
                                      </a:lnTo>
                                      <a:lnTo>
                                        <a:pt x="0" y="136"/>
                                      </a:lnTo>
                                      <a:lnTo>
                                        <a:pt x="24" y="136"/>
                                      </a:lnTo>
                                      <a:lnTo>
                                        <a:pt x="68" y="160"/>
                                      </a:lnTo>
                                      <a:lnTo>
                                        <a:pt x="80" y="160"/>
                                      </a:lnTo>
                                      <a:lnTo>
                                        <a:pt x="124" y="203"/>
                                      </a:lnTo>
                                      <a:lnTo>
                                        <a:pt x="136" y="191"/>
                                      </a:lnTo>
                                      <a:lnTo>
                                        <a:pt x="136" y="215"/>
                                      </a:lnTo>
                                      <a:lnTo>
                                        <a:pt x="124" y="227"/>
                                      </a:lnTo>
                                      <a:lnTo>
                                        <a:pt x="124" y="251"/>
                                      </a:lnTo>
                                      <a:close/>
                                    </a:path>
                                  </a:pathLst>
                                </a:custGeom>
                                <a:solidFill>
                                  <a:srgbClr val="FFFFFF"/>
                                </a:solidFill>
                                <a:ln w="9360">
                                  <a:solidFill>
                                    <a:srgbClr val="969696"/>
                                  </a:solidFill>
                                  <a:round/>
                                  <a:headEnd/>
                                  <a:tailEnd/>
                                </a:ln>
                              </p:spPr>
                              <p:txBody>
                                <a:bodyPr wrap="none" anchor="ctr"/>
                                <a:lstStyle/>
                                <a:p>
                                  <a:endParaRPr lang="pt-BR"/>
                                </a:p>
                              </p:txBody>
                            </p:sp>
                            <p:sp>
                              <p:nvSpPr>
                                <p:cNvPr id="328" name="Freeform 14"/>
                                <p:cNvSpPr>
                                  <a:spLocks noChangeArrowheads="1"/>
                                </p:cNvSpPr>
                                <p:nvPr/>
                              </p:nvSpPr>
                              <p:spPr bwMode="auto">
                                <a:xfrm>
                                  <a:off x="8205817" y="1652424"/>
                                  <a:ext cx="257544" cy="156918"/>
                                </a:xfrm>
                                <a:custGeom>
                                  <a:avLst/>
                                  <a:gdLst>
                                    <a:gd name="T0" fmla="*/ 2147483647 w 135"/>
                                    <a:gd name="T1" fmla="*/ 2147483647 h 80"/>
                                    <a:gd name="T2" fmla="*/ 2147483647 w 135"/>
                                    <a:gd name="T3" fmla="*/ 2147483647 h 80"/>
                                    <a:gd name="T4" fmla="*/ 2147483647 w 135"/>
                                    <a:gd name="T5" fmla="*/ 2147483647 h 80"/>
                                    <a:gd name="T6" fmla="*/ 2147483647 w 135"/>
                                    <a:gd name="T7" fmla="*/ 2147483647 h 80"/>
                                    <a:gd name="T8" fmla="*/ 2147483647 w 135"/>
                                    <a:gd name="T9" fmla="*/ 0 h 80"/>
                                    <a:gd name="T10" fmla="*/ 2147483647 w 135"/>
                                    <a:gd name="T11" fmla="*/ 0 h 80"/>
                                    <a:gd name="T12" fmla="*/ 2147483647 w 135"/>
                                    <a:gd name="T13" fmla="*/ 2147483647 h 80"/>
                                    <a:gd name="T14" fmla="*/ 2147483647 w 135"/>
                                    <a:gd name="T15" fmla="*/ 2147483647 h 80"/>
                                    <a:gd name="T16" fmla="*/ 0 w 135"/>
                                    <a:gd name="T17" fmla="*/ 2147483647 h 80"/>
                                    <a:gd name="T18" fmla="*/ 2147483647 w 135"/>
                                    <a:gd name="T19" fmla="*/ 2147483647 h 80"/>
                                    <a:gd name="T20" fmla="*/ 2147483647 w 135"/>
                                    <a:gd name="T21" fmla="*/ 2147483647 h 80"/>
                                    <a:gd name="T22" fmla="*/ 2147483647 w 135"/>
                                    <a:gd name="T23" fmla="*/ 2147483647 h 80"/>
                                    <a:gd name="T24" fmla="*/ 2147483647 w 135"/>
                                    <a:gd name="T25" fmla="*/ 2147483647 h 80"/>
                                    <a:gd name="T26" fmla="*/ 2147483647 w 135"/>
                                    <a:gd name="T27" fmla="*/ 2147483647 h 80"/>
                                    <a:gd name="T28" fmla="*/ 2147483647 w 135"/>
                                    <a:gd name="T29" fmla="*/ 2147483647 h 80"/>
                                    <a:gd name="T30" fmla="*/ 2147483647 w 135"/>
                                    <a:gd name="T31" fmla="*/ 2147483647 h 80"/>
                                    <a:gd name="T32" fmla="*/ 2147483647 w 135"/>
                                    <a:gd name="T33" fmla="*/ 2147483647 h 80"/>
                                    <a:gd name="T34" fmla="*/ 2147483647 w 135"/>
                                    <a:gd name="T35" fmla="*/ 2147483647 h 80"/>
                                    <a:gd name="T36" fmla="*/ 2147483647 w 135"/>
                                    <a:gd name="T37" fmla="*/ 2147483647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5"/>
                                    <a:gd name="T58" fmla="*/ 0 h 80"/>
                                    <a:gd name="T59" fmla="*/ 135 w 135"/>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5" h="80">
                                      <a:moveTo>
                                        <a:pt x="135" y="68"/>
                                      </a:moveTo>
                                      <a:lnTo>
                                        <a:pt x="123" y="24"/>
                                      </a:lnTo>
                                      <a:lnTo>
                                        <a:pt x="111" y="12"/>
                                      </a:lnTo>
                                      <a:lnTo>
                                        <a:pt x="87" y="12"/>
                                      </a:lnTo>
                                      <a:lnTo>
                                        <a:pt x="56" y="0"/>
                                      </a:lnTo>
                                      <a:lnTo>
                                        <a:pt x="44" y="0"/>
                                      </a:lnTo>
                                      <a:lnTo>
                                        <a:pt x="32" y="12"/>
                                      </a:lnTo>
                                      <a:lnTo>
                                        <a:pt x="20" y="36"/>
                                      </a:lnTo>
                                      <a:lnTo>
                                        <a:pt x="0" y="68"/>
                                      </a:lnTo>
                                      <a:lnTo>
                                        <a:pt x="12" y="68"/>
                                      </a:lnTo>
                                      <a:lnTo>
                                        <a:pt x="32" y="60"/>
                                      </a:lnTo>
                                      <a:lnTo>
                                        <a:pt x="44" y="48"/>
                                      </a:lnTo>
                                      <a:lnTo>
                                        <a:pt x="56" y="60"/>
                                      </a:lnTo>
                                      <a:lnTo>
                                        <a:pt x="32" y="80"/>
                                      </a:lnTo>
                                      <a:lnTo>
                                        <a:pt x="79" y="80"/>
                                      </a:lnTo>
                                      <a:lnTo>
                                        <a:pt x="79" y="60"/>
                                      </a:lnTo>
                                      <a:lnTo>
                                        <a:pt x="87" y="60"/>
                                      </a:lnTo>
                                      <a:lnTo>
                                        <a:pt x="99" y="68"/>
                                      </a:lnTo>
                                      <a:lnTo>
                                        <a:pt x="135" y="68"/>
                                      </a:lnTo>
                                      <a:close/>
                                    </a:path>
                                  </a:pathLst>
                                </a:custGeom>
                                <a:solidFill>
                                  <a:srgbClr val="FFFFFF"/>
                                </a:solidFill>
                                <a:ln w="9360">
                                  <a:solidFill>
                                    <a:srgbClr val="969696"/>
                                  </a:solidFill>
                                  <a:round/>
                                  <a:headEnd/>
                                  <a:tailEnd/>
                                </a:ln>
                              </p:spPr>
                              <p:txBody>
                                <a:bodyPr wrap="none" anchor="ctr"/>
                                <a:lstStyle/>
                                <a:p>
                                  <a:endParaRPr lang="pt-BR"/>
                                </a:p>
                              </p:txBody>
                            </p:sp>
                            <p:sp>
                              <p:nvSpPr>
                                <p:cNvPr id="329" name="Freeform 16"/>
                                <p:cNvSpPr>
                                  <a:spLocks noChangeArrowheads="1"/>
                                </p:cNvSpPr>
                                <p:nvPr/>
                              </p:nvSpPr>
                              <p:spPr bwMode="auto">
                                <a:xfrm>
                                  <a:off x="7685078" y="1543516"/>
                                  <a:ext cx="389706" cy="577316"/>
                                </a:xfrm>
                                <a:custGeom>
                                  <a:avLst/>
                                  <a:gdLst>
                                    <a:gd name="T0" fmla="*/ 2147483647 w 203"/>
                                    <a:gd name="T1" fmla="*/ 0 h 295"/>
                                    <a:gd name="T2" fmla="*/ 2147483647 w 203"/>
                                    <a:gd name="T3" fmla="*/ 2147483647 h 295"/>
                                    <a:gd name="T4" fmla="*/ 2147483647 w 203"/>
                                    <a:gd name="T5" fmla="*/ 2147483647 h 295"/>
                                    <a:gd name="T6" fmla="*/ 2147483647 w 203"/>
                                    <a:gd name="T7" fmla="*/ 2147483647 h 295"/>
                                    <a:gd name="T8" fmla="*/ 2147483647 w 203"/>
                                    <a:gd name="T9" fmla="*/ 2147483647 h 295"/>
                                    <a:gd name="T10" fmla="*/ 2147483647 w 203"/>
                                    <a:gd name="T11" fmla="*/ 2147483647 h 295"/>
                                    <a:gd name="T12" fmla="*/ 2147483647 w 203"/>
                                    <a:gd name="T13" fmla="*/ 2147483647 h 295"/>
                                    <a:gd name="T14" fmla="*/ 2147483647 w 203"/>
                                    <a:gd name="T15" fmla="*/ 2147483647 h 295"/>
                                    <a:gd name="T16" fmla="*/ 2147483647 w 203"/>
                                    <a:gd name="T17" fmla="*/ 2147483647 h 295"/>
                                    <a:gd name="T18" fmla="*/ 2147483647 w 203"/>
                                    <a:gd name="T19" fmla="*/ 2147483647 h 295"/>
                                    <a:gd name="T20" fmla="*/ 2147483647 w 203"/>
                                    <a:gd name="T21" fmla="*/ 2147483647 h 295"/>
                                    <a:gd name="T22" fmla="*/ 2147483647 w 203"/>
                                    <a:gd name="T23" fmla="*/ 2147483647 h 295"/>
                                    <a:gd name="T24" fmla="*/ 0 w 203"/>
                                    <a:gd name="T25" fmla="*/ 2147483647 h 295"/>
                                    <a:gd name="T26" fmla="*/ 2147483647 w 203"/>
                                    <a:gd name="T27" fmla="*/ 2147483647 h 295"/>
                                    <a:gd name="T28" fmla="*/ 2147483647 w 203"/>
                                    <a:gd name="T29" fmla="*/ 2147483647 h 295"/>
                                    <a:gd name="T30" fmla="*/ 2147483647 w 203"/>
                                    <a:gd name="T31" fmla="*/ 2147483647 h 295"/>
                                    <a:gd name="T32" fmla="*/ 2147483647 w 203"/>
                                    <a:gd name="T33" fmla="*/ 2147483647 h 295"/>
                                    <a:gd name="T34" fmla="*/ 2147483647 w 203"/>
                                    <a:gd name="T35" fmla="*/ 2147483647 h 295"/>
                                    <a:gd name="T36" fmla="*/ 2147483647 w 203"/>
                                    <a:gd name="T37" fmla="*/ 2147483647 h 295"/>
                                    <a:gd name="T38" fmla="*/ 2147483647 w 203"/>
                                    <a:gd name="T39" fmla="*/ 2147483647 h 295"/>
                                    <a:gd name="T40" fmla="*/ 2147483647 w 203"/>
                                    <a:gd name="T41" fmla="*/ 2147483647 h 295"/>
                                    <a:gd name="T42" fmla="*/ 2147483647 w 203"/>
                                    <a:gd name="T43" fmla="*/ 2147483647 h 295"/>
                                    <a:gd name="T44" fmla="*/ 2147483647 w 203"/>
                                    <a:gd name="T45" fmla="*/ 2147483647 h 295"/>
                                    <a:gd name="T46" fmla="*/ 2147483647 w 203"/>
                                    <a:gd name="T47" fmla="*/ 2147483647 h 295"/>
                                    <a:gd name="T48" fmla="*/ 2147483647 w 203"/>
                                    <a:gd name="T49" fmla="*/ 2147483647 h 295"/>
                                    <a:gd name="T50" fmla="*/ 2147483647 w 203"/>
                                    <a:gd name="T51" fmla="*/ 2147483647 h 295"/>
                                    <a:gd name="T52" fmla="*/ 2147483647 w 203"/>
                                    <a:gd name="T53" fmla="*/ 2147483647 h 295"/>
                                    <a:gd name="T54" fmla="*/ 2147483647 w 203"/>
                                    <a:gd name="T55" fmla="*/ 2147483647 h 295"/>
                                    <a:gd name="T56" fmla="*/ 2147483647 w 203"/>
                                    <a:gd name="T57" fmla="*/ 2147483647 h 295"/>
                                    <a:gd name="T58" fmla="*/ 2147483647 w 203"/>
                                    <a:gd name="T59" fmla="*/ 2147483647 h 295"/>
                                    <a:gd name="T60" fmla="*/ 2147483647 w 203"/>
                                    <a:gd name="T61" fmla="*/ 2147483647 h 295"/>
                                    <a:gd name="T62" fmla="*/ 2147483647 w 203"/>
                                    <a:gd name="T63" fmla="*/ 2147483647 h 295"/>
                                    <a:gd name="T64" fmla="*/ 2147483647 w 203"/>
                                    <a:gd name="T65" fmla="*/ 2147483647 h 295"/>
                                    <a:gd name="T66" fmla="*/ 2147483647 w 203"/>
                                    <a:gd name="T67" fmla="*/ 2147483647 h 295"/>
                                    <a:gd name="T68" fmla="*/ 2147483647 w 203"/>
                                    <a:gd name="T69" fmla="*/ 0 h 295"/>
                                    <a:gd name="T70" fmla="*/ 2147483647 w 203"/>
                                    <a:gd name="T71" fmla="*/ 0 h 29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03"/>
                                    <a:gd name="T109" fmla="*/ 0 h 295"/>
                                    <a:gd name="T110" fmla="*/ 203 w 203"/>
                                    <a:gd name="T111" fmla="*/ 295 h 29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03" h="295">
                                      <a:moveTo>
                                        <a:pt x="156" y="0"/>
                                      </a:moveTo>
                                      <a:lnTo>
                                        <a:pt x="148" y="12"/>
                                      </a:lnTo>
                                      <a:lnTo>
                                        <a:pt x="136" y="12"/>
                                      </a:lnTo>
                                      <a:lnTo>
                                        <a:pt x="124" y="24"/>
                                      </a:lnTo>
                                      <a:lnTo>
                                        <a:pt x="112" y="48"/>
                                      </a:lnTo>
                                      <a:lnTo>
                                        <a:pt x="112" y="68"/>
                                      </a:lnTo>
                                      <a:lnTo>
                                        <a:pt x="100" y="104"/>
                                      </a:lnTo>
                                      <a:lnTo>
                                        <a:pt x="100" y="124"/>
                                      </a:lnTo>
                                      <a:lnTo>
                                        <a:pt x="88" y="136"/>
                                      </a:lnTo>
                                      <a:lnTo>
                                        <a:pt x="56" y="148"/>
                                      </a:lnTo>
                                      <a:lnTo>
                                        <a:pt x="32" y="159"/>
                                      </a:lnTo>
                                      <a:lnTo>
                                        <a:pt x="12" y="183"/>
                                      </a:lnTo>
                                      <a:lnTo>
                                        <a:pt x="0" y="227"/>
                                      </a:lnTo>
                                      <a:lnTo>
                                        <a:pt x="12" y="271"/>
                                      </a:lnTo>
                                      <a:lnTo>
                                        <a:pt x="12" y="283"/>
                                      </a:lnTo>
                                      <a:lnTo>
                                        <a:pt x="20" y="283"/>
                                      </a:lnTo>
                                      <a:lnTo>
                                        <a:pt x="44" y="295"/>
                                      </a:lnTo>
                                      <a:lnTo>
                                        <a:pt x="68" y="295"/>
                                      </a:lnTo>
                                      <a:lnTo>
                                        <a:pt x="88" y="271"/>
                                      </a:lnTo>
                                      <a:lnTo>
                                        <a:pt x="88" y="259"/>
                                      </a:lnTo>
                                      <a:lnTo>
                                        <a:pt x="80" y="251"/>
                                      </a:lnTo>
                                      <a:lnTo>
                                        <a:pt x="80" y="239"/>
                                      </a:lnTo>
                                      <a:lnTo>
                                        <a:pt x="88" y="227"/>
                                      </a:lnTo>
                                      <a:lnTo>
                                        <a:pt x="112" y="239"/>
                                      </a:lnTo>
                                      <a:lnTo>
                                        <a:pt x="156" y="227"/>
                                      </a:lnTo>
                                      <a:lnTo>
                                        <a:pt x="179" y="203"/>
                                      </a:lnTo>
                                      <a:lnTo>
                                        <a:pt x="191" y="191"/>
                                      </a:lnTo>
                                      <a:lnTo>
                                        <a:pt x="191" y="171"/>
                                      </a:lnTo>
                                      <a:lnTo>
                                        <a:pt x="203" y="159"/>
                                      </a:lnTo>
                                      <a:lnTo>
                                        <a:pt x="203" y="148"/>
                                      </a:lnTo>
                                      <a:lnTo>
                                        <a:pt x="179" y="116"/>
                                      </a:lnTo>
                                      <a:lnTo>
                                        <a:pt x="179" y="92"/>
                                      </a:lnTo>
                                      <a:lnTo>
                                        <a:pt x="167" y="48"/>
                                      </a:lnTo>
                                      <a:lnTo>
                                        <a:pt x="167" y="24"/>
                                      </a:lnTo>
                                      <a:lnTo>
                                        <a:pt x="167" y="0"/>
                                      </a:lnTo>
                                      <a:lnTo>
                                        <a:pt x="156" y="0"/>
                                      </a:lnTo>
                                      <a:close/>
                                    </a:path>
                                  </a:pathLst>
                                </a:custGeom>
                                <a:solidFill>
                                  <a:schemeClr val="bg1"/>
                                </a:solidFill>
                                <a:ln w="9525">
                                  <a:noFill/>
                                  <a:round/>
                                  <a:headEnd/>
                                  <a:tailEnd/>
                                </a:ln>
                              </p:spPr>
                              <p:txBody>
                                <a:bodyPr wrap="none" anchor="ctr"/>
                                <a:lstStyle/>
                                <a:p>
                                  <a:endParaRPr lang="pt-BR"/>
                                </a:p>
                              </p:txBody>
                            </p:sp>
                            <p:sp>
                              <p:nvSpPr>
                                <p:cNvPr id="330" name="Freeform 17"/>
                                <p:cNvSpPr>
                                  <a:spLocks noChangeArrowheads="1"/>
                                </p:cNvSpPr>
                                <p:nvPr/>
                              </p:nvSpPr>
                              <p:spPr bwMode="auto">
                                <a:xfrm>
                                  <a:off x="7511123" y="1413534"/>
                                  <a:ext cx="492498" cy="660460"/>
                                </a:xfrm>
                                <a:custGeom>
                                  <a:avLst/>
                                  <a:gdLst>
                                    <a:gd name="T0" fmla="*/ 2147483647 w 524"/>
                                    <a:gd name="T1" fmla="*/ 0 h 691"/>
                                    <a:gd name="T2" fmla="*/ 2147483647 w 524"/>
                                    <a:gd name="T3" fmla="*/ 2147483647 h 691"/>
                                    <a:gd name="T4" fmla="*/ 2147483647 w 524"/>
                                    <a:gd name="T5" fmla="*/ 2147483647 h 691"/>
                                    <a:gd name="T6" fmla="*/ 2147483647 w 524"/>
                                    <a:gd name="T7" fmla="*/ 2147483647 h 691"/>
                                    <a:gd name="T8" fmla="*/ 2147483647 w 524"/>
                                    <a:gd name="T9" fmla="*/ 2147483647 h 691"/>
                                    <a:gd name="T10" fmla="*/ 2147483647 w 524"/>
                                    <a:gd name="T11" fmla="*/ 2147483647 h 691"/>
                                    <a:gd name="T12" fmla="*/ 0 w 524"/>
                                    <a:gd name="T13" fmla="*/ 2147483647 h 691"/>
                                    <a:gd name="T14" fmla="*/ 2147483647 w 524"/>
                                    <a:gd name="T15" fmla="*/ 2147483647 h 691"/>
                                    <a:gd name="T16" fmla="*/ 2147483647 w 524"/>
                                    <a:gd name="T17" fmla="*/ 2147483647 h 691"/>
                                    <a:gd name="T18" fmla="*/ 2147483647 w 524"/>
                                    <a:gd name="T19" fmla="*/ 2147483647 h 691"/>
                                    <a:gd name="T20" fmla="*/ 2147483647 w 524"/>
                                    <a:gd name="T21" fmla="*/ 2147483647 h 691"/>
                                    <a:gd name="T22" fmla="*/ 2147483647 w 524"/>
                                    <a:gd name="T23" fmla="*/ 2147483647 h 691"/>
                                    <a:gd name="T24" fmla="*/ 2147483647 w 524"/>
                                    <a:gd name="T25" fmla="*/ 2147483647 h 691"/>
                                    <a:gd name="T26" fmla="*/ 2147483647 w 524"/>
                                    <a:gd name="T27" fmla="*/ 2147483647 h 691"/>
                                    <a:gd name="T28" fmla="*/ 2147483647 w 524"/>
                                    <a:gd name="T29" fmla="*/ 2147483647 h 691"/>
                                    <a:gd name="T30" fmla="*/ 2147483647 w 524"/>
                                    <a:gd name="T31" fmla="*/ 2147483647 h 691"/>
                                    <a:gd name="T32" fmla="*/ 2147483647 w 524"/>
                                    <a:gd name="T33" fmla="*/ 2147483647 h 691"/>
                                    <a:gd name="T34" fmla="*/ 2147483647 w 524"/>
                                    <a:gd name="T35" fmla="*/ 2147483647 h 691"/>
                                    <a:gd name="T36" fmla="*/ 2147483647 w 524"/>
                                    <a:gd name="T37" fmla="*/ 2147483647 h 691"/>
                                    <a:gd name="T38" fmla="*/ 2147483647 w 524"/>
                                    <a:gd name="T39" fmla="*/ 2147483647 h 691"/>
                                    <a:gd name="T40" fmla="*/ 2147483647 w 524"/>
                                    <a:gd name="T41" fmla="*/ 2147483647 h 691"/>
                                    <a:gd name="T42" fmla="*/ 2147483647 w 524"/>
                                    <a:gd name="T43" fmla="*/ 2147483647 h 691"/>
                                    <a:gd name="T44" fmla="*/ 2147483647 w 524"/>
                                    <a:gd name="T45" fmla="*/ 2147483647 h 691"/>
                                    <a:gd name="T46" fmla="*/ 2147483647 w 524"/>
                                    <a:gd name="T47" fmla="*/ 2147483647 h 691"/>
                                    <a:gd name="T48" fmla="*/ 2147483647 w 524"/>
                                    <a:gd name="T49" fmla="*/ 2147483647 h 691"/>
                                    <a:gd name="T50" fmla="*/ 2147483647 w 524"/>
                                    <a:gd name="T51" fmla="*/ 2147483647 h 691"/>
                                    <a:gd name="T52" fmla="*/ 2147483647 w 524"/>
                                    <a:gd name="T53" fmla="*/ 2147483647 h 691"/>
                                    <a:gd name="T54" fmla="*/ 2147483647 w 524"/>
                                    <a:gd name="T55" fmla="*/ 2147483647 h 691"/>
                                    <a:gd name="T56" fmla="*/ 2147483647 w 524"/>
                                    <a:gd name="T57" fmla="*/ 2147483647 h 691"/>
                                    <a:gd name="T58" fmla="*/ 2147483647 w 524"/>
                                    <a:gd name="T59" fmla="*/ 2147483647 h 691"/>
                                    <a:gd name="T60" fmla="*/ 2147483647 w 524"/>
                                    <a:gd name="T61" fmla="*/ 2147483647 h 691"/>
                                    <a:gd name="T62" fmla="*/ 2147483647 w 524"/>
                                    <a:gd name="T63" fmla="*/ 2147483647 h 691"/>
                                    <a:gd name="T64" fmla="*/ 2147483647 w 524"/>
                                    <a:gd name="T65" fmla="*/ 2147483647 h 691"/>
                                    <a:gd name="T66" fmla="*/ 2147483647 w 524"/>
                                    <a:gd name="T67" fmla="*/ 2147483647 h 691"/>
                                    <a:gd name="T68" fmla="*/ 2147483647 w 524"/>
                                    <a:gd name="T69" fmla="*/ 2147483647 h 691"/>
                                    <a:gd name="T70" fmla="*/ 2147483647 w 524"/>
                                    <a:gd name="T71" fmla="*/ 2147483647 h 691"/>
                                    <a:gd name="T72" fmla="*/ 2147483647 w 524"/>
                                    <a:gd name="T73" fmla="*/ 2147483647 h 691"/>
                                    <a:gd name="T74" fmla="*/ 2147483647 w 524"/>
                                    <a:gd name="T75" fmla="*/ 2147483647 h 691"/>
                                    <a:gd name="T76" fmla="*/ 2147483647 w 524"/>
                                    <a:gd name="T77" fmla="*/ 2147483647 h 691"/>
                                    <a:gd name="T78" fmla="*/ 2147483647 w 524"/>
                                    <a:gd name="T79" fmla="*/ 2147483647 h 691"/>
                                    <a:gd name="T80" fmla="*/ 2147483647 w 524"/>
                                    <a:gd name="T81" fmla="*/ 2147483647 h 691"/>
                                    <a:gd name="T82" fmla="*/ 2147483647 w 524"/>
                                    <a:gd name="T83" fmla="*/ 2147483647 h 691"/>
                                    <a:gd name="T84" fmla="*/ 2147483647 w 524"/>
                                    <a:gd name="T85" fmla="*/ 0 h 69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24"/>
                                    <a:gd name="T130" fmla="*/ 0 h 691"/>
                                    <a:gd name="T131" fmla="*/ 524 w 524"/>
                                    <a:gd name="T132" fmla="*/ 691 h 69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24" h="691">
                                      <a:moveTo>
                                        <a:pt x="162" y="0"/>
                                      </a:moveTo>
                                      <a:lnTo>
                                        <a:pt x="162" y="74"/>
                                      </a:lnTo>
                                      <a:lnTo>
                                        <a:pt x="139" y="162"/>
                                      </a:lnTo>
                                      <a:lnTo>
                                        <a:pt x="114" y="235"/>
                                      </a:lnTo>
                                      <a:lnTo>
                                        <a:pt x="74" y="276"/>
                                      </a:lnTo>
                                      <a:lnTo>
                                        <a:pt x="25" y="301"/>
                                      </a:lnTo>
                                      <a:lnTo>
                                        <a:pt x="0" y="325"/>
                                      </a:lnTo>
                                      <a:lnTo>
                                        <a:pt x="49" y="325"/>
                                      </a:lnTo>
                                      <a:lnTo>
                                        <a:pt x="74" y="350"/>
                                      </a:lnTo>
                                      <a:lnTo>
                                        <a:pt x="74" y="374"/>
                                      </a:lnTo>
                                      <a:lnTo>
                                        <a:pt x="49" y="415"/>
                                      </a:lnTo>
                                      <a:lnTo>
                                        <a:pt x="74" y="487"/>
                                      </a:lnTo>
                                      <a:lnTo>
                                        <a:pt x="114" y="511"/>
                                      </a:lnTo>
                                      <a:lnTo>
                                        <a:pt x="139" y="487"/>
                                      </a:lnTo>
                                      <a:lnTo>
                                        <a:pt x="162" y="511"/>
                                      </a:lnTo>
                                      <a:lnTo>
                                        <a:pt x="162" y="527"/>
                                      </a:lnTo>
                                      <a:lnTo>
                                        <a:pt x="139" y="552"/>
                                      </a:lnTo>
                                      <a:lnTo>
                                        <a:pt x="114" y="601"/>
                                      </a:lnTo>
                                      <a:lnTo>
                                        <a:pt x="139" y="650"/>
                                      </a:lnTo>
                                      <a:lnTo>
                                        <a:pt x="186" y="691"/>
                                      </a:lnTo>
                                      <a:lnTo>
                                        <a:pt x="211" y="691"/>
                                      </a:lnTo>
                                      <a:lnTo>
                                        <a:pt x="186" y="601"/>
                                      </a:lnTo>
                                      <a:lnTo>
                                        <a:pt x="211" y="511"/>
                                      </a:lnTo>
                                      <a:lnTo>
                                        <a:pt x="251" y="462"/>
                                      </a:lnTo>
                                      <a:lnTo>
                                        <a:pt x="301" y="440"/>
                                      </a:lnTo>
                                      <a:lnTo>
                                        <a:pt x="366" y="415"/>
                                      </a:lnTo>
                                      <a:lnTo>
                                        <a:pt x="391" y="390"/>
                                      </a:lnTo>
                                      <a:lnTo>
                                        <a:pt x="391" y="350"/>
                                      </a:lnTo>
                                      <a:lnTo>
                                        <a:pt x="415" y="276"/>
                                      </a:lnTo>
                                      <a:lnTo>
                                        <a:pt x="415" y="235"/>
                                      </a:lnTo>
                                      <a:lnTo>
                                        <a:pt x="440" y="186"/>
                                      </a:lnTo>
                                      <a:lnTo>
                                        <a:pt x="464" y="162"/>
                                      </a:lnTo>
                                      <a:lnTo>
                                        <a:pt x="489" y="162"/>
                                      </a:lnTo>
                                      <a:lnTo>
                                        <a:pt x="524" y="136"/>
                                      </a:lnTo>
                                      <a:lnTo>
                                        <a:pt x="489" y="137"/>
                                      </a:lnTo>
                                      <a:lnTo>
                                        <a:pt x="440" y="112"/>
                                      </a:lnTo>
                                      <a:lnTo>
                                        <a:pt x="366" y="96"/>
                                      </a:lnTo>
                                      <a:lnTo>
                                        <a:pt x="325" y="74"/>
                                      </a:lnTo>
                                      <a:lnTo>
                                        <a:pt x="301" y="112"/>
                                      </a:lnTo>
                                      <a:lnTo>
                                        <a:pt x="301" y="74"/>
                                      </a:lnTo>
                                      <a:lnTo>
                                        <a:pt x="251" y="49"/>
                                      </a:lnTo>
                                      <a:lnTo>
                                        <a:pt x="227" y="25"/>
                                      </a:lnTo>
                                      <a:lnTo>
                                        <a:pt x="162" y="0"/>
                                      </a:lnTo>
                                      <a:close/>
                                    </a:path>
                                  </a:pathLst>
                                </a:custGeom>
                                <a:solidFill>
                                  <a:srgbClr val="FFFFFF"/>
                                </a:solidFill>
                                <a:ln w="9360">
                                  <a:solidFill>
                                    <a:srgbClr val="969696"/>
                                  </a:solidFill>
                                  <a:round/>
                                  <a:headEnd/>
                                  <a:tailEnd/>
                                </a:ln>
                              </p:spPr>
                              <p:txBody>
                                <a:bodyPr wrap="none" anchor="ctr"/>
                                <a:lstStyle/>
                                <a:p>
                                  <a:endParaRPr lang="pt-BR"/>
                                </a:p>
                              </p:txBody>
                            </p:sp>
                            <p:sp>
                              <p:nvSpPr>
                                <p:cNvPr id="331" name="Freeform 18"/>
                                <p:cNvSpPr>
                                  <a:spLocks noChangeArrowheads="1"/>
                                </p:cNvSpPr>
                                <p:nvPr/>
                              </p:nvSpPr>
                              <p:spPr bwMode="auto">
                                <a:xfrm>
                                  <a:off x="7356370" y="1722685"/>
                                  <a:ext cx="350171" cy="614790"/>
                                </a:xfrm>
                                <a:custGeom>
                                  <a:avLst/>
                                  <a:gdLst>
                                    <a:gd name="T0" fmla="*/ 2147483647 w 183"/>
                                    <a:gd name="T1" fmla="*/ 0 h 314"/>
                                    <a:gd name="T2" fmla="*/ 2147483647 w 183"/>
                                    <a:gd name="T3" fmla="*/ 2147483647 h 314"/>
                                    <a:gd name="T4" fmla="*/ 2147483647 w 183"/>
                                    <a:gd name="T5" fmla="*/ 2147483647 h 314"/>
                                    <a:gd name="T6" fmla="*/ 2147483647 w 183"/>
                                    <a:gd name="T7" fmla="*/ 2147483647 h 314"/>
                                    <a:gd name="T8" fmla="*/ 2147483647 w 183"/>
                                    <a:gd name="T9" fmla="*/ 2147483647 h 314"/>
                                    <a:gd name="T10" fmla="*/ 2147483647 w 183"/>
                                    <a:gd name="T11" fmla="*/ 2147483647 h 314"/>
                                    <a:gd name="T12" fmla="*/ 2147483647 w 183"/>
                                    <a:gd name="T13" fmla="*/ 2147483647 h 314"/>
                                    <a:gd name="T14" fmla="*/ 2147483647 w 183"/>
                                    <a:gd name="T15" fmla="*/ 2147483647 h 314"/>
                                    <a:gd name="T16" fmla="*/ 0 w 183"/>
                                    <a:gd name="T17" fmla="*/ 2147483647 h 314"/>
                                    <a:gd name="T18" fmla="*/ 0 w 183"/>
                                    <a:gd name="T19" fmla="*/ 2147483647 h 314"/>
                                    <a:gd name="T20" fmla="*/ 2147483647 w 183"/>
                                    <a:gd name="T21" fmla="*/ 2147483647 h 314"/>
                                    <a:gd name="T22" fmla="*/ 0 w 183"/>
                                    <a:gd name="T23" fmla="*/ 2147483647 h 314"/>
                                    <a:gd name="T24" fmla="*/ 2147483647 w 183"/>
                                    <a:gd name="T25" fmla="*/ 2147483647 h 314"/>
                                    <a:gd name="T26" fmla="*/ 2147483647 w 183"/>
                                    <a:gd name="T27" fmla="*/ 2147483647 h 314"/>
                                    <a:gd name="T28" fmla="*/ 2147483647 w 183"/>
                                    <a:gd name="T29" fmla="*/ 2147483647 h 314"/>
                                    <a:gd name="T30" fmla="*/ 2147483647 w 183"/>
                                    <a:gd name="T31" fmla="*/ 2147483647 h 314"/>
                                    <a:gd name="T32" fmla="*/ 2147483647 w 183"/>
                                    <a:gd name="T33" fmla="*/ 2147483647 h 314"/>
                                    <a:gd name="T34" fmla="*/ 2147483647 w 183"/>
                                    <a:gd name="T35" fmla="*/ 2147483647 h 314"/>
                                    <a:gd name="T36" fmla="*/ 2147483647 w 183"/>
                                    <a:gd name="T37" fmla="*/ 2147483647 h 314"/>
                                    <a:gd name="T38" fmla="*/ 2147483647 w 183"/>
                                    <a:gd name="T39" fmla="*/ 2147483647 h 314"/>
                                    <a:gd name="T40" fmla="*/ 2147483647 w 183"/>
                                    <a:gd name="T41" fmla="*/ 2147483647 h 314"/>
                                    <a:gd name="T42" fmla="*/ 2147483647 w 183"/>
                                    <a:gd name="T43" fmla="*/ 2147483647 h 314"/>
                                    <a:gd name="T44" fmla="*/ 2147483647 w 183"/>
                                    <a:gd name="T45" fmla="*/ 2147483647 h 314"/>
                                    <a:gd name="T46" fmla="*/ 2147483647 w 183"/>
                                    <a:gd name="T47" fmla="*/ 2147483647 h 314"/>
                                    <a:gd name="T48" fmla="*/ 2147483647 w 183"/>
                                    <a:gd name="T49" fmla="*/ 2147483647 h 314"/>
                                    <a:gd name="T50" fmla="*/ 2147483647 w 183"/>
                                    <a:gd name="T51" fmla="*/ 2147483647 h 314"/>
                                    <a:gd name="T52" fmla="*/ 2147483647 w 183"/>
                                    <a:gd name="T53" fmla="*/ 2147483647 h 314"/>
                                    <a:gd name="T54" fmla="*/ 2147483647 w 183"/>
                                    <a:gd name="T55" fmla="*/ 2147483647 h 314"/>
                                    <a:gd name="T56" fmla="*/ 2147483647 w 183"/>
                                    <a:gd name="T57" fmla="*/ 2147483647 h 314"/>
                                    <a:gd name="T58" fmla="*/ 2147483647 w 183"/>
                                    <a:gd name="T59" fmla="*/ 2147483647 h 314"/>
                                    <a:gd name="T60" fmla="*/ 2147483647 w 183"/>
                                    <a:gd name="T61" fmla="*/ 2147483647 h 314"/>
                                    <a:gd name="T62" fmla="*/ 2147483647 w 183"/>
                                    <a:gd name="T63" fmla="*/ 2147483647 h 314"/>
                                    <a:gd name="T64" fmla="*/ 2147483647 w 183"/>
                                    <a:gd name="T65" fmla="*/ 2147483647 h 314"/>
                                    <a:gd name="T66" fmla="*/ 2147483647 w 183"/>
                                    <a:gd name="T67" fmla="*/ 2147483647 h 314"/>
                                    <a:gd name="T68" fmla="*/ 2147483647 w 183"/>
                                    <a:gd name="T69" fmla="*/ 2147483647 h 314"/>
                                    <a:gd name="T70" fmla="*/ 2147483647 w 183"/>
                                    <a:gd name="T71" fmla="*/ 2147483647 h 314"/>
                                    <a:gd name="T72" fmla="*/ 2147483647 w 183"/>
                                    <a:gd name="T73" fmla="*/ 2147483647 h 314"/>
                                    <a:gd name="T74" fmla="*/ 2147483647 w 183"/>
                                    <a:gd name="T75" fmla="*/ 0 h 314"/>
                                    <a:gd name="T76" fmla="*/ 2147483647 w 183"/>
                                    <a:gd name="T77" fmla="*/ 0 h 31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83"/>
                                    <a:gd name="T118" fmla="*/ 0 h 314"/>
                                    <a:gd name="T119" fmla="*/ 183 w 183"/>
                                    <a:gd name="T120" fmla="*/ 314 h 31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83" h="314">
                                      <a:moveTo>
                                        <a:pt x="80" y="0"/>
                                      </a:moveTo>
                                      <a:lnTo>
                                        <a:pt x="92" y="12"/>
                                      </a:lnTo>
                                      <a:lnTo>
                                        <a:pt x="92" y="24"/>
                                      </a:lnTo>
                                      <a:lnTo>
                                        <a:pt x="56" y="56"/>
                                      </a:lnTo>
                                      <a:lnTo>
                                        <a:pt x="48" y="79"/>
                                      </a:lnTo>
                                      <a:lnTo>
                                        <a:pt x="48" y="111"/>
                                      </a:lnTo>
                                      <a:lnTo>
                                        <a:pt x="36" y="135"/>
                                      </a:lnTo>
                                      <a:lnTo>
                                        <a:pt x="12" y="167"/>
                                      </a:lnTo>
                                      <a:lnTo>
                                        <a:pt x="0" y="203"/>
                                      </a:lnTo>
                                      <a:lnTo>
                                        <a:pt x="0" y="235"/>
                                      </a:lnTo>
                                      <a:lnTo>
                                        <a:pt x="12" y="270"/>
                                      </a:lnTo>
                                      <a:lnTo>
                                        <a:pt x="0" y="302"/>
                                      </a:lnTo>
                                      <a:lnTo>
                                        <a:pt x="12" y="302"/>
                                      </a:lnTo>
                                      <a:lnTo>
                                        <a:pt x="36" y="294"/>
                                      </a:lnTo>
                                      <a:lnTo>
                                        <a:pt x="56" y="294"/>
                                      </a:lnTo>
                                      <a:lnTo>
                                        <a:pt x="68" y="302"/>
                                      </a:lnTo>
                                      <a:lnTo>
                                        <a:pt x="92" y="314"/>
                                      </a:lnTo>
                                      <a:lnTo>
                                        <a:pt x="104" y="302"/>
                                      </a:lnTo>
                                      <a:lnTo>
                                        <a:pt x="124" y="294"/>
                                      </a:lnTo>
                                      <a:lnTo>
                                        <a:pt x="171" y="302"/>
                                      </a:lnTo>
                                      <a:lnTo>
                                        <a:pt x="171" y="258"/>
                                      </a:lnTo>
                                      <a:lnTo>
                                        <a:pt x="159" y="227"/>
                                      </a:lnTo>
                                      <a:lnTo>
                                        <a:pt x="171" y="203"/>
                                      </a:lnTo>
                                      <a:lnTo>
                                        <a:pt x="183" y="191"/>
                                      </a:lnTo>
                                      <a:lnTo>
                                        <a:pt x="183" y="179"/>
                                      </a:lnTo>
                                      <a:lnTo>
                                        <a:pt x="171" y="179"/>
                                      </a:lnTo>
                                      <a:lnTo>
                                        <a:pt x="148" y="159"/>
                                      </a:lnTo>
                                      <a:lnTo>
                                        <a:pt x="136" y="135"/>
                                      </a:lnTo>
                                      <a:lnTo>
                                        <a:pt x="148" y="111"/>
                                      </a:lnTo>
                                      <a:lnTo>
                                        <a:pt x="159" y="99"/>
                                      </a:lnTo>
                                      <a:lnTo>
                                        <a:pt x="159" y="91"/>
                                      </a:lnTo>
                                      <a:lnTo>
                                        <a:pt x="148" y="79"/>
                                      </a:lnTo>
                                      <a:lnTo>
                                        <a:pt x="136" y="91"/>
                                      </a:lnTo>
                                      <a:lnTo>
                                        <a:pt x="116" y="79"/>
                                      </a:lnTo>
                                      <a:lnTo>
                                        <a:pt x="104" y="44"/>
                                      </a:lnTo>
                                      <a:lnTo>
                                        <a:pt x="116" y="24"/>
                                      </a:lnTo>
                                      <a:lnTo>
                                        <a:pt x="116" y="12"/>
                                      </a:lnTo>
                                      <a:lnTo>
                                        <a:pt x="104" y="0"/>
                                      </a:lnTo>
                                      <a:lnTo>
                                        <a:pt x="80" y="0"/>
                                      </a:lnTo>
                                      <a:close/>
                                    </a:path>
                                  </a:pathLst>
                                </a:custGeom>
                                <a:solidFill>
                                  <a:srgbClr val="FFFFFF"/>
                                </a:solidFill>
                                <a:ln w="9360">
                                  <a:solidFill>
                                    <a:srgbClr val="969696"/>
                                  </a:solidFill>
                                  <a:round/>
                                  <a:headEnd/>
                                  <a:tailEnd/>
                                </a:ln>
                              </p:spPr>
                              <p:txBody>
                                <a:bodyPr wrap="none" anchor="ctr"/>
                                <a:lstStyle/>
                                <a:p>
                                  <a:endParaRPr lang="pt-BR"/>
                                </a:p>
                              </p:txBody>
                            </p:sp>
                            <p:sp>
                              <p:nvSpPr>
                                <p:cNvPr id="332" name="Freeform 20"/>
                                <p:cNvSpPr>
                                  <a:spLocks noChangeArrowheads="1"/>
                                </p:cNvSpPr>
                                <p:nvPr/>
                              </p:nvSpPr>
                              <p:spPr bwMode="auto">
                                <a:xfrm>
                                  <a:off x="6946331" y="2585733"/>
                                  <a:ext cx="433760" cy="483634"/>
                                </a:xfrm>
                                <a:custGeom>
                                  <a:avLst/>
                                  <a:gdLst>
                                    <a:gd name="T0" fmla="*/ 2147483647 w 226"/>
                                    <a:gd name="T1" fmla="*/ 2147483647 h 247"/>
                                    <a:gd name="T2" fmla="*/ 2147483647 w 226"/>
                                    <a:gd name="T3" fmla="*/ 2147483647 h 247"/>
                                    <a:gd name="T4" fmla="*/ 2147483647 w 226"/>
                                    <a:gd name="T5" fmla="*/ 0 h 247"/>
                                    <a:gd name="T6" fmla="*/ 2147483647 w 226"/>
                                    <a:gd name="T7" fmla="*/ 0 h 247"/>
                                    <a:gd name="T8" fmla="*/ 2147483647 w 226"/>
                                    <a:gd name="T9" fmla="*/ 2147483647 h 247"/>
                                    <a:gd name="T10" fmla="*/ 2147483647 w 226"/>
                                    <a:gd name="T11" fmla="*/ 2147483647 h 247"/>
                                    <a:gd name="T12" fmla="*/ 2147483647 w 226"/>
                                    <a:gd name="T13" fmla="*/ 2147483647 h 247"/>
                                    <a:gd name="T14" fmla="*/ 2147483647 w 226"/>
                                    <a:gd name="T15" fmla="*/ 2147483647 h 247"/>
                                    <a:gd name="T16" fmla="*/ 0 w 226"/>
                                    <a:gd name="T17" fmla="*/ 2147483647 h 247"/>
                                    <a:gd name="T18" fmla="*/ 0 w 226"/>
                                    <a:gd name="T19" fmla="*/ 2147483647 h 247"/>
                                    <a:gd name="T20" fmla="*/ 2147483647 w 226"/>
                                    <a:gd name="T21" fmla="*/ 2147483647 h 247"/>
                                    <a:gd name="T22" fmla="*/ 2147483647 w 226"/>
                                    <a:gd name="T23" fmla="*/ 2147483647 h 247"/>
                                    <a:gd name="T24" fmla="*/ 0 w 226"/>
                                    <a:gd name="T25" fmla="*/ 2147483647 h 247"/>
                                    <a:gd name="T26" fmla="*/ 0 w 226"/>
                                    <a:gd name="T27" fmla="*/ 2147483647 h 247"/>
                                    <a:gd name="T28" fmla="*/ 2147483647 w 226"/>
                                    <a:gd name="T29" fmla="*/ 2147483647 h 247"/>
                                    <a:gd name="T30" fmla="*/ 2147483647 w 226"/>
                                    <a:gd name="T31" fmla="*/ 2147483647 h 247"/>
                                    <a:gd name="T32" fmla="*/ 2147483647 w 226"/>
                                    <a:gd name="T33" fmla="*/ 2147483647 h 247"/>
                                    <a:gd name="T34" fmla="*/ 2147483647 w 226"/>
                                    <a:gd name="T35" fmla="*/ 2147483647 h 247"/>
                                    <a:gd name="T36" fmla="*/ 2147483647 w 226"/>
                                    <a:gd name="T37" fmla="*/ 2147483647 h 247"/>
                                    <a:gd name="T38" fmla="*/ 2147483647 w 226"/>
                                    <a:gd name="T39" fmla="*/ 2147483647 h 247"/>
                                    <a:gd name="T40" fmla="*/ 2147483647 w 226"/>
                                    <a:gd name="T41" fmla="*/ 2147483647 h 247"/>
                                    <a:gd name="T42" fmla="*/ 2147483647 w 226"/>
                                    <a:gd name="T43" fmla="*/ 2147483647 h 247"/>
                                    <a:gd name="T44" fmla="*/ 2147483647 w 226"/>
                                    <a:gd name="T45" fmla="*/ 2147483647 h 247"/>
                                    <a:gd name="T46" fmla="*/ 2147483647 w 226"/>
                                    <a:gd name="T47" fmla="*/ 2147483647 h 247"/>
                                    <a:gd name="T48" fmla="*/ 2147483647 w 226"/>
                                    <a:gd name="T49" fmla="*/ 2147483647 h 247"/>
                                    <a:gd name="T50" fmla="*/ 2147483647 w 226"/>
                                    <a:gd name="T51" fmla="*/ 2147483647 h 247"/>
                                    <a:gd name="T52" fmla="*/ 2147483647 w 226"/>
                                    <a:gd name="T53" fmla="*/ 2147483647 h 247"/>
                                    <a:gd name="T54" fmla="*/ 2147483647 w 226"/>
                                    <a:gd name="T55" fmla="*/ 2147483647 h 247"/>
                                    <a:gd name="T56" fmla="*/ 2147483647 w 226"/>
                                    <a:gd name="T57" fmla="*/ 2147483647 h 247"/>
                                    <a:gd name="T58" fmla="*/ 2147483647 w 226"/>
                                    <a:gd name="T59" fmla="*/ 2147483647 h 247"/>
                                    <a:gd name="T60" fmla="*/ 2147483647 w 226"/>
                                    <a:gd name="T61" fmla="*/ 2147483647 h 24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26"/>
                                    <a:gd name="T94" fmla="*/ 0 h 247"/>
                                    <a:gd name="T95" fmla="*/ 226 w 226"/>
                                    <a:gd name="T96" fmla="*/ 247 h 247"/>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26" h="247">
                                      <a:moveTo>
                                        <a:pt x="135" y="8"/>
                                      </a:moveTo>
                                      <a:lnTo>
                                        <a:pt x="127" y="8"/>
                                      </a:lnTo>
                                      <a:lnTo>
                                        <a:pt x="115" y="0"/>
                                      </a:lnTo>
                                      <a:lnTo>
                                        <a:pt x="103" y="0"/>
                                      </a:lnTo>
                                      <a:lnTo>
                                        <a:pt x="91" y="8"/>
                                      </a:lnTo>
                                      <a:lnTo>
                                        <a:pt x="67" y="20"/>
                                      </a:lnTo>
                                      <a:lnTo>
                                        <a:pt x="35" y="8"/>
                                      </a:lnTo>
                                      <a:lnTo>
                                        <a:pt x="12" y="8"/>
                                      </a:lnTo>
                                      <a:lnTo>
                                        <a:pt x="0" y="20"/>
                                      </a:lnTo>
                                      <a:lnTo>
                                        <a:pt x="0" y="56"/>
                                      </a:lnTo>
                                      <a:lnTo>
                                        <a:pt x="12" y="68"/>
                                      </a:lnTo>
                                      <a:lnTo>
                                        <a:pt x="12" y="88"/>
                                      </a:lnTo>
                                      <a:lnTo>
                                        <a:pt x="0" y="112"/>
                                      </a:lnTo>
                                      <a:lnTo>
                                        <a:pt x="0" y="179"/>
                                      </a:lnTo>
                                      <a:lnTo>
                                        <a:pt x="12" y="191"/>
                                      </a:lnTo>
                                      <a:lnTo>
                                        <a:pt x="59" y="191"/>
                                      </a:lnTo>
                                      <a:lnTo>
                                        <a:pt x="67" y="203"/>
                                      </a:lnTo>
                                      <a:lnTo>
                                        <a:pt x="79" y="235"/>
                                      </a:lnTo>
                                      <a:lnTo>
                                        <a:pt x="91" y="247"/>
                                      </a:lnTo>
                                      <a:lnTo>
                                        <a:pt x="115" y="247"/>
                                      </a:lnTo>
                                      <a:lnTo>
                                        <a:pt x="115" y="235"/>
                                      </a:lnTo>
                                      <a:lnTo>
                                        <a:pt x="135" y="203"/>
                                      </a:lnTo>
                                      <a:lnTo>
                                        <a:pt x="147" y="191"/>
                                      </a:lnTo>
                                      <a:lnTo>
                                        <a:pt x="183" y="156"/>
                                      </a:lnTo>
                                      <a:lnTo>
                                        <a:pt x="202" y="124"/>
                                      </a:lnTo>
                                      <a:lnTo>
                                        <a:pt x="226" y="88"/>
                                      </a:lnTo>
                                      <a:lnTo>
                                        <a:pt x="226" y="68"/>
                                      </a:lnTo>
                                      <a:lnTo>
                                        <a:pt x="202" y="68"/>
                                      </a:lnTo>
                                      <a:lnTo>
                                        <a:pt x="159" y="32"/>
                                      </a:lnTo>
                                      <a:lnTo>
                                        <a:pt x="135" y="20"/>
                                      </a:lnTo>
                                      <a:lnTo>
                                        <a:pt x="135" y="8"/>
                                      </a:lnTo>
                                      <a:close/>
                                    </a:path>
                                  </a:pathLst>
                                </a:custGeom>
                                <a:solidFill>
                                  <a:srgbClr val="FFFFFF"/>
                                </a:solidFill>
                                <a:ln w="9360">
                                  <a:solidFill>
                                    <a:srgbClr val="969696"/>
                                  </a:solidFill>
                                  <a:round/>
                                  <a:headEnd/>
                                  <a:tailEnd/>
                                </a:ln>
                              </p:spPr>
                              <p:txBody>
                                <a:bodyPr wrap="none" anchor="ctr"/>
                                <a:lstStyle/>
                                <a:p>
                                  <a:endParaRPr lang="pt-BR"/>
                                </a:p>
                              </p:txBody>
                            </p:sp>
                            <p:sp>
                              <p:nvSpPr>
                                <p:cNvPr id="333" name="Freeform 21"/>
                                <p:cNvSpPr>
                                  <a:spLocks noChangeArrowheads="1"/>
                                </p:cNvSpPr>
                                <p:nvPr/>
                              </p:nvSpPr>
                              <p:spPr bwMode="auto">
                                <a:xfrm>
                                  <a:off x="6646993" y="1877260"/>
                                  <a:ext cx="734229" cy="771708"/>
                                </a:xfrm>
                                <a:custGeom>
                                  <a:avLst/>
                                  <a:gdLst>
                                    <a:gd name="T0" fmla="*/ 2147483647 w 382"/>
                                    <a:gd name="T1" fmla="*/ 2147483647 h 394"/>
                                    <a:gd name="T2" fmla="*/ 2147483647 w 382"/>
                                    <a:gd name="T3" fmla="*/ 2147483647 h 394"/>
                                    <a:gd name="T4" fmla="*/ 2147483647 w 382"/>
                                    <a:gd name="T5" fmla="*/ 2147483647 h 394"/>
                                    <a:gd name="T6" fmla="*/ 2147483647 w 382"/>
                                    <a:gd name="T7" fmla="*/ 2147483647 h 394"/>
                                    <a:gd name="T8" fmla="*/ 2147483647 w 382"/>
                                    <a:gd name="T9" fmla="*/ 2147483647 h 394"/>
                                    <a:gd name="T10" fmla="*/ 2147483647 w 382"/>
                                    <a:gd name="T11" fmla="*/ 0 h 394"/>
                                    <a:gd name="T12" fmla="*/ 2147483647 w 382"/>
                                    <a:gd name="T13" fmla="*/ 2147483647 h 394"/>
                                    <a:gd name="T14" fmla="*/ 2147483647 w 382"/>
                                    <a:gd name="T15" fmla="*/ 2147483647 h 394"/>
                                    <a:gd name="T16" fmla="*/ 2147483647 w 382"/>
                                    <a:gd name="T17" fmla="*/ 2147483647 h 394"/>
                                    <a:gd name="T18" fmla="*/ 2147483647 w 382"/>
                                    <a:gd name="T19" fmla="*/ 2147483647 h 394"/>
                                    <a:gd name="T20" fmla="*/ 0 w 382"/>
                                    <a:gd name="T21" fmla="*/ 2147483647 h 394"/>
                                    <a:gd name="T22" fmla="*/ 0 w 382"/>
                                    <a:gd name="T23" fmla="*/ 2147483647 h 394"/>
                                    <a:gd name="T24" fmla="*/ 2147483647 w 382"/>
                                    <a:gd name="T25" fmla="*/ 2147483647 h 394"/>
                                    <a:gd name="T26" fmla="*/ 2147483647 w 382"/>
                                    <a:gd name="T27" fmla="*/ 2147483647 h 394"/>
                                    <a:gd name="T28" fmla="*/ 2147483647 w 382"/>
                                    <a:gd name="T29" fmla="*/ 2147483647 h 394"/>
                                    <a:gd name="T30" fmla="*/ 2147483647 w 382"/>
                                    <a:gd name="T31" fmla="*/ 2147483647 h 394"/>
                                    <a:gd name="T32" fmla="*/ 2147483647 w 382"/>
                                    <a:gd name="T33" fmla="*/ 2147483647 h 394"/>
                                    <a:gd name="T34" fmla="*/ 2147483647 w 382"/>
                                    <a:gd name="T35" fmla="*/ 2147483647 h 394"/>
                                    <a:gd name="T36" fmla="*/ 2147483647 w 382"/>
                                    <a:gd name="T37" fmla="*/ 2147483647 h 394"/>
                                    <a:gd name="T38" fmla="*/ 2147483647 w 382"/>
                                    <a:gd name="T39" fmla="*/ 2147483647 h 394"/>
                                    <a:gd name="T40" fmla="*/ 2147483647 w 382"/>
                                    <a:gd name="T41" fmla="*/ 2147483647 h 394"/>
                                    <a:gd name="T42" fmla="*/ 2147483647 w 382"/>
                                    <a:gd name="T43" fmla="*/ 2147483647 h 394"/>
                                    <a:gd name="T44" fmla="*/ 2147483647 w 382"/>
                                    <a:gd name="T45" fmla="*/ 2147483647 h 394"/>
                                    <a:gd name="T46" fmla="*/ 2147483647 w 382"/>
                                    <a:gd name="T47" fmla="*/ 2147483647 h 394"/>
                                    <a:gd name="T48" fmla="*/ 2147483647 w 382"/>
                                    <a:gd name="T49" fmla="*/ 2147483647 h 394"/>
                                    <a:gd name="T50" fmla="*/ 2147483647 w 382"/>
                                    <a:gd name="T51" fmla="*/ 2147483647 h 394"/>
                                    <a:gd name="T52" fmla="*/ 2147483647 w 382"/>
                                    <a:gd name="T53" fmla="*/ 2147483647 h 394"/>
                                    <a:gd name="T54" fmla="*/ 2147483647 w 382"/>
                                    <a:gd name="T55" fmla="*/ 2147483647 h 394"/>
                                    <a:gd name="T56" fmla="*/ 2147483647 w 382"/>
                                    <a:gd name="T57" fmla="*/ 2147483647 h 394"/>
                                    <a:gd name="T58" fmla="*/ 2147483647 w 382"/>
                                    <a:gd name="T59" fmla="*/ 2147483647 h 394"/>
                                    <a:gd name="T60" fmla="*/ 2147483647 w 382"/>
                                    <a:gd name="T61" fmla="*/ 2147483647 h 394"/>
                                    <a:gd name="T62" fmla="*/ 2147483647 w 382"/>
                                    <a:gd name="T63" fmla="*/ 2147483647 h 394"/>
                                    <a:gd name="T64" fmla="*/ 2147483647 w 382"/>
                                    <a:gd name="T65" fmla="*/ 2147483647 h 394"/>
                                    <a:gd name="T66" fmla="*/ 2147483647 w 382"/>
                                    <a:gd name="T67" fmla="*/ 2147483647 h 394"/>
                                    <a:gd name="T68" fmla="*/ 2147483647 w 382"/>
                                    <a:gd name="T69" fmla="*/ 2147483647 h 394"/>
                                    <a:gd name="T70" fmla="*/ 2147483647 w 382"/>
                                    <a:gd name="T71" fmla="*/ 2147483647 h 394"/>
                                    <a:gd name="T72" fmla="*/ 2147483647 w 382"/>
                                    <a:gd name="T73" fmla="*/ 2147483647 h 394"/>
                                    <a:gd name="T74" fmla="*/ 2147483647 w 382"/>
                                    <a:gd name="T75" fmla="*/ 2147483647 h 394"/>
                                    <a:gd name="T76" fmla="*/ 2147483647 w 382"/>
                                    <a:gd name="T77" fmla="*/ 2147483647 h 394"/>
                                    <a:gd name="T78" fmla="*/ 2147483647 w 382"/>
                                    <a:gd name="T79" fmla="*/ 2147483647 h 394"/>
                                    <a:gd name="T80" fmla="*/ 2147483647 w 382"/>
                                    <a:gd name="T81" fmla="*/ 2147483647 h 394"/>
                                    <a:gd name="T82" fmla="*/ 2147483647 w 382"/>
                                    <a:gd name="T83" fmla="*/ 2147483647 h 394"/>
                                    <a:gd name="T84" fmla="*/ 2147483647 w 382"/>
                                    <a:gd name="T85" fmla="*/ 2147483647 h 394"/>
                                    <a:gd name="T86" fmla="*/ 2147483647 w 382"/>
                                    <a:gd name="T87" fmla="*/ 2147483647 h 39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82"/>
                                    <a:gd name="T133" fmla="*/ 0 h 394"/>
                                    <a:gd name="T134" fmla="*/ 382 w 382"/>
                                    <a:gd name="T135" fmla="*/ 394 h 39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82" h="394">
                                      <a:moveTo>
                                        <a:pt x="382" y="88"/>
                                      </a:moveTo>
                                      <a:lnTo>
                                        <a:pt x="179" y="80"/>
                                      </a:lnTo>
                                      <a:lnTo>
                                        <a:pt x="156" y="68"/>
                                      </a:lnTo>
                                      <a:lnTo>
                                        <a:pt x="148" y="56"/>
                                      </a:lnTo>
                                      <a:lnTo>
                                        <a:pt x="136" y="32"/>
                                      </a:lnTo>
                                      <a:lnTo>
                                        <a:pt x="112" y="0"/>
                                      </a:lnTo>
                                      <a:lnTo>
                                        <a:pt x="112" y="20"/>
                                      </a:lnTo>
                                      <a:lnTo>
                                        <a:pt x="100" y="44"/>
                                      </a:lnTo>
                                      <a:lnTo>
                                        <a:pt x="100" y="68"/>
                                      </a:lnTo>
                                      <a:lnTo>
                                        <a:pt x="8" y="68"/>
                                      </a:lnTo>
                                      <a:lnTo>
                                        <a:pt x="0" y="88"/>
                                      </a:lnTo>
                                      <a:lnTo>
                                        <a:pt x="0" y="148"/>
                                      </a:lnTo>
                                      <a:lnTo>
                                        <a:pt x="56" y="156"/>
                                      </a:lnTo>
                                      <a:lnTo>
                                        <a:pt x="56" y="203"/>
                                      </a:lnTo>
                                      <a:lnTo>
                                        <a:pt x="32" y="247"/>
                                      </a:lnTo>
                                      <a:lnTo>
                                        <a:pt x="44" y="283"/>
                                      </a:lnTo>
                                      <a:lnTo>
                                        <a:pt x="32" y="295"/>
                                      </a:lnTo>
                                      <a:lnTo>
                                        <a:pt x="44" y="315"/>
                                      </a:lnTo>
                                      <a:lnTo>
                                        <a:pt x="44" y="339"/>
                                      </a:lnTo>
                                      <a:lnTo>
                                        <a:pt x="100" y="350"/>
                                      </a:lnTo>
                                      <a:lnTo>
                                        <a:pt x="124" y="350"/>
                                      </a:lnTo>
                                      <a:lnTo>
                                        <a:pt x="124" y="362"/>
                                      </a:lnTo>
                                      <a:lnTo>
                                        <a:pt x="136" y="382"/>
                                      </a:lnTo>
                                      <a:lnTo>
                                        <a:pt x="156" y="394"/>
                                      </a:lnTo>
                                      <a:lnTo>
                                        <a:pt x="156" y="382"/>
                                      </a:lnTo>
                                      <a:lnTo>
                                        <a:pt x="168" y="370"/>
                                      </a:lnTo>
                                      <a:lnTo>
                                        <a:pt x="191" y="370"/>
                                      </a:lnTo>
                                      <a:lnTo>
                                        <a:pt x="223" y="382"/>
                                      </a:lnTo>
                                      <a:lnTo>
                                        <a:pt x="247" y="370"/>
                                      </a:lnTo>
                                      <a:lnTo>
                                        <a:pt x="259" y="362"/>
                                      </a:lnTo>
                                      <a:lnTo>
                                        <a:pt x="271" y="362"/>
                                      </a:lnTo>
                                      <a:lnTo>
                                        <a:pt x="283" y="370"/>
                                      </a:lnTo>
                                      <a:lnTo>
                                        <a:pt x="291" y="370"/>
                                      </a:lnTo>
                                      <a:lnTo>
                                        <a:pt x="291" y="362"/>
                                      </a:lnTo>
                                      <a:lnTo>
                                        <a:pt x="303" y="327"/>
                                      </a:lnTo>
                                      <a:lnTo>
                                        <a:pt x="327" y="303"/>
                                      </a:lnTo>
                                      <a:lnTo>
                                        <a:pt x="339" y="283"/>
                                      </a:lnTo>
                                      <a:lnTo>
                                        <a:pt x="358" y="271"/>
                                      </a:lnTo>
                                      <a:lnTo>
                                        <a:pt x="370" y="247"/>
                                      </a:lnTo>
                                      <a:lnTo>
                                        <a:pt x="370" y="223"/>
                                      </a:lnTo>
                                      <a:lnTo>
                                        <a:pt x="382" y="191"/>
                                      </a:lnTo>
                                      <a:lnTo>
                                        <a:pt x="370" y="156"/>
                                      </a:lnTo>
                                      <a:lnTo>
                                        <a:pt x="370" y="124"/>
                                      </a:lnTo>
                                      <a:lnTo>
                                        <a:pt x="382" y="88"/>
                                      </a:lnTo>
                                      <a:close/>
                                    </a:path>
                                  </a:pathLst>
                                </a:custGeom>
                                <a:solidFill>
                                  <a:srgbClr val="FFFFFF"/>
                                </a:solidFill>
                                <a:ln w="9360">
                                  <a:solidFill>
                                    <a:srgbClr val="969696"/>
                                  </a:solidFill>
                                  <a:round/>
                                  <a:headEnd/>
                                  <a:tailEnd/>
                                </a:ln>
                              </p:spPr>
                              <p:txBody>
                                <a:bodyPr wrap="none" anchor="ctr"/>
                                <a:lstStyle/>
                                <a:p>
                                  <a:endParaRPr lang="pt-BR"/>
                                </a:p>
                              </p:txBody>
                            </p:sp>
                            <p:sp>
                              <p:nvSpPr>
                                <p:cNvPr id="334" name="Freeform 22"/>
                                <p:cNvSpPr>
                                  <a:spLocks noChangeArrowheads="1"/>
                                </p:cNvSpPr>
                                <p:nvPr/>
                              </p:nvSpPr>
                              <p:spPr bwMode="auto">
                                <a:xfrm>
                                  <a:off x="6274231" y="1941666"/>
                                  <a:ext cx="478943" cy="418058"/>
                                </a:xfrm>
                                <a:custGeom>
                                  <a:avLst/>
                                  <a:gdLst>
                                    <a:gd name="T0" fmla="*/ 2147483647 w 250"/>
                                    <a:gd name="T1" fmla="*/ 2147483647 h 215"/>
                                    <a:gd name="T2" fmla="*/ 2147483647 w 250"/>
                                    <a:gd name="T3" fmla="*/ 2147483647 h 215"/>
                                    <a:gd name="T4" fmla="*/ 2147483647 w 250"/>
                                    <a:gd name="T5" fmla="*/ 2147483647 h 215"/>
                                    <a:gd name="T6" fmla="*/ 2147483647 w 250"/>
                                    <a:gd name="T7" fmla="*/ 2147483647 h 215"/>
                                    <a:gd name="T8" fmla="*/ 2147483647 w 250"/>
                                    <a:gd name="T9" fmla="*/ 2147483647 h 215"/>
                                    <a:gd name="T10" fmla="*/ 2147483647 w 250"/>
                                    <a:gd name="T11" fmla="*/ 2147483647 h 215"/>
                                    <a:gd name="T12" fmla="*/ 2147483647 w 250"/>
                                    <a:gd name="T13" fmla="*/ 2147483647 h 215"/>
                                    <a:gd name="T14" fmla="*/ 2147483647 w 250"/>
                                    <a:gd name="T15" fmla="*/ 0 h 215"/>
                                    <a:gd name="T16" fmla="*/ 2147483647 w 250"/>
                                    <a:gd name="T17" fmla="*/ 2147483647 h 215"/>
                                    <a:gd name="T18" fmla="*/ 2147483647 w 250"/>
                                    <a:gd name="T19" fmla="*/ 2147483647 h 215"/>
                                    <a:gd name="T20" fmla="*/ 2147483647 w 250"/>
                                    <a:gd name="T21" fmla="*/ 2147483647 h 215"/>
                                    <a:gd name="T22" fmla="*/ 2147483647 w 250"/>
                                    <a:gd name="T23" fmla="*/ 2147483647 h 215"/>
                                    <a:gd name="T24" fmla="*/ 2147483647 w 250"/>
                                    <a:gd name="T25" fmla="*/ 2147483647 h 215"/>
                                    <a:gd name="T26" fmla="*/ 2147483647 w 250"/>
                                    <a:gd name="T27" fmla="*/ 2147483647 h 215"/>
                                    <a:gd name="T28" fmla="*/ 0 w 250"/>
                                    <a:gd name="T29" fmla="*/ 2147483647 h 215"/>
                                    <a:gd name="T30" fmla="*/ 2147483647 w 250"/>
                                    <a:gd name="T31" fmla="*/ 2147483647 h 215"/>
                                    <a:gd name="T32" fmla="*/ 2147483647 w 250"/>
                                    <a:gd name="T33" fmla="*/ 2147483647 h 215"/>
                                    <a:gd name="T34" fmla="*/ 2147483647 w 250"/>
                                    <a:gd name="T35" fmla="*/ 2147483647 h 215"/>
                                    <a:gd name="T36" fmla="*/ 2147483647 w 250"/>
                                    <a:gd name="T37" fmla="*/ 2147483647 h 215"/>
                                    <a:gd name="T38" fmla="*/ 2147483647 w 250"/>
                                    <a:gd name="T39" fmla="*/ 2147483647 h 215"/>
                                    <a:gd name="T40" fmla="*/ 2147483647 w 250"/>
                                    <a:gd name="T41" fmla="*/ 2147483647 h 215"/>
                                    <a:gd name="T42" fmla="*/ 2147483647 w 250"/>
                                    <a:gd name="T43" fmla="*/ 2147483647 h 215"/>
                                    <a:gd name="T44" fmla="*/ 2147483647 w 250"/>
                                    <a:gd name="T45" fmla="*/ 2147483647 h 215"/>
                                    <a:gd name="T46" fmla="*/ 2147483647 w 250"/>
                                    <a:gd name="T47" fmla="*/ 2147483647 h 215"/>
                                    <a:gd name="T48" fmla="*/ 2147483647 w 250"/>
                                    <a:gd name="T49" fmla="*/ 2147483647 h 215"/>
                                    <a:gd name="T50" fmla="*/ 2147483647 w 250"/>
                                    <a:gd name="T51" fmla="*/ 2147483647 h 215"/>
                                    <a:gd name="T52" fmla="*/ 2147483647 w 250"/>
                                    <a:gd name="T53" fmla="*/ 2147483647 h 215"/>
                                    <a:gd name="T54" fmla="*/ 2147483647 w 250"/>
                                    <a:gd name="T55" fmla="*/ 2147483647 h 215"/>
                                    <a:gd name="T56" fmla="*/ 2147483647 w 250"/>
                                    <a:gd name="T57" fmla="*/ 2147483647 h 215"/>
                                    <a:gd name="T58" fmla="*/ 2147483647 w 250"/>
                                    <a:gd name="T59" fmla="*/ 2147483647 h 21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50"/>
                                    <a:gd name="T91" fmla="*/ 0 h 215"/>
                                    <a:gd name="T92" fmla="*/ 250 w 250"/>
                                    <a:gd name="T93" fmla="*/ 215 h 21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50" h="215">
                                      <a:moveTo>
                                        <a:pt x="202" y="36"/>
                                      </a:moveTo>
                                      <a:lnTo>
                                        <a:pt x="183" y="36"/>
                                      </a:lnTo>
                                      <a:lnTo>
                                        <a:pt x="171" y="48"/>
                                      </a:lnTo>
                                      <a:lnTo>
                                        <a:pt x="159" y="48"/>
                                      </a:lnTo>
                                      <a:lnTo>
                                        <a:pt x="159" y="24"/>
                                      </a:lnTo>
                                      <a:lnTo>
                                        <a:pt x="147" y="12"/>
                                      </a:lnTo>
                                      <a:lnTo>
                                        <a:pt x="135" y="12"/>
                                      </a:lnTo>
                                      <a:lnTo>
                                        <a:pt x="115" y="0"/>
                                      </a:lnTo>
                                      <a:lnTo>
                                        <a:pt x="91" y="12"/>
                                      </a:lnTo>
                                      <a:lnTo>
                                        <a:pt x="91" y="24"/>
                                      </a:lnTo>
                                      <a:lnTo>
                                        <a:pt x="79" y="36"/>
                                      </a:lnTo>
                                      <a:lnTo>
                                        <a:pt x="59" y="48"/>
                                      </a:lnTo>
                                      <a:lnTo>
                                        <a:pt x="59" y="56"/>
                                      </a:lnTo>
                                      <a:lnTo>
                                        <a:pt x="23" y="68"/>
                                      </a:lnTo>
                                      <a:lnTo>
                                        <a:pt x="0" y="92"/>
                                      </a:lnTo>
                                      <a:lnTo>
                                        <a:pt x="12" y="104"/>
                                      </a:lnTo>
                                      <a:lnTo>
                                        <a:pt x="35" y="92"/>
                                      </a:lnTo>
                                      <a:lnTo>
                                        <a:pt x="47" y="92"/>
                                      </a:lnTo>
                                      <a:lnTo>
                                        <a:pt x="59" y="104"/>
                                      </a:lnTo>
                                      <a:lnTo>
                                        <a:pt x="59" y="135"/>
                                      </a:lnTo>
                                      <a:lnTo>
                                        <a:pt x="79" y="171"/>
                                      </a:lnTo>
                                      <a:lnTo>
                                        <a:pt x="127" y="183"/>
                                      </a:lnTo>
                                      <a:lnTo>
                                        <a:pt x="147" y="191"/>
                                      </a:lnTo>
                                      <a:lnTo>
                                        <a:pt x="202" y="203"/>
                                      </a:lnTo>
                                      <a:lnTo>
                                        <a:pt x="226" y="215"/>
                                      </a:lnTo>
                                      <a:lnTo>
                                        <a:pt x="250" y="171"/>
                                      </a:lnTo>
                                      <a:lnTo>
                                        <a:pt x="250" y="124"/>
                                      </a:lnTo>
                                      <a:lnTo>
                                        <a:pt x="194" y="116"/>
                                      </a:lnTo>
                                      <a:lnTo>
                                        <a:pt x="194" y="56"/>
                                      </a:lnTo>
                                      <a:lnTo>
                                        <a:pt x="202" y="36"/>
                                      </a:lnTo>
                                      <a:close/>
                                    </a:path>
                                  </a:pathLst>
                                </a:custGeom>
                                <a:solidFill>
                                  <a:srgbClr val="FFFFFF"/>
                                </a:solidFill>
                                <a:ln w="9360">
                                  <a:solidFill>
                                    <a:srgbClr val="969696"/>
                                  </a:solidFill>
                                  <a:round/>
                                  <a:headEnd/>
                                  <a:tailEnd/>
                                </a:ln>
                              </p:spPr>
                              <p:txBody>
                                <a:bodyPr wrap="none" anchor="ctr"/>
                                <a:lstStyle/>
                                <a:p>
                                  <a:endParaRPr lang="pt-BR"/>
                                </a:p>
                              </p:txBody>
                            </p:sp>
                            <p:sp>
                              <p:nvSpPr>
                                <p:cNvPr id="335" name="Freeform 23"/>
                                <p:cNvSpPr>
                                  <a:spLocks noChangeArrowheads="1"/>
                                </p:cNvSpPr>
                                <p:nvPr/>
                              </p:nvSpPr>
                              <p:spPr bwMode="auto">
                                <a:xfrm>
                                  <a:off x="5795288" y="1941666"/>
                                  <a:ext cx="498145" cy="262311"/>
                                </a:xfrm>
                                <a:custGeom>
                                  <a:avLst/>
                                  <a:gdLst>
                                    <a:gd name="T0" fmla="*/ 0 w 259"/>
                                    <a:gd name="T1" fmla="*/ 0 h 135"/>
                                    <a:gd name="T2" fmla="*/ 2147483647 w 259"/>
                                    <a:gd name="T3" fmla="*/ 2147483647 h 135"/>
                                    <a:gd name="T4" fmla="*/ 2147483647 w 259"/>
                                    <a:gd name="T5" fmla="*/ 2147483647 h 135"/>
                                    <a:gd name="T6" fmla="*/ 2147483647 w 259"/>
                                    <a:gd name="T7" fmla="*/ 2147483647 h 135"/>
                                    <a:gd name="T8" fmla="*/ 2147483647 w 259"/>
                                    <a:gd name="T9" fmla="*/ 2147483647 h 135"/>
                                    <a:gd name="T10" fmla="*/ 2147483647 w 259"/>
                                    <a:gd name="T11" fmla="*/ 2147483647 h 135"/>
                                    <a:gd name="T12" fmla="*/ 2147483647 w 259"/>
                                    <a:gd name="T13" fmla="*/ 2147483647 h 135"/>
                                    <a:gd name="T14" fmla="*/ 2147483647 w 259"/>
                                    <a:gd name="T15" fmla="*/ 2147483647 h 135"/>
                                    <a:gd name="T16" fmla="*/ 2147483647 w 259"/>
                                    <a:gd name="T17" fmla="*/ 2147483647 h 135"/>
                                    <a:gd name="T18" fmla="*/ 2147483647 w 259"/>
                                    <a:gd name="T19" fmla="*/ 2147483647 h 135"/>
                                    <a:gd name="T20" fmla="*/ 2147483647 w 259"/>
                                    <a:gd name="T21" fmla="*/ 2147483647 h 135"/>
                                    <a:gd name="T22" fmla="*/ 2147483647 w 259"/>
                                    <a:gd name="T23" fmla="*/ 2147483647 h 135"/>
                                    <a:gd name="T24" fmla="*/ 2147483647 w 259"/>
                                    <a:gd name="T25" fmla="*/ 2147483647 h 135"/>
                                    <a:gd name="T26" fmla="*/ 2147483647 w 259"/>
                                    <a:gd name="T27" fmla="*/ 2147483647 h 135"/>
                                    <a:gd name="T28" fmla="*/ 2147483647 w 259"/>
                                    <a:gd name="T29" fmla="*/ 2147483647 h 135"/>
                                    <a:gd name="T30" fmla="*/ 2147483647 w 259"/>
                                    <a:gd name="T31" fmla="*/ 2147483647 h 135"/>
                                    <a:gd name="T32" fmla="*/ 2147483647 w 259"/>
                                    <a:gd name="T33" fmla="*/ 2147483647 h 135"/>
                                    <a:gd name="T34" fmla="*/ 2147483647 w 259"/>
                                    <a:gd name="T35" fmla="*/ 2147483647 h 135"/>
                                    <a:gd name="T36" fmla="*/ 2147483647 w 259"/>
                                    <a:gd name="T37" fmla="*/ 2147483647 h 135"/>
                                    <a:gd name="T38" fmla="*/ 2147483647 w 259"/>
                                    <a:gd name="T39" fmla="*/ 2147483647 h 135"/>
                                    <a:gd name="T40" fmla="*/ 0 w 259"/>
                                    <a:gd name="T41" fmla="*/ 2147483647 h 135"/>
                                    <a:gd name="T42" fmla="*/ 0 w 259"/>
                                    <a:gd name="T43" fmla="*/ 0 h 13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59"/>
                                    <a:gd name="T67" fmla="*/ 0 h 135"/>
                                    <a:gd name="T68" fmla="*/ 259 w 259"/>
                                    <a:gd name="T69" fmla="*/ 135 h 13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59" h="135">
                                      <a:moveTo>
                                        <a:pt x="0" y="0"/>
                                      </a:moveTo>
                                      <a:lnTo>
                                        <a:pt x="24" y="12"/>
                                      </a:lnTo>
                                      <a:lnTo>
                                        <a:pt x="56" y="24"/>
                                      </a:lnTo>
                                      <a:lnTo>
                                        <a:pt x="91" y="24"/>
                                      </a:lnTo>
                                      <a:lnTo>
                                        <a:pt x="123" y="36"/>
                                      </a:lnTo>
                                      <a:lnTo>
                                        <a:pt x="171" y="56"/>
                                      </a:lnTo>
                                      <a:lnTo>
                                        <a:pt x="203" y="80"/>
                                      </a:lnTo>
                                      <a:lnTo>
                                        <a:pt x="247" y="92"/>
                                      </a:lnTo>
                                      <a:lnTo>
                                        <a:pt x="259" y="104"/>
                                      </a:lnTo>
                                      <a:lnTo>
                                        <a:pt x="227" y="124"/>
                                      </a:lnTo>
                                      <a:lnTo>
                                        <a:pt x="179" y="135"/>
                                      </a:lnTo>
                                      <a:lnTo>
                                        <a:pt x="123" y="135"/>
                                      </a:lnTo>
                                      <a:lnTo>
                                        <a:pt x="111" y="124"/>
                                      </a:lnTo>
                                      <a:lnTo>
                                        <a:pt x="111" y="92"/>
                                      </a:lnTo>
                                      <a:lnTo>
                                        <a:pt x="91" y="116"/>
                                      </a:lnTo>
                                      <a:lnTo>
                                        <a:pt x="68" y="116"/>
                                      </a:lnTo>
                                      <a:lnTo>
                                        <a:pt x="56" y="104"/>
                                      </a:lnTo>
                                      <a:lnTo>
                                        <a:pt x="44" y="104"/>
                                      </a:lnTo>
                                      <a:lnTo>
                                        <a:pt x="36" y="80"/>
                                      </a:lnTo>
                                      <a:lnTo>
                                        <a:pt x="12" y="56"/>
                                      </a:lnTo>
                                      <a:lnTo>
                                        <a:pt x="0" y="36"/>
                                      </a:lnTo>
                                      <a:lnTo>
                                        <a:pt x="0" y="0"/>
                                      </a:lnTo>
                                      <a:close/>
                                    </a:path>
                                  </a:pathLst>
                                </a:custGeom>
                                <a:solidFill>
                                  <a:srgbClr val="FFFFFF"/>
                                </a:solidFill>
                                <a:ln w="9360">
                                  <a:solidFill>
                                    <a:srgbClr val="969696"/>
                                  </a:solidFill>
                                  <a:round/>
                                  <a:headEnd/>
                                  <a:tailEnd/>
                                </a:ln>
                              </p:spPr>
                              <p:txBody>
                                <a:bodyPr wrap="none" anchor="ctr"/>
                                <a:lstStyle/>
                                <a:p>
                                  <a:endParaRPr lang="pt-BR"/>
                                </a:p>
                              </p:txBody>
                            </p:sp>
                            <p:sp>
                              <p:nvSpPr>
                                <p:cNvPr id="336" name="Freeform 24"/>
                                <p:cNvSpPr>
                                  <a:spLocks noChangeArrowheads="1"/>
                                </p:cNvSpPr>
                                <p:nvPr/>
                              </p:nvSpPr>
                              <p:spPr bwMode="auto">
                                <a:xfrm>
                                  <a:off x="6753174" y="1169960"/>
                                  <a:ext cx="908185" cy="880613"/>
                                </a:xfrm>
                                <a:custGeom>
                                  <a:avLst/>
                                  <a:gdLst>
                                    <a:gd name="T0" fmla="*/ 0 w 473"/>
                                    <a:gd name="T1" fmla="*/ 2147483647 h 450"/>
                                    <a:gd name="T2" fmla="*/ 2147483647 w 473"/>
                                    <a:gd name="T3" fmla="*/ 2147483647 h 450"/>
                                    <a:gd name="T4" fmla="*/ 2147483647 w 473"/>
                                    <a:gd name="T5" fmla="*/ 2147483647 h 450"/>
                                    <a:gd name="T6" fmla="*/ 2147483647 w 473"/>
                                    <a:gd name="T7" fmla="*/ 2147483647 h 450"/>
                                    <a:gd name="T8" fmla="*/ 2147483647 w 473"/>
                                    <a:gd name="T9" fmla="*/ 2147483647 h 450"/>
                                    <a:gd name="T10" fmla="*/ 2147483647 w 473"/>
                                    <a:gd name="T11" fmla="*/ 2147483647 h 450"/>
                                    <a:gd name="T12" fmla="*/ 2147483647 w 473"/>
                                    <a:gd name="T13" fmla="*/ 2147483647 h 450"/>
                                    <a:gd name="T14" fmla="*/ 2147483647 w 473"/>
                                    <a:gd name="T15" fmla="*/ 2147483647 h 450"/>
                                    <a:gd name="T16" fmla="*/ 2147483647 w 473"/>
                                    <a:gd name="T17" fmla="*/ 2147483647 h 450"/>
                                    <a:gd name="T18" fmla="*/ 2147483647 w 473"/>
                                    <a:gd name="T19" fmla="*/ 2147483647 h 450"/>
                                    <a:gd name="T20" fmla="*/ 2147483647 w 473"/>
                                    <a:gd name="T21" fmla="*/ 2147483647 h 450"/>
                                    <a:gd name="T22" fmla="*/ 2147483647 w 473"/>
                                    <a:gd name="T23" fmla="*/ 2147483647 h 450"/>
                                    <a:gd name="T24" fmla="*/ 2147483647 w 473"/>
                                    <a:gd name="T25" fmla="*/ 2147483647 h 450"/>
                                    <a:gd name="T26" fmla="*/ 2147483647 w 473"/>
                                    <a:gd name="T27" fmla="*/ 2147483647 h 450"/>
                                    <a:gd name="T28" fmla="*/ 2147483647 w 473"/>
                                    <a:gd name="T29" fmla="*/ 2147483647 h 450"/>
                                    <a:gd name="T30" fmla="*/ 2147483647 w 473"/>
                                    <a:gd name="T31" fmla="*/ 2147483647 h 450"/>
                                    <a:gd name="T32" fmla="*/ 2147483647 w 473"/>
                                    <a:gd name="T33" fmla="*/ 2147483647 h 450"/>
                                    <a:gd name="T34" fmla="*/ 2147483647 w 473"/>
                                    <a:gd name="T35" fmla="*/ 2147483647 h 450"/>
                                    <a:gd name="T36" fmla="*/ 2147483647 w 473"/>
                                    <a:gd name="T37" fmla="*/ 2147483647 h 450"/>
                                    <a:gd name="T38" fmla="*/ 2147483647 w 473"/>
                                    <a:gd name="T39" fmla="*/ 2147483647 h 450"/>
                                    <a:gd name="T40" fmla="*/ 2147483647 w 473"/>
                                    <a:gd name="T41" fmla="*/ 2147483647 h 450"/>
                                    <a:gd name="T42" fmla="*/ 2147483647 w 473"/>
                                    <a:gd name="T43" fmla="*/ 2147483647 h 450"/>
                                    <a:gd name="T44" fmla="*/ 2147483647 w 473"/>
                                    <a:gd name="T45" fmla="*/ 2147483647 h 450"/>
                                    <a:gd name="T46" fmla="*/ 2147483647 w 473"/>
                                    <a:gd name="T47" fmla="*/ 2147483647 h 450"/>
                                    <a:gd name="T48" fmla="*/ 2147483647 w 473"/>
                                    <a:gd name="T49" fmla="*/ 2147483647 h 450"/>
                                    <a:gd name="T50" fmla="*/ 2147483647 w 473"/>
                                    <a:gd name="T51" fmla="*/ 2147483647 h 450"/>
                                    <a:gd name="T52" fmla="*/ 2147483647 w 473"/>
                                    <a:gd name="T53" fmla="*/ 2147483647 h 450"/>
                                    <a:gd name="T54" fmla="*/ 2147483647 w 473"/>
                                    <a:gd name="T55" fmla="*/ 2147483647 h 450"/>
                                    <a:gd name="T56" fmla="*/ 2147483647 w 473"/>
                                    <a:gd name="T57" fmla="*/ 2147483647 h 450"/>
                                    <a:gd name="T58" fmla="*/ 2147483647 w 473"/>
                                    <a:gd name="T59" fmla="*/ 2147483647 h 450"/>
                                    <a:gd name="T60" fmla="*/ 2147483647 w 473"/>
                                    <a:gd name="T61" fmla="*/ 2147483647 h 450"/>
                                    <a:gd name="T62" fmla="*/ 2147483647 w 473"/>
                                    <a:gd name="T63" fmla="*/ 2147483647 h 450"/>
                                    <a:gd name="T64" fmla="*/ 2147483647 w 473"/>
                                    <a:gd name="T65" fmla="*/ 2147483647 h 450"/>
                                    <a:gd name="T66" fmla="*/ 2147483647 w 473"/>
                                    <a:gd name="T67" fmla="*/ 2147483647 h 450"/>
                                    <a:gd name="T68" fmla="*/ 2147483647 w 473"/>
                                    <a:gd name="T69" fmla="*/ 2147483647 h 450"/>
                                    <a:gd name="T70" fmla="*/ 2147483647 w 473"/>
                                    <a:gd name="T71" fmla="*/ 2147483647 h 450"/>
                                    <a:gd name="T72" fmla="*/ 2147483647 w 473"/>
                                    <a:gd name="T73" fmla="*/ 2147483647 h 450"/>
                                    <a:gd name="T74" fmla="*/ 2147483647 w 473"/>
                                    <a:gd name="T75" fmla="*/ 2147483647 h 450"/>
                                    <a:gd name="T76" fmla="*/ 2147483647 w 473"/>
                                    <a:gd name="T77" fmla="*/ 2147483647 h 450"/>
                                    <a:gd name="T78" fmla="*/ 2147483647 w 473"/>
                                    <a:gd name="T79" fmla="*/ 2147483647 h 450"/>
                                    <a:gd name="T80" fmla="*/ 2147483647 w 473"/>
                                    <a:gd name="T81" fmla="*/ 2147483647 h 450"/>
                                    <a:gd name="T82" fmla="*/ 2147483647 w 473"/>
                                    <a:gd name="T83" fmla="*/ 2147483647 h 450"/>
                                    <a:gd name="T84" fmla="*/ 2147483647 w 473"/>
                                    <a:gd name="T85" fmla="*/ 2147483647 h 450"/>
                                    <a:gd name="T86" fmla="*/ 2147483647 w 473"/>
                                    <a:gd name="T87" fmla="*/ 2147483647 h 450"/>
                                    <a:gd name="T88" fmla="*/ 2147483647 w 473"/>
                                    <a:gd name="T89" fmla="*/ 2147483647 h 450"/>
                                    <a:gd name="T90" fmla="*/ 2147483647 w 473"/>
                                    <a:gd name="T91" fmla="*/ 0 h 450"/>
                                    <a:gd name="T92" fmla="*/ 2147483647 w 473"/>
                                    <a:gd name="T93" fmla="*/ 0 h 450"/>
                                    <a:gd name="T94" fmla="*/ 2147483647 w 473"/>
                                    <a:gd name="T95" fmla="*/ 2147483647 h 450"/>
                                    <a:gd name="T96" fmla="*/ 2147483647 w 473"/>
                                    <a:gd name="T97" fmla="*/ 2147483647 h 450"/>
                                    <a:gd name="T98" fmla="*/ 2147483647 w 473"/>
                                    <a:gd name="T99" fmla="*/ 2147483647 h 450"/>
                                    <a:gd name="T100" fmla="*/ 2147483647 w 473"/>
                                    <a:gd name="T101" fmla="*/ 2147483647 h 450"/>
                                    <a:gd name="T102" fmla="*/ 2147483647 w 473"/>
                                    <a:gd name="T103" fmla="*/ 2147483647 h 450"/>
                                    <a:gd name="T104" fmla="*/ 2147483647 w 473"/>
                                    <a:gd name="T105" fmla="*/ 2147483647 h 450"/>
                                    <a:gd name="T106" fmla="*/ 0 w 473"/>
                                    <a:gd name="T107" fmla="*/ 2147483647 h 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73"/>
                                    <a:gd name="T163" fmla="*/ 0 h 450"/>
                                    <a:gd name="T164" fmla="*/ 473 w 473"/>
                                    <a:gd name="T165" fmla="*/ 450 h 45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73" h="450">
                                      <a:moveTo>
                                        <a:pt x="0" y="44"/>
                                      </a:moveTo>
                                      <a:lnTo>
                                        <a:pt x="12" y="80"/>
                                      </a:lnTo>
                                      <a:lnTo>
                                        <a:pt x="12" y="104"/>
                                      </a:lnTo>
                                      <a:lnTo>
                                        <a:pt x="32" y="148"/>
                                      </a:lnTo>
                                      <a:lnTo>
                                        <a:pt x="44" y="160"/>
                                      </a:lnTo>
                                      <a:lnTo>
                                        <a:pt x="68" y="160"/>
                                      </a:lnTo>
                                      <a:lnTo>
                                        <a:pt x="92" y="171"/>
                                      </a:lnTo>
                                      <a:lnTo>
                                        <a:pt x="92" y="191"/>
                                      </a:lnTo>
                                      <a:lnTo>
                                        <a:pt x="100" y="203"/>
                                      </a:lnTo>
                                      <a:lnTo>
                                        <a:pt x="56" y="327"/>
                                      </a:lnTo>
                                      <a:lnTo>
                                        <a:pt x="56" y="362"/>
                                      </a:lnTo>
                                      <a:lnTo>
                                        <a:pt x="80" y="394"/>
                                      </a:lnTo>
                                      <a:lnTo>
                                        <a:pt x="92" y="418"/>
                                      </a:lnTo>
                                      <a:lnTo>
                                        <a:pt x="100" y="430"/>
                                      </a:lnTo>
                                      <a:lnTo>
                                        <a:pt x="123" y="442"/>
                                      </a:lnTo>
                                      <a:lnTo>
                                        <a:pt x="326" y="450"/>
                                      </a:lnTo>
                                      <a:lnTo>
                                        <a:pt x="350" y="418"/>
                                      </a:lnTo>
                                      <a:lnTo>
                                        <a:pt x="362" y="394"/>
                                      </a:lnTo>
                                      <a:lnTo>
                                        <a:pt x="362" y="362"/>
                                      </a:lnTo>
                                      <a:lnTo>
                                        <a:pt x="370" y="339"/>
                                      </a:lnTo>
                                      <a:lnTo>
                                        <a:pt x="406" y="307"/>
                                      </a:lnTo>
                                      <a:lnTo>
                                        <a:pt x="406" y="295"/>
                                      </a:lnTo>
                                      <a:lnTo>
                                        <a:pt x="394" y="283"/>
                                      </a:lnTo>
                                      <a:lnTo>
                                        <a:pt x="406" y="271"/>
                                      </a:lnTo>
                                      <a:lnTo>
                                        <a:pt x="430" y="259"/>
                                      </a:lnTo>
                                      <a:lnTo>
                                        <a:pt x="450" y="239"/>
                                      </a:lnTo>
                                      <a:lnTo>
                                        <a:pt x="462" y="203"/>
                                      </a:lnTo>
                                      <a:lnTo>
                                        <a:pt x="473" y="160"/>
                                      </a:lnTo>
                                      <a:lnTo>
                                        <a:pt x="473" y="124"/>
                                      </a:lnTo>
                                      <a:lnTo>
                                        <a:pt x="462" y="112"/>
                                      </a:lnTo>
                                      <a:lnTo>
                                        <a:pt x="418" y="104"/>
                                      </a:lnTo>
                                      <a:lnTo>
                                        <a:pt x="406" y="124"/>
                                      </a:lnTo>
                                      <a:lnTo>
                                        <a:pt x="382" y="148"/>
                                      </a:lnTo>
                                      <a:lnTo>
                                        <a:pt x="370" y="171"/>
                                      </a:lnTo>
                                      <a:lnTo>
                                        <a:pt x="362" y="203"/>
                                      </a:lnTo>
                                      <a:lnTo>
                                        <a:pt x="362" y="171"/>
                                      </a:lnTo>
                                      <a:lnTo>
                                        <a:pt x="314" y="160"/>
                                      </a:lnTo>
                                      <a:lnTo>
                                        <a:pt x="294" y="136"/>
                                      </a:lnTo>
                                      <a:lnTo>
                                        <a:pt x="271" y="136"/>
                                      </a:lnTo>
                                      <a:lnTo>
                                        <a:pt x="247" y="112"/>
                                      </a:lnTo>
                                      <a:lnTo>
                                        <a:pt x="235" y="80"/>
                                      </a:lnTo>
                                      <a:lnTo>
                                        <a:pt x="215" y="44"/>
                                      </a:lnTo>
                                      <a:lnTo>
                                        <a:pt x="191" y="36"/>
                                      </a:lnTo>
                                      <a:lnTo>
                                        <a:pt x="179" y="36"/>
                                      </a:lnTo>
                                      <a:lnTo>
                                        <a:pt x="159" y="24"/>
                                      </a:lnTo>
                                      <a:lnTo>
                                        <a:pt x="159" y="0"/>
                                      </a:lnTo>
                                      <a:lnTo>
                                        <a:pt x="123" y="0"/>
                                      </a:lnTo>
                                      <a:lnTo>
                                        <a:pt x="112" y="12"/>
                                      </a:lnTo>
                                      <a:lnTo>
                                        <a:pt x="123" y="12"/>
                                      </a:lnTo>
                                      <a:lnTo>
                                        <a:pt x="112" y="24"/>
                                      </a:lnTo>
                                      <a:lnTo>
                                        <a:pt x="80" y="24"/>
                                      </a:lnTo>
                                      <a:lnTo>
                                        <a:pt x="44" y="36"/>
                                      </a:lnTo>
                                      <a:lnTo>
                                        <a:pt x="12" y="44"/>
                                      </a:lnTo>
                                      <a:lnTo>
                                        <a:pt x="0" y="44"/>
                                      </a:lnTo>
                                      <a:close/>
                                    </a:path>
                                  </a:pathLst>
                                </a:custGeom>
                                <a:solidFill>
                                  <a:srgbClr val="FFFFFF"/>
                                </a:solidFill>
                                <a:ln w="9360">
                                  <a:solidFill>
                                    <a:srgbClr val="969696"/>
                                  </a:solidFill>
                                  <a:round/>
                                  <a:headEnd/>
                                  <a:tailEnd/>
                                </a:ln>
                              </p:spPr>
                              <p:txBody>
                                <a:bodyPr wrap="none" anchor="ctr"/>
                                <a:lstStyle/>
                                <a:p>
                                  <a:endParaRPr lang="pt-BR"/>
                                </a:p>
                              </p:txBody>
                            </p:sp>
                            <p:sp>
                              <p:nvSpPr>
                                <p:cNvPr id="337" name="Freeform 27"/>
                                <p:cNvSpPr>
                                  <a:spLocks noChangeArrowheads="1"/>
                                </p:cNvSpPr>
                                <p:nvPr/>
                              </p:nvSpPr>
                              <p:spPr bwMode="auto">
                                <a:xfrm>
                                  <a:off x="5799805" y="1216800"/>
                                  <a:ext cx="1146527" cy="904034"/>
                                </a:xfrm>
                                <a:custGeom>
                                  <a:avLst/>
                                  <a:gdLst>
                                    <a:gd name="T0" fmla="*/ 2147483647 w 597"/>
                                    <a:gd name="T1" fmla="*/ 2147483647 h 462"/>
                                    <a:gd name="T2" fmla="*/ 2147483647 w 597"/>
                                    <a:gd name="T3" fmla="*/ 2147483647 h 462"/>
                                    <a:gd name="T4" fmla="*/ 2147483647 w 597"/>
                                    <a:gd name="T5" fmla="*/ 2147483647 h 462"/>
                                    <a:gd name="T6" fmla="*/ 2147483647 w 597"/>
                                    <a:gd name="T7" fmla="*/ 2147483647 h 462"/>
                                    <a:gd name="T8" fmla="*/ 2147483647 w 597"/>
                                    <a:gd name="T9" fmla="*/ 2147483647 h 462"/>
                                    <a:gd name="T10" fmla="*/ 2147483647 w 597"/>
                                    <a:gd name="T11" fmla="*/ 2147483647 h 462"/>
                                    <a:gd name="T12" fmla="*/ 2147483647 w 597"/>
                                    <a:gd name="T13" fmla="*/ 2147483647 h 462"/>
                                    <a:gd name="T14" fmla="*/ 2147483647 w 597"/>
                                    <a:gd name="T15" fmla="*/ 2147483647 h 462"/>
                                    <a:gd name="T16" fmla="*/ 2147483647 w 597"/>
                                    <a:gd name="T17" fmla="*/ 2147483647 h 462"/>
                                    <a:gd name="T18" fmla="*/ 2147483647 w 597"/>
                                    <a:gd name="T19" fmla="*/ 2147483647 h 462"/>
                                    <a:gd name="T20" fmla="*/ 2147483647 w 597"/>
                                    <a:gd name="T21" fmla="*/ 2147483647 h 462"/>
                                    <a:gd name="T22" fmla="*/ 2147483647 w 597"/>
                                    <a:gd name="T23" fmla="*/ 2147483647 h 462"/>
                                    <a:gd name="T24" fmla="*/ 2147483647 w 597"/>
                                    <a:gd name="T25" fmla="*/ 2147483647 h 462"/>
                                    <a:gd name="T26" fmla="*/ 2147483647 w 597"/>
                                    <a:gd name="T27" fmla="*/ 2147483647 h 462"/>
                                    <a:gd name="T28" fmla="*/ 2147483647 w 597"/>
                                    <a:gd name="T29" fmla="*/ 2147483647 h 462"/>
                                    <a:gd name="T30" fmla="*/ 2147483647 w 597"/>
                                    <a:gd name="T31" fmla="*/ 2147483647 h 462"/>
                                    <a:gd name="T32" fmla="*/ 2147483647 w 597"/>
                                    <a:gd name="T33" fmla="*/ 2147483647 h 462"/>
                                    <a:gd name="T34" fmla="*/ 2147483647 w 597"/>
                                    <a:gd name="T35" fmla="*/ 2147483647 h 462"/>
                                    <a:gd name="T36" fmla="*/ 2147483647 w 597"/>
                                    <a:gd name="T37" fmla="*/ 2147483647 h 462"/>
                                    <a:gd name="T38" fmla="*/ 2147483647 w 597"/>
                                    <a:gd name="T39" fmla="*/ 2147483647 h 462"/>
                                    <a:gd name="T40" fmla="*/ 2147483647 w 597"/>
                                    <a:gd name="T41" fmla="*/ 2147483647 h 462"/>
                                    <a:gd name="T42" fmla="*/ 2147483647 w 597"/>
                                    <a:gd name="T43" fmla="*/ 2147483647 h 462"/>
                                    <a:gd name="T44" fmla="*/ 2147483647 w 597"/>
                                    <a:gd name="T45" fmla="*/ 2147483647 h 462"/>
                                    <a:gd name="T46" fmla="*/ 0 w 597"/>
                                    <a:gd name="T47" fmla="*/ 2147483647 h 462"/>
                                    <a:gd name="T48" fmla="*/ 2147483647 w 597"/>
                                    <a:gd name="T49" fmla="*/ 2147483647 h 462"/>
                                    <a:gd name="T50" fmla="*/ 2147483647 w 597"/>
                                    <a:gd name="T51" fmla="*/ 2147483647 h 462"/>
                                    <a:gd name="T52" fmla="*/ 2147483647 w 597"/>
                                    <a:gd name="T53" fmla="*/ 2147483647 h 462"/>
                                    <a:gd name="T54" fmla="*/ 2147483647 w 597"/>
                                    <a:gd name="T55" fmla="*/ 2147483647 h 462"/>
                                    <a:gd name="T56" fmla="*/ 2147483647 w 597"/>
                                    <a:gd name="T57" fmla="*/ 2147483647 h 462"/>
                                    <a:gd name="T58" fmla="*/ 2147483647 w 597"/>
                                    <a:gd name="T59" fmla="*/ 2147483647 h 462"/>
                                    <a:gd name="T60" fmla="*/ 2147483647 w 597"/>
                                    <a:gd name="T61" fmla="*/ 2147483647 h 462"/>
                                    <a:gd name="T62" fmla="*/ 2147483647 w 597"/>
                                    <a:gd name="T63" fmla="*/ 2147483647 h 462"/>
                                    <a:gd name="T64" fmla="*/ 2147483647 w 597"/>
                                    <a:gd name="T65" fmla="*/ 2147483647 h 462"/>
                                    <a:gd name="T66" fmla="*/ 2147483647 w 597"/>
                                    <a:gd name="T67" fmla="*/ 2147483647 h 462"/>
                                    <a:gd name="T68" fmla="*/ 2147483647 w 597"/>
                                    <a:gd name="T69" fmla="*/ 2147483647 h 462"/>
                                    <a:gd name="T70" fmla="*/ 2147483647 w 597"/>
                                    <a:gd name="T71" fmla="*/ 2147483647 h 46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97"/>
                                    <a:gd name="T109" fmla="*/ 0 h 462"/>
                                    <a:gd name="T110" fmla="*/ 597 w 597"/>
                                    <a:gd name="T111" fmla="*/ 462 h 46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97" h="462">
                                      <a:moveTo>
                                        <a:pt x="362" y="0"/>
                                      </a:moveTo>
                                      <a:lnTo>
                                        <a:pt x="374" y="12"/>
                                      </a:lnTo>
                                      <a:lnTo>
                                        <a:pt x="374" y="32"/>
                                      </a:lnTo>
                                      <a:lnTo>
                                        <a:pt x="382" y="56"/>
                                      </a:lnTo>
                                      <a:lnTo>
                                        <a:pt x="382" y="88"/>
                                      </a:lnTo>
                                      <a:lnTo>
                                        <a:pt x="374" y="100"/>
                                      </a:lnTo>
                                      <a:lnTo>
                                        <a:pt x="382" y="112"/>
                                      </a:lnTo>
                                      <a:lnTo>
                                        <a:pt x="406" y="124"/>
                                      </a:lnTo>
                                      <a:lnTo>
                                        <a:pt x="418" y="100"/>
                                      </a:lnTo>
                                      <a:lnTo>
                                        <a:pt x="430" y="100"/>
                                      </a:lnTo>
                                      <a:lnTo>
                                        <a:pt x="441" y="112"/>
                                      </a:lnTo>
                                      <a:lnTo>
                                        <a:pt x="449" y="112"/>
                                      </a:lnTo>
                                      <a:lnTo>
                                        <a:pt x="461" y="100"/>
                                      </a:lnTo>
                                      <a:lnTo>
                                        <a:pt x="461" y="88"/>
                                      </a:lnTo>
                                      <a:lnTo>
                                        <a:pt x="473" y="80"/>
                                      </a:lnTo>
                                      <a:lnTo>
                                        <a:pt x="509" y="80"/>
                                      </a:lnTo>
                                      <a:lnTo>
                                        <a:pt x="529" y="124"/>
                                      </a:lnTo>
                                      <a:lnTo>
                                        <a:pt x="541" y="136"/>
                                      </a:lnTo>
                                      <a:lnTo>
                                        <a:pt x="565" y="136"/>
                                      </a:lnTo>
                                      <a:lnTo>
                                        <a:pt x="589" y="147"/>
                                      </a:lnTo>
                                      <a:lnTo>
                                        <a:pt x="589" y="167"/>
                                      </a:lnTo>
                                      <a:lnTo>
                                        <a:pt x="597" y="179"/>
                                      </a:lnTo>
                                      <a:lnTo>
                                        <a:pt x="553" y="303"/>
                                      </a:lnTo>
                                      <a:lnTo>
                                        <a:pt x="553" y="358"/>
                                      </a:lnTo>
                                      <a:lnTo>
                                        <a:pt x="541" y="382"/>
                                      </a:lnTo>
                                      <a:lnTo>
                                        <a:pt x="541" y="406"/>
                                      </a:lnTo>
                                      <a:lnTo>
                                        <a:pt x="449" y="406"/>
                                      </a:lnTo>
                                      <a:lnTo>
                                        <a:pt x="430" y="406"/>
                                      </a:lnTo>
                                      <a:lnTo>
                                        <a:pt x="418" y="418"/>
                                      </a:lnTo>
                                      <a:lnTo>
                                        <a:pt x="406" y="418"/>
                                      </a:lnTo>
                                      <a:lnTo>
                                        <a:pt x="406" y="394"/>
                                      </a:lnTo>
                                      <a:lnTo>
                                        <a:pt x="394" y="382"/>
                                      </a:lnTo>
                                      <a:lnTo>
                                        <a:pt x="382" y="382"/>
                                      </a:lnTo>
                                      <a:lnTo>
                                        <a:pt x="362" y="370"/>
                                      </a:lnTo>
                                      <a:lnTo>
                                        <a:pt x="338" y="382"/>
                                      </a:lnTo>
                                      <a:lnTo>
                                        <a:pt x="338" y="394"/>
                                      </a:lnTo>
                                      <a:lnTo>
                                        <a:pt x="326" y="406"/>
                                      </a:lnTo>
                                      <a:lnTo>
                                        <a:pt x="306" y="418"/>
                                      </a:lnTo>
                                      <a:lnTo>
                                        <a:pt x="306" y="426"/>
                                      </a:lnTo>
                                      <a:lnTo>
                                        <a:pt x="270" y="438"/>
                                      </a:lnTo>
                                      <a:lnTo>
                                        <a:pt x="247" y="462"/>
                                      </a:lnTo>
                                      <a:lnTo>
                                        <a:pt x="203" y="450"/>
                                      </a:lnTo>
                                      <a:lnTo>
                                        <a:pt x="171" y="426"/>
                                      </a:lnTo>
                                      <a:lnTo>
                                        <a:pt x="123" y="406"/>
                                      </a:lnTo>
                                      <a:lnTo>
                                        <a:pt x="91" y="394"/>
                                      </a:lnTo>
                                      <a:lnTo>
                                        <a:pt x="56" y="394"/>
                                      </a:lnTo>
                                      <a:lnTo>
                                        <a:pt x="24" y="382"/>
                                      </a:lnTo>
                                      <a:lnTo>
                                        <a:pt x="0" y="370"/>
                                      </a:lnTo>
                                      <a:lnTo>
                                        <a:pt x="12" y="350"/>
                                      </a:lnTo>
                                      <a:lnTo>
                                        <a:pt x="24" y="338"/>
                                      </a:lnTo>
                                      <a:lnTo>
                                        <a:pt x="24" y="326"/>
                                      </a:lnTo>
                                      <a:lnTo>
                                        <a:pt x="36" y="303"/>
                                      </a:lnTo>
                                      <a:lnTo>
                                        <a:pt x="56" y="283"/>
                                      </a:lnTo>
                                      <a:lnTo>
                                        <a:pt x="111" y="259"/>
                                      </a:lnTo>
                                      <a:lnTo>
                                        <a:pt x="123" y="259"/>
                                      </a:lnTo>
                                      <a:lnTo>
                                        <a:pt x="135" y="215"/>
                                      </a:lnTo>
                                      <a:lnTo>
                                        <a:pt x="147" y="147"/>
                                      </a:lnTo>
                                      <a:lnTo>
                                        <a:pt x="123" y="124"/>
                                      </a:lnTo>
                                      <a:lnTo>
                                        <a:pt x="111" y="80"/>
                                      </a:lnTo>
                                      <a:lnTo>
                                        <a:pt x="123" y="68"/>
                                      </a:lnTo>
                                      <a:lnTo>
                                        <a:pt x="147" y="68"/>
                                      </a:lnTo>
                                      <a:lnTo>
                                        <a:pt x="147" y="56"/>
                                      </a:lnTo>
                                      <a:lnTo>
                                        <a:pt x="123" y="44"/>
                                      </a:lnTo>
                                      <a:lnTo>
                                        <a:pt x="123" y="32"/>
                                      </a:lnTo>
                                      <a:lnTo>
                                        <a:pt x="179" y="20"/>
                                      </a:lnTo>
                                      <a:lnTo>
                                        <a:pt x="215" y="20"/>
                                      </a:lnTo>
                                      <a:lnTo>
                                        <a:pt x="227" y="32"/>
                                      </a:lnTo>
                                      <a:lnTo>
                                        <a:pt x="239" y="56"/>
                                      </a:lnTo>
                                      <a:lnTo>
                                        <a:pt x="259" y="68"/>
                                      </a:lnTo>
                                      <a:lnTo>
                                        <a:pt x="306" y="56"/>
                                      </a:lnTo>
                                      <a:lnTo>
                                        <a:pt x="326" y="32"/>
                                      </a:lnTo>
                                      <a:lnTo>
                                        <a:pt x="362" y="12"/>
                                      </a:lnTo>
                                      <a:lnTo>
                                        <a:pt x="362" y="0"/>
                                      </a:lnTo>
                                      <a:close/>
                                    </a:path>
                                  </a:pathLst>
                                </a:custGeom>
                                <a:solidFill>
                                  <a:srgbClr val="FFFFFF"/>
                                </a:solidFill>
                                <a:ln w="9360">
                                  <a:solidFill>
                                    <a:srgbClr val="969696"/>
                                  </a:solidFill>
                                  <a:round/>
                                  <a:headEnd/>
                                  <a:tailEnd/>
                                </a:ln>
                              </p:spPr>
                              <p:txBody>
                                <a:bodyPr wrap="none" anchor="ctr"/>
                                <a:lstStyle/>
                                <a:p>
                                  <a:endParaRPr lang="pt-BR"/>
                                </a:p>
                              </p:txBody>
                            </p:sp>
                            <p:sp>
                              <p:nvSpPr>
                                <p:cNvPr id="338" name="Freeform 28"/>
                                <p:cNvSpPr>
                                  <a:spLocks noChangeArrowheads="1"/>
                                </p:cNvSpPr>
                                <p:nvPr/>
                              </p:nvSpPr>
                              <p:spPr bwMode="auto">
                                <a:xfrm>
                                  <a:off x="7333779" y="1343271"/>
                                  <a:ext cx="190899" cy="132326"/>
                                </a:xfrm>
                                <a:custGeom>
                                  <a:avLst/>
                                  <a:gdLst>
                                    <a:gd name="T0" fmla="*/ 2147483647 w 100"/>
                                    <a:gd name="T1" fmla="*/ 2147483647 h 68"/>
                                    <a:gd name="T2" fmla="*/ 2147483647 w 100"/>
                                    <a:gd name="T3" fmla="*/ 2147483647 h 68"/>
                                    <a:gd name="T4" fmla="*/ 2147483647 w 100"/>
                                    <a:gd name="T5" fmla="*/ 2147483647 h 68"/>
                                    <a:gd name="T6" fmla="*/ 2147483647 w 100"/>
                                    <a:gd name="T7" fmla="*/ 2147483647 h 68"/>
                                    <a:gd name="T8" fmla="*/ 2147483647 w 100"/>
                                    <a:gd name="T9" fmla="*/ 2147483647 h 68"/>
                                    <a:gd name="T10" fmla="*/ 0 w 100"/>
                                    <a:gd name="T11" fmla="*/ 2147483647 h 68"/>
                                    <a:gd name="T12" fmla="*/ 2147483647 w 100"/>
                                    <a:gd name="T13" fmla="*/ 2147483647 h 68"/>
                                    <a:gd name="T14" fmla="*/ 2147483647 w 100"/>
                                    <a:gd name="T15" fmla="*/ 0 h 68"/>
                                    <a:gd name="T16" fmla="*/ 2147483647 w 100"/>
                                    <a:gd name="T17" fmla="*/ 0 h 68"/>
                                    <a:gd name="T18" fmla="*/ 2147483647 w 100"/>
                                    <a:gd name="T19" fmla="*/ 2147483647 h 68"/>
                                    <a:gd name="T20" fmla="*/ 2147483647 w 100"/>
                                    <a:gd name="T21" fmla="*/ 0 h 68"/>
                                    <a:gd name="T22" fmla="*/ 2147483647 w 100"/>
                                    <a:gd name="T23" fmla="*/ 2147483647 h 6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0"/>
                                    <a:gd name="T37" fmla="*/ 0 h 68"/>
                                    <a:gd name="T38" fmla="*/ 100 w 100"/>
                                    <a:gd name="T39" fmla="*/ 68 h 6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0" h="68">
                                      <a:moveTo>
                                        <a:pt x="100" y="12"/>
                                      </a:moveTo>
                                      <a:lnTo>
                                        <a:pt x="92" y="36"/>
                                      </a:lnTo>
                                      <a:lnTo>
                                        <a:pt x="68" y="56"/>
                                      </a:lnTo>
                                      <a:lnTo>
                                        <a:pt x="44" y="68"/>
                                      </a:lnTo>
                                      <a:lnTo>
                                        <a:pt x="24" y="56"/>
                                      </a:lnTo>
                                      <a:lnTo>
                                        <a:pt x="0" y="48"/>
                                      </a:lnTo>
                                      <a:lnTo>
                                        <a:pt x="12" y="12"/>
                                      </a:lnTo>
                                      <a:lnTo>
                                        <a:pt x="32" y="0"/>
                                      </a:lnTo>
                                      <a:lnTo>
                                        <a:pt x="44" y="0"/>
                                      </a:lnTo>
                                      <a:lnTo>
                                        <a:pt x="68" y="12"/>
                                      </a:lnTo>
                                      <a:lnTo>
                                        <a:pt x="92" y="0"/>
                                      </a:lnTo>
                                      <a:lnTo>
                                        <a:pt x="100" y="12"/>
                                      </a:lnTo>
                                      <a:close/>
                                    </a:path>
                                  </a:pathLst>
                                </a:custGeom>
                                <a:solidFill>
                                  <a:srgbClr val="FFFFFF"/>
                                </a:solidFill>
                                <a:ln w="9360">
                                  <a:solidFill>
                                    <a:srgbClr val="969696"/>
                                  </a:solidFill>
                                  <a:round/>
                                  <a:headEnd/>
                                  <a:tailEnd/>
                                </a:ln>
                              </p:spPr>
                              <p:txBody>
                                <a:bodyPr wrap="none" anchor="ctr"/>
                                <a:lstStyle/>
                                <a:p>
                                  <a:endParaRPr lang="pt-BR"/>
                                </a:p>
                              </p:txBody>
                            </p:sp>
                            <p:sp>
                              <p:nvSpPr>
                                <p:cNvPr id="339" name="Freeform 29"/>
                                <p:cNvSpPr>
                                  <a:spLocks noChangeArrowheads="1"/>
                                </p:cNvSpPr>
                                <p:nvPr/>
                              </p:nvSpPr>
                              <p:spPr bwMode="auto">
                                <a:xfrm>
                                  <a:off x="7380092" y="1305798"/>
                                  <a:ext cx="60998" cy="15223"/>
                                </a:xfrm>
                                <a:custGeom>
                                  <a:avLst/>
                                  <a:gdLst>
                                    <a:gd name="T0" fmla="*/ 0 w 32"/>
                                    <a:gd name="T1" fmla="*/ 2147483647 h 8"/>
                                    <a:gd name="T2" fmla="*/ 2147483647 w 32"/>
                                    <a:gd name="T3" fmla="*/ 0 h 8"/>
                                    <a:gd name="T4" fmla="*/ 2147483647 w 32"/>
                                    <a:gd name="T5" fmla="*/ 0 h 8"/>
                                    <a:gd name="T6" fmla="*/ 2147483647 w 32"/>
                                    <a:gd name="T7" fmla="*/ 2147483647 h 8"/>
                                    <a:gd name="T8" fmla="*/ 0 w 32"/>
                                    <a:gd name="T9" fmla="*/ 2147483647 h 8"/>
                                    <a:gd name="T10" fmla="*/ 0 60000 65536"/>
                                    <a:gd name="T11" fmla="*/ 0 60000 65536"/>
                                    <a:gd name="T12" fmla="*/ 0 60000 65536"/>
                                    <a:gd name="T13" fmla="*/ 0 60000 65536"/>
                                    <a:gd name="T14" fmla="*/ 0 60000 65536"/>
                                    <a:gd name="T15" fmla="*/ 0 w 32"/>
                                    <a:gd name="T16" fmla="*/ 0 h 8"/>
                                    <a:gd name="T17" fmla="*/ 32 w 32"/>
                                    <a:gd name="T18" fmla="*/ 8 h 8"/>
                                  </a:gdLst>
                                  <a:ahLst/>
                                  <a:cxnLst>
                                    <a:cxn ang="T10">
                                      <a:pos x="T0" y="T1"/>
                                    </a:cxn>
                                    <a:cxn ang="T11">
                                      <a:pos x="T2" y="T3"/>
                                    </a:cxn>
                                    <a:cxn ang="T12">
                                      <a:pos x="T4" y="T5"/>
                                    </a:cxn>
                                    <a:cxn ang="T13">
                                      <a:pos x="T6" y="T7"/>
                                    </a:cxn>
                                    <a:cxn ang="T14">
                                      <a:pos x="T8" y="T9"/>
                                    </a:cxn>
                                  </a:cxnLst>
                                  <a:rect l="T15" t="T16" r="T17" b="T18"/>
                                  <a:pathLst>
                                    <a:path w="32" h="8">
                                      <a:moveTo>
                                        <a:pt x="0" y="8"/>
                                      </a:moveTo>
                                      <a:lnTo>
                                        <a:pt x="8" y="0"/>
                                      </a:lnTo>
                                      <a:lnTo>
                                        <a:pt x="20" y="0"/>
                                      </a:lnTo>
                                      <a:lnTo>
                                        <a:pt x="32" y="8"/>
                                      </a:lnTo>
                                      <a:lnTo>
                                        <a:pt x="0" y="8"/>
                                      </a:lnTo>
                                      <a:close/>
                                    </a:path>
                                  </a:pathLst>
                                </a:custGeom>
                                <a:solidFill>
                                  <a:srgbClr val="FFFFFF"/>
                                </a:solidFill>
                                <a:ln w="9360">
                                  <a:solidFill>
                                    <a:srgbClr val="969696"/>
                                  </a:solidFill>
                                  <a:round/>
                                  <a:headEnd/>
                                  <a:tailEnd/>
                                </a:ln>
                              </p:spPr>
                              <p:txBody>
                                <a:bodyPr wrap="none" anchor="ctr"/>
                                <a:lstStyle/>
                                <a:p>
                                  <a:endParaRPr lang="pt-BR"/>
                                </a:p>
                              </p:txBody>
                            </p:sp>
                            <p:pic>
                              <p:nvPicPr>
                                <p:cNvPr id="340" name="Picture 35"/>
                                <p:cNvPicPr>
                                  <a:picLocks noChangeAspect="1" noChangeArrowheads="1"/>
                                </p:cNvPicPr>
                                <p:nvPr/>
                              </p:nvPicPr>
                              <p:blipFill>
                                <a:blip r:embed="rId5" cstate="email">
                                  <a:extLst>
                                    <a:ext uri="{28A0092B-C50C-407E-A947-70E740481C1C}">
                                      <a14:useLocalDpi xmlns="" xmlns:a14="http://schemas.microsoft.com/office/drawing/2010/main"/>
                                    </a:ext>
                                  </a:extLst>
                                </a:blip>
                                <a:srcRect/>
                                <a:stretch>
                                  <a:fillRect/>
                                </a:stretch>
                              </p:blipFill>
                              <p:spPr bwMode="auto">
                                <a:xfrm>
                                  <a:off x="6625531" y="1179327"/>
                                  <a:ext cx="74552" cy="86656"/>
                                </a:xfrm>
                                <a:prstGeom prst="rect">
                                  <a:avLst/>
                                </a:prstGeom>
                                <a:noFill/>
                                <a:ln w="9525">
                                  <a:noFill/>
                                  <a:round/>
                                  <a:headEnd/>
                                  <a:tailEnd/>
                                </a:ln>
                              </p:spPr>
                            </p:pic>
                            <p:sp>
                              <p:nvSpPr>
                                <p:cNvPr id="341" name="Freeform 59"/>
                                <p:cNvSpPr>
                                  <a:spLocks noChangeArrowheads="1"/>
                                </p:cNvSpPr>
                                <p:nvPr/>
                              </p:nvSpPr>
                              <p:spPr bwMode="auto">
                                <a:xfrm>
                                  <a:off x="7586805" y="2414763"/>
                                  <a:ext cx="242861" cy="237720"/>
                                </a:xfrm>
                                <a:custGeom>
                                  <a:avLst/>
                                  <a:gdLst>
                                    <a:gd name="T0" fmla="*/ 2147483647 w 157"/>
                                    <a:gd name="T1" fmla="*/ 2147483647 h 150"/>
                                    <a:gd name="T2" fmla="*/ 2147483647 w 157"/>
                                    <a:gd name="T3" fmla="*/ 2147483647 h 150"/>
                                    <a:gd name="T4" fmla="*/ 0 w 157"/>
                                    <a:gd name="T5" fmla="*/ 0 h 150"/>
                                    <a:gd name="T6" fmla="*/ 0 60000 65536"/>
                                    <a:gd name="T7" fmla="*/ 0 60000 65536"/>
                                    <a:gd name="T8" fmla="*/ 0 60000 65536"/>
                                    <a:gd name="T9" fmla="*/ 0 w 157"/>
                                    <a:gd name="T10" fmla="*/ 0 h 150"/>
                                    <a:gd name="T11" fmla="*/ 157 w 157"/>
                                    <a:gd name="T12" fmla="*/ 150 h 150"/>
                                  </a:gdLst>
                                  <a:ahLst/>
                                  <a:cxnLst>
                                    <a:cxn ang="T6">
                                      <a:pos x="T0" y="T1"/>
                                    </a:cxn>
                                    <a:cxn ang="T7">
                                      <a:pos x="T2" y="T3"/>
                                    </a:cxn>
                                    <a:cxn ang="T8">
                                      <a:pos x="T4" y="T5"/>
                                    </a:cxn>
                                  </a:cxnLst>
                                  <a:rect l="T9" t="T10" r="T11" b="T12"/>
                                  <a:pathLst>
                                    <a:path w="157" h="150">
                                      <a:moveTo>
                                        <a:pt x="123" y="150"/>
                                      </a:moveTo>
                                      <a:cubicBezTo>
                                        <a:pt x="132" y="136"/>
                                        <a:pt x="157" y="89"/>
                                        <a:pt x="136" y="64"/>
                                      </a:cubicBezTo>
                                      <a:cubicBezTo>
                                        <a:pt x="115" y="39"/>
                                        <a:pt x="37" y="13"/>
                                        <a:pt x="0" y="0"/>
                                      </a:cubicBezTo>
                                    </a:path>
                                  </a:pathLst>
                                </a:custGeom>
                                <a:noFill/>
                                <a:ln w="28575">
                                  <a:solidFill>
                                    <a:srgbClr val="0070C0"/>
                                  </a:solidFill>
                                  <a:round/>
                                  <a:headEnd/>
                                  <a:tailEnd/>
                                </a:ln>
                              </p:spPr>
                              <p:txBody>
                                <a:bodyPr wrap="none" anchor="ctr"/>
                                <a:lstStyle/>
                                <a:p>
                                  <a:endParaRPr lang="pt-BR"/>
                                </a:p>
                              </p:txBody>
                            </p:sp>
                            <p:sp>
                              <p:nvSpPr>
                                <p:cNvPr id="342" name="Freeform 60"/>
                                <p:cNvSpPr>
                                  <a:spLocks noChangeArrowheads="1"/>
                                </p:cNvSpPr>
                                <p:nvPr/>
                              </p:nvSpPr>
                              <p:spPr bwMode="auto">
                                <a:xfrm>
                                  <a:off x="7524678" y="3021355"/>
                                  <a:ext cx="181864" cy="124128"/>
                                </a:xfrm>
                                <a:custGeom>
                                  <a:avLst/>
                                  <a:gdLst>
                                    <a:gd name="T0" fmla="*/ 2147483647 w 193"/>
                                    <a:gd name="T1" fmla="*/ 0 h 138"/>
                                    <a:gd name="T2" fmla="*/ 0 w 193"/>
                                    <a:gd name="T3" fmla="*/ 2147483647 h 138"/>
                                    <a:gd name="T4" fmla="*/ 0 60000 65536"/>
                                    <a:gd name="T5" fmla="*/ 0 60000 65536"/>
                                    <a:gd name="T6" fmla="*/ 0 w 193"/>
                                    <a:gd name="T7" fmla="*/ 0 h 138"/>
                                    <a:gd name="T8" fmla="*/ 193 w 193"/>
                                    <a:gd name="T9" fmla="*/ 138 h 138"/>
                                  </a:gdLst>
                                  <a:ahLst/>
                                  <a:cxnLst>
                                    <a:cxn ang="T4">
                                      <a:pos x="T0" y="T1"/>
                                    </a:cxn>
                                    <a:cxn ang="T5">
                                      <a:pos x="T2" y="T3"/>
                                    </a:cxn>
                                  </a:cxnLst>
                                  <a:rect l="T6" t="T7" r="T8" b="T9"/>
                                  <a:pathLst>
                                    <a:path w="193" h="138">
                                      <a:moveTo>
                                        <a:pt x="193" y="0"/>
                                      </a:moveTo>
                                      <a:lnTo>
                                        <a:pt x="0" y="138"/>
                                      </a:lnTo>
                                    </a:path>
                                  </a:pathLst>
                                </a:custGeom>
                                <a:noFill/>
                                <a:ln w="28575">
                                  <a:solidFill>
                                    <a:srgbClr val="0070C0"/>
                                  </a:solidFill>
                                  <a:round/>
                                  <a:headEnd/>
                                  <a:tailEnd/>
                                </a:ln>
                              </p:spPr>
                              <p:txBody>
                                <a:bodyPr wrap="none" anchor="ctr"/>
                                <a:lstStyle/>
                                <a:p>
                                  <a:endParaRPr lang="pt-BR"/>
                                </a:p>
                              </p:txBody>
                            </p:sp>
                            <p:sp>
                              <p:nvSpPr>
                                <p:cNvPr id="343" name="Freeform 61"/>
                                <p:cNvSpPr>
                                  <a:spLocks noChangeArrowheads="1"/>
                                </p:cNvSpPr>
                                <p:nvPr/>
                              </p:nvSpPr>
                              <p:spPr bwMode="auto">
                                <a:xfrm>
                                  <a:off x="7502086" y="3151339"/>
                                  <a:ext cx="14685" cy="221324"/>
                                </a:xfrm>
                                <a:custGeom>
                                  <a:avLst/>
                                  <a:gdLst>
                                    <a:gd name="T0" fmla="*/ 2147483647 w 16"/>
                                    <a:gd name="T1" fmla="*/ 0 h 247"/>
                                    <a:gd name="T2" fmla="*/ 2147483647 w 16"/>
                                    <a:gd name="T3" fmla="*/ 2147483647 h 247"/>
                                    <a:gd name="T4" fmla="*/ 0 w 16"/>
                                    <a:gd name="T5" fmla="*/ 2147483647 h 247"/>
                                    <a:gd name="T6" fmla="*/ 0 60000 65536"/>
                                    <a:gd name="T7" fmla="*/ 0 60000 65536"/>
                                    <a:gd name="T8" fmla="*/ 0 60000 65536"/>
                                    <a:gd name="T9" fmla="*/ 0 w 16"/>
                                    <a:gd name="T10" fmla="*/ 0 h 247"/>
                                    <a:gd name="T11" fmla="*/ 16 w 16"/>
                                    <a:gd name="T12" fmla="*/ 247 h 247"/>
                                  </a:gdLst>
                                  <a:ahLst/>
                                  <a:cxnLst>
                                    <a:cxn ang="T6">
                                      <a:pos x="T0" y="T1"/>
                                    </a:cxn>
                                    <a:cxn ang="T7">
                                      <a:pos x="T2" y="T3"/>
                                    </a:cxn>
                                    <a:cxn ang="T8">
                                      <a:pos x="T4" y="T5"/>
                                    </a:cxn>
                                  </a:cxnLst>
                                  <a:rect l="T9" t="T10" r="T11" b="T12"/>
                                  <a:pathLst>
                                    <a:path w="16" h="247">
                                      <a:moveTo>
                                        <a:pt x="6" y="0"/>
                                      </a:moveTo>
                                      <a:cubicBezTo>
                                        <a:pt x="5" y="43"/>
                                        <a:pt x="16" y="77"/>
                                        <a:pt x="15" y="120"/>
                                      </a:cubicBezTo>
                                      <a:cubicBezTo>
                                        <a:pt x="10" y="162"/>
                                        <a:pt x="5" y="205"/>
                                        <a:pt x="0" y="247"/>
                                      </a:cubicBezTo>
                                    </a:path>
                                  </a:pathLst>
                                </a:custGeom>
                                <a:noFill/>
                                <a:ln w="28575">
                                  <a:solidFill>
                                    <a:srgbClr val="0070C0"/>
                                  </a:solidFill>
                                  <a:round/>
                                  <a:headEnd/>
                                  <a:tailEnd/>
                                </a:ln>
                              </p:spPr>
                              <p:txBody>
                                <a:bodyPr wrap="none" anchor="ctr"/>
                                <a:lstStyle/>
                                <a:p>
                                  <a:endParaRPr lang="pt-BR"/>
                                </a:p>
                              </p:txBody>
                            </p:sp>
                            <p:sp>
                              <p:nvSpPr>
                                <p:cNvPr id="344" name="Freeform 62"/>
                                <p:cNvSpPr>
                                  <a:spLocks noChangeArrowheads="1"/>
                                </p:cNvSpPr>
                                <p:nvPr/>
                              </p:nvSpPr>
                              <p:spPr bwMode="auto">
                                <a:xfrm>
                                  <a:off x="7386869" y="3367978"/>
                                  <a:ext cx="116348" cy="94853"/>
                                </a:xfrm>
                                <a:custGeom>
                                  <a:avLst/>
                                  <a:gdLst>
                                    <a:gd name="T0" fmla="*/ 2147483647 w 65"/>
                                    <a:gd name="T1" fmla="*/ 0 h 60"/>
                                    <a:gd name="T2" fmla="*/ 2147483647 w 65"/>
                                    <a:gd name="T3" fmla="*/ 2147483647 h 60"/>
                                    <a:gd name="T4" fmla="*/ 0 w 65"/>
                                    <a:gd name="T5" fmla="*/ 2147483647 h 60"/>
                                    <a:gd name="T6" fmla="*/ 0 60000 65536"/>
                                    <a:gd name="T7" fmla="*/ 0 60000 65536"/>
                                    <a:gd name="T8" fmla="*/ 0 60000 65536"/>
                                    <a:gd name="T9" fmla="*/ 0 w 65"/>
                                    <a:gd name="T10" fmla="*/ 0 h 60"/>
                                    <a:gd name="T11" fmla="*/ 65 w 65"/>
                                    <a:gd name="T12" fmla="*/ 60 h 60"/>
                                  </a:gdLst>
                                  <a:ahLst/>
                                  <a:cxnLst>
                                    <a:cxn ang="T6">
                                      <a:pos x="T0" y="T1"/>
                                    </a:cxn>
                                    <a:cxn ang="T7">
                                      <a:pos x="T2" y="T3"/>
                                    </a:cxn>
                                    <a:cxn ang="T8">
                                      <a:pos x="T4" y="T5"/>
                                    </a:cxn>
                                  </a:cxnLst>
                                  <a:rect l="T9" t="T10" r="T11" b="T12"/>
                                  <a:pathLst>
                                    <a:path w="65" h="60">
                                      <a:moveTo>
                                        <a:pt x="65" y="0"/>
                                      </a:moveTo>
                                      <a:cubicBezTo>
                                        <a:pt x="61" y="5"/>
                                        <a:pt x="51" y="21"/>
                                        <a:pt x="40" y="31"/>
                                      </a:cubicBezTo>
                                      <a:cubicBezTo>
                                        <a:pt x="29" y="41"/>
                                        <a:pt x="8" y="54"/>
                                        <a:pt x="0" y="60"/>
                                      </a:cubicBezTo>
                                    </a:path>
                                  </a:pathLst>
                                </a:custGeom>
                                <a:noFill/>
                                <a:ln w="28575">
                                  <a:solidFill>
                                    <a:srgbClr val="0070C0"/>
                                  </a:solidFill>
                                  <a:round/>
                                  <a:headEnd/>
                                  <a:tailEnd/>
                                </a:ln>
                              </p:spPr>
                              <p:txBody>
                                <a:bodyPr wrap="none" anchor="ctr"/>
                                <a:lstStyle/>
                                <a:p>
                                  <a:endParaRPr lang="pt-BR"/>
                                </a:p>
                              </p:txBody>
                            </p:sp>
                            <p:sp>
                              <p:nvSpPr>
                                <p:cNvPr id="345" name="Freeform 101"/>
                                <p:cNvSpPr>
                                  <a:spLocks noChangeArrowheads="1"/>
                                </p:cNvSpPr>
                                <p:nvPr/>
                              </p:nvSpPr>
                              <p:spPr bwMode="auto">
                                <a:xfrm>
                                  <a:off x="7591323" y="2652481"/>
                                  <a:ext cx="181862" cy="63235"/>
                                </a:xfrm>
                                <a:custGeom>
                                  <a:avLst/>
                                  <a:gdLst>
                                    <a:gd name="T0" fmla="*/ 2147483647 w 117"/>
                                    <a:gd name="T1" fmla="*/ 2147483647 h 39"/>
                                    <a:gd name="T2" fmla="*/ 2147483647 w 117"/>
                                    <a:gd name="T3" fmla="*/ 2147483647 h 39"/>
                                    <a:gd name="T4" fmla="*/ 0 w 117"/>
                                    <a:gd name="T5" fmla="*/ 2147483647 h 39"/>
                                    <a:gd name="T6" fmla="*/ 0 60000 65536"/>
                                    <a:gd name="T7" fmla="*/ 0 60000 65536"/>
                                    <a:gd name="T8" fmla="*/ 0 60000 65536"/>
                                    <a:gd name="T9" fmla="*/ 0 w 117"/>
                                    <a:gd name="T10" fmla="*/ 0 h 39"/>
                                    <a:gd name="T11" fmla="*/ 117 w 117"/>
                                    <a:gd name="T12" fmla="*/ 39 h 39"/>
                                  </a:gdLst>
                                  <a:ahLst/>
                                  <a:cxnLst>
                                    <a:cxn ang="T6">
                                      <a:pos x="T0" y="T1"/>
                                    </a:cxn>
                                    <a:cxn ang="T7">
                                      <a:pos x="T2" y="T3"/>
                                    </a:cxn>
                                    <a:cxn ang="T8">
                                      <a:pos x="T4" y="T5"/>
                                    </a:cxn>
                                  </a:cxnLst>
                                  <a:rect l="T9" t="T10" r="T11" b="T12"/>
                                  <a:pathLst>
                                    <a:path w="117" h="39">
                                      <a:moveTo>
                                        <a:pt x="117" y="7"/>
                                      </a:moveTo>
                                      <a:cubicBezTo>
                                        <a:pt x="99" y="4"/>
                                        <a:pt x="85" y="0"/>
                                        <a:pt x="66" y="5"/>
                                      </a:cubicBezTo>
                                      <a:cubicBezTo>
                                        <a:pt x="47" y="10"/>
                                        <a:pt x="14" y="32"/>
                                        <a:pt x="0" y="39"/>
                                      </a:cubicBezTo>
                                    </a:path>
                                  </a:pathLst>
                                </a:custGeom>
                                <a:noFill/>
                                <a:ln w="28575">
                                  <a:solidFill>
                                    <a:srgbClr val="0070C0"/>
                                  </a:solidFill>
                                  <a:round/>
                                  <a:headEnd/>
                                  <a:tailEnd/>
                                </a:ln>
                              </p:spPr>
                              <p:txBody>
                                <a:bodyPr wrap="none" anchor="ctr"/>
                                <a:lstStyle/>
                                <a:p>
                                  <a:endParaRPr lang="pt-BR"/>
                                </a:p>
                              </p:txBody>
                            </p:sp>
                            <p:sp>
                              <p:nvSpPr>
                                <p:cNvPr id="346" name="Freeform 105"/>
                                <p:cNvSpPr>
                                  <a:spLocks noChangeArrowheads="1"/>
                                </p:cNvSpPr>
                                <p:nvPr/>
                              </p:nvSpPr>
                              <p:spPr bwMode="auto">
                                <a:xfrm>
                                  <a:off x="7509993" y="2528351"/>
                                  <a:ext cx="67775" cy="48012"/>
                                </a:xfrm>
                                <a:custGeom>
                                  <a:avLst/>
                                  <a:gdLst>
                                    <a:gd name="T0" fmla="*/ 2147483647 w 64"/>
                                    <a:gd name="T1" fmla="*/ 2147483647 h 12"/>
                                    <a:gd name="T2" fmla="*/ 0 w 64"/>
                                    <a:gd name="T3" fmla="*/ 0 h 12"/>
                                    <a:gd name="T4" fmla="*/ 0 60000 65536"/>
                                    <a:gd name="T5" fmla="*/ 0 60000 65536"/>
                                    <a:gd name="T6" fmla="*/ 0 w 64"/>
                                    <a:gd name="T7" fmla="*/ 0 h 12"/>
                                    <a:gd name="T8" fmla="*/ 64 w 64"/>
                                    <a:gd name="T9" fmla="*/ 12 h 12"/>
                                  </a:gdLst>
                                  <a:ahLst/>
                                  <a:cxnLst>
                                    <a:cxn ang="T4">
                                      <a:pos x="T0" y="T1"/>
                                    </a:cxn>
                                    <a:cxn ang="T5">
                                      <a:pos x="T2" y="T3"/>
                                    </a:cxn>
                                  </a:cxnLst>
                                  <a:rect l="T6" t="T7" r="T8" b="T9"/>
                                  <a:pathLst>
                                    <a:path w="64" h="12">
                                      <a:moveTo>
                                        <a:pt x="64" y="12"/>
                                      </a:moveTo>
                                      <a:cubicBezTo>
                                        <a:pt x="53" y="10"/>
                                        <a:pt x="13" y="2"/>
                                        <a:pt x="0" y="0"/>
                                      </a:cubicBezTo>
                                    </a:path>
                                  </a:pathLst>
                                </a:custGeom>
                                <a:noFill/>
                                <a:ln w="28575">
                                  <a:solidFill>
                                    <a:srgbClr val="0070C0"/>
                                  </a:solidFill>
                                  <a:round/>
                                  <a:headEnd/>
                                  <a:tailEnd/>
                                </a:ln>
                              </p:spPr>
                              <p:txBody>
                                <a:bodyPr wrap="none" anchor="ctr"/>
                                <a:lstStyle/>
                                <a:p>
                                  <a:endParaRPr lang="pt-BR"/>
                                </a:p>
                              </p:txBody>
                            </p:sp>
                            <p:sp>
                              <p:nvSpPr>
                                <p:cNvPr id="347" name="Freeform 106"/>
                                <p:cNvSpPr>
                                  <a:spLocks noChangeArrowheads="1"/>
                                </p:cNvSpPr>
                                <p:nvPr/>
                              </p:nvSpPr>
                              <p:spPr bwMode="auto">
                                <a:xfrm>
                                  <a:off x="7791260" y="2244963"/>
                                  <a:ext cx="452963" cy="412203"/>
                                </a:xfrm>
                                <a:custGeom>
                                  <a:avLst/>
                                  <a:gdLst>
                                    <a:gd name="T0" fmla="*/ 0 w 292"/>
                                    <a:gd name="T1" fmla="*/ 2147483647 h 262"/>
                                    <a:gd name="T2" fmla="*/ 2147483647 w 292"/>
                                    <a:gd name="T3" fmla="*/ 2147483647 h 262"/>
                                    <a:gd name="T4" fmla="*/ 2147483647 w 292"/>
                                    <a:gd name="T5" fmla="*/ 2147483647 h 262"/>
                                    <a:gd name="T6" fmla="*/ 2147483647 w 292"/>
                                    <a:gd name="T7" fmla="*/ 2147483647 h 262"/>
                                    <a:gd name="T8" fmla="*/ 2147483647 w 292"/>
                                    <a:gd name="T9" fmla="*/ 2147483647 h 262"/>
                                    <a:gd name="T10" fmla="*/ 2147483647 w 292"/>
                                    <a:gd name="T11" fmla="*/ 0 h 262"/>
                                    <a:gd name="T12" fmla="*/ 0 60000 65536"/>
                                    <a:gd name="T13" fmla="*/ 0 60000 65536"/>
                                    <a:gd name="T14" fmla="*/ 0 60000 65536"/>
                                    <a:gd name="T15" fmla="*/ 0 60000 65536"/>
                                    <a:gd name="T16" fmla="*/ 0 60000 65536"/>
                                    <a:gd name="T17" fmla="*/ 0 60000 65536"/>
                                    <a:gd name="T18" fmla="*/ 0 w 292"/>
                                    <a:gd name="T19" fmla="*/ 0 h 262"/>
                                    <a:gd name="T20" fmla="*/ 292 w 292"/>
                                    <a:gd name="T21" fmla="*/ 262 h 262"/>
                                  </a:gdLst>
                                  <a:ahLst/>
                                  <a:cxnLst>
                                    <a:cxn ang="T12">
                                      <a:pos x="T0" y="T1"/>
                                    </a:cxn>
                                    <a:cxn ang="T13">
                                      <a:pos x="T2" y="T3"/>
                                    </a:cxn>
                                    <a:cxn ang="T14">
                                      <a:pos x="T4" y="T5"/>
                                    </a:cxn>
                                    <a:cxn ang="T15">
                                      <a:pos x="T6" y="T7"/>
                                    </a:cxn>
                                    <a:cxn ang="T16">
                                      <a:pos x="T8" y="T9"/>
                                    </a:cxn>
                                    <a:cxn ang="T17">
                                      <a:pos x="T10" y="T11"/>
                                    </a:cxn>
                                  </a:cxnLst>
                                  <a:rect l="T18" t="T19" r="T20" b="T21"/>
                                  <a:pathLst>
                                    <a:path w="292" h="262">
                                      <a:moveTo>
                                        <a:pt x="0" y="262"/>
                                      </a:moveTo>
                                      <a:cubicBezTo>
                                        <a:pt x="12" y="247"/>
                                        <a:pt x="55" y="198"/>
                                        <a:pt x="70" y="174"/>
                                      </a:cubicBezTo>
                                      <a:cubicBezTo>
                                        <a:pt x="85" y="150"/>
                                        <a:pt x="70" y="134"/>
                                        <a:pt x="88" y="118"/>
                                      </a:cubicBezTo>
                                      <a:cubicBezTo>
                                        <a:pt x="106" y="102"/>
                                        <a:pt x="160" y="93"/>
                                        <a:pt x="178" y="80"/>
                                      </a:cubicBezTo>
                                      <a:cubicBezTo>
                                        <a:pt x="196" y="67"/>
                                        <a:pt x="179" y="51"/>
                                        <a:pt x="198" y="38"/>
                                      </a:cubicBezTo>
                                      <a:cubicBezTo>
                                        <a:pt x="217" y="25"/>
                                        <a:pt x="272" y="8"/>
                                        <a:pt x="292" y="0"/>
                                      </a:cubicBezTo>
                                    </a:path>
                                  </a:pathLst>
                                </a:custGeom>
                                <a:noFill/>
                                <a:ln w="28575">
                                  <a:solidFill>
                                    <a:srgbClr val="0070C0"/>
                                  </a:solidFill>
                                  <a:round/>
                                  <a:headEnd/>
                                  <a:tailEnd/>
                                </a:ln>
                              </p:spPr>
                              <p:txBody>
                                <a:bodyPr wrap="none" anchor="ctr"/>
                                <a:lstStyle/>
                                <a:p>
                                  <a:endParaRPr lang="pt-BR"/>
                                </a:p>
                              </p:txBody>
                            </p:sp>
                            <p:sp>
                              <p:nvSpPr>
                                <p:cNvPr id="348" name="Text Box 112"/>
                                <p:cNvSpPr txBox="1">
                                  <a:spLocks noChangeArrowheads="1"/>
                                </p:cNvSpPr>
                                <p:nvPr/>
                              </p:nvSpPr>
                              <p:spPr bwMode="auto">
                                <a:xfrm>
                                  <a:off x="6337487" y="1692238"/>
                                  <a:ext cx="242345" cy="60453"/>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80808"/>
                                      </a:solidFill>
                                      <a:latin typeface="Calibri" pitchFamily="34" charset="0"/>
                                    </a:rPr>
                                    <a:t>Manaus</a:t>
                                  </a:r>
                                </a:p>
                              </p:txBody>
                            </p:sp>
                            <p:sp>
                              <p:nvSpPr>
                                <p:cNvPr id="349" name="Text Box 113"/>
                                <p:cNvSpPr txBox="1">
                                  <a:spLocks noChangeArrowheads="1"/>
                                </p:cNvSpPr>
                                <p:nvPr/>
                              </p:nvSpPr>
                              <p:spPr bwMode="auto">
                                <a:xfrm>
                                  <a:off x="6790306" y="2271529"/>
                                  <a:ext cx="206294" cy="60453"/>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80808"/>
                                      </a:solidFill>
                                      <a:latin typeface="Calibri" pitchFamily="34" charset="0"/>
                                    </a:rPr>
                                    <a:t>Cuiabá</a:t>
                                  </a:r>
                                </a:p>
                              </p:txBody>
                            </p:sp>
                            <p:sp>
                              <p:nvSpPr>
                                <p:cNvPr id="350" name="Text Box 115"/>
                                <p:cNvSpPr txBox="1">
                                  <a:spLocks noChangeArrowheads="1"/>
                                </p:cNvSpPr>
                                <p:nvPr/>
                              </p:nvSpPr>
                              <p:spPr bwMode="auto">
                                <a:xfrm>
                                  <a:off x="7506711" y="3338703"/>
                                  <a:ext cx="424723" cy="80801"/>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Florianópolis</a:t>
                                  </a:r>
                                </a:p>
                              </p:txBody>
                            </p:sp>
                            <p:sp>
                              <p:nvSpPr>
                                <p:cNvPr id="351" name="Text Box 116"/>
                                <p:cNvSpPr txBox="1">
                                  <a:spLocks noChangeArrowheads="1"/>
                                </p:cNvSpPr>
                                <p:nvPr/>
                              </p:nvSpPr>
                              <p:spPr bwMode="auto">
                                <a:xfrm>
                                  <a:off x="7723485" y="3079906"/>
                                  <a:ext cx="325319" cy="80802"/>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São Paulo</a:t>
                                  </a:r>
                                </a:p>
                              </p:txBody>
                            </p:sp>
                            <p:sp>
                              <p:nvSpPr>
                                <p:cNvPr id="352" name="Text Box 120"/>
                                <p:cNvSpPr txBox="1">
                                  <a:spLocks noChangeArrowheads="1"/>
                                </p:cNvSpPr>
                                <p:nvPr/>
                              </p:nvSpPr>
                              <p:spPr bwMode="auto">
                                <a:xfrm>
                                  <a:off x="7168860" y="1167617"/>
                                  <a:ext cx="271099" cy="80801"/>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Macapá</a:t>
                                  </a:r>
                                </a:p>
                              </p:txBody>
                            </p:sp>
                            <p:sp>
                              <p:nvSpPr>
                                <p:cNvPr id="353" name="Text Box 121"/>
                                <p:cNvSpPr txBox="1">
                                  <a:spLocks noChangeArrowheads="1"/>
                                </p:cNvSpPr>
                                <p:nvPr/>
                              </p:nvSpPr>
                              <p:spPr bwMode="auto">
                                <a:xfrm>
                                  <a:off x="6503535" y="1316338"/>
                                  <a:ext cx="311764" cy="80802"/>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Boa Vista</a:t>
                                  </a:r>
                                </a:p>
                              </p:txBody>
                            </p:sp>
                            <p:sp>
                              <p:nvSpPr>
                                <p:cNvPr id="354" name="Text Box 122"/>
                                <p:cNvSpPr txBox="1">
                                  <a:spLocks noChangeArrowheads="1"/>
                                </p:cNvSpPr>
                                <p:nvPr/>
                              </p:nvSpPr>
                              <p:spPr bwMode="auto">
                                <a:xfrm>
                                  <a:off x="6361207" y="2034178"/>
                                  <a:ext cx="267711" cy="80801"/>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P. Velho</a:t>
                                  </a:r>
                                </a:p>
                              </p:txBody>
                            </p:sp>
                            <p:sp>
                              <p:nvSpPr>
                                <p:cNvPr id="355" name="Text Box 123"/>
                                <p:cNvSpPr txBox="1">
                                  <a:spLocks noChangeArrowheads="1"/>
                                </p:cNvSpPr>
                                <p:nvPr/>
                              </p:nvSpPr>
                              <p:spPr bwMode="auto">
                                <a:xfrm>
                                  <a:off x="8274722" y="2288292"/>
                                  <a:ext cx="262373" cy="60453"/>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dirty="0">
                                      <a:solidFill>
                                        <a:srgbClr val="080808"/>
                                      </a:solidFill>
                                      <a:latin typeface="Calibri" pitchFamily="34" charset="0"/>
                                    </a:rPr>
                                    <a:t>Salvador</a:t>
                                  </a:r>
                                </a:p>
                              </p:txBody>
                            </p:sp>
                            <p:sp>
                              <p:nvSpPr>
                                <p:cNvPr id="356" name="Text Box 131"/>
                                <p:cNvSpPr txBox="1">
                                  <a:spLocks noChangeArrowheads="1"/>
                                </p:cNvSpPr>
                                <p:nvPr/>
                              </p:nvSpPr>
                              <p:spPr bwMode="auto">
                                <a:xfrm>
                                  <a:off x="7534806" y="3158963"/>
                                  <a:ext cx="262064" cy="80801"/>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Curitiba</a:t>
                                  </a:r>
                                </a:p>
                              </p:txBody>
                            </p:sp>
                            <p:sp>
                              <p:nvSpPr>
                                <p:cNvPr id="357" name="Text Box 133"/>
                                <p:cNvSpPr txBox="1">
                                  <a:spLocks noChangeArrowheads="1"/>
                                </p:cNvSpPr>
                                <p:nvPr/>
                              </p:nvSpPr>
                              <p:spPr bwMode="auto">
                                <a:xfrm>
                                  <a:off x="8418957" y="1981482"/>
                                  <a:ext cx="245121" cy="80802"/>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Maceió</a:t>
                                  </a:r>
                                </a:p>
                              </p:txBody>
                            </p:sp>
                            <p:sp>
                              <p:nvSpPr>
                                <p:cNvPr id="358" name="Text Box 134"/>
                                <p:cNvSpPr txBox="1">
                                  <a:spLocks noChangeArrowheads="1"/>
                                </p:cNvSpPr>
                                <p:nvPr/>
                              </p:nvSpPr>
                              <p:spPr bwMode="auto">
                                <a:xfrm>
                                  <a:off x="8471429" y="1866721"/>
                                  <a:ext cx="198807" cy="80802"/>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Recife</a:t>
                                  </a:r>
                                </a:p>
                              </p:txBody>
                            </p:sp>
                            <p:sp>
                              <p:nvSpPr>
                                <p:cNvPr id="359" name="Text Box 135"/>
                                <p:cNvSpPr txBox="1">
                                  <a:spLocks noChangeArrowheads="1"/>
                                </p:cNvSpPr>
                                <p:nvPr/>
                              </p:nvSpPr>
                              <p:spPr bwMode="auto">
                                <a:xfrm>
                                  <a:off x="8170800" y="1481453"/>
                                  <a:ext cx="307246" cy="80801"/>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Fortaleza</a:t>
                                  </a:r>
                                </a:p>
                              </p:txBody>
                            </p:sp>
                            <p:sp>
                              <p:nvSpPr>
                                <p:cNvPr id="360" name="Text Box 138"/>
                                <p:cNvSpPr txBox="1">
                                  <a:spLocks noChangeArrowheads="1"/>
                                </p:cNvSpPr>
                                <p:nvPr/>
                              </p:nvSpPr>
                              <p:spPr bwMode="auto">
                                <a:xfrm>
                                  <a:off x="7466911" y="2342600"/>
                                  <a:ext cx="486850" cy="65972"/>
                                </a:xfrm>
                                <a:prstGeom prst="rect">
                                  <a:avLst/>
                                </a:prstGeom>
                                <a:noFill/>
                                <a:ln w="9525">
                                  <a:noFill/>
                                  <a:round/>
                                  <a:headEnd/>
                                  <a:tailEnd/>
                                </a:ln>
                              </p:spPr>
                              <p:txBody>
                                <a:bodyPr lIns="0" tIns="0" rIns="0" bIns="0">
                                  <a:spAutoFit/>
                                </a:bodyPr>
                                <a:lstStyle/>
                                <a:p>
                                  <a:pPr defTabSz="457200">
                                    <a:lnSpc>
                                      <a:spcPct val="7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latin typeface="Calibri" pitchFamily="34" charset="0"/>
                                    </a:rPr>
                                    <a:t>Brasília</a:t>
                                  </a:r>
                                </a:p>
                              </p:txBody>
                            </p:sp>
                            <p:sp>
                              <p:nvSpPr>
                                <p:cNvPr id="361" name="Text Box 139"/>
                                <p:cNvSpPr txBox="1">
                                  <a:spLocks noChangeArrowheads="1"/>
                                </p:cNvSpPr>
                                <p:nvPr/>
                              </p:nvSpPr>
                              <p:spPr bwMode="auto">
                                <a:xfrm>
                                  <a:off x="7944515" y="2995592"/>
                                  <a:ext cx="423603" cy="60453"/>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80808"/>
                                      </a:solidFill>
                                      <a:latin typeface="Calibri" pitchFamily="34" charset="0"/>
                                    </a:rPr>
                                    <a:t>Rio de Janeiro</a:t>
                                  </a:r>
                                </a:p>
                              </p:txBody>
                            </p:sp>
                            <p:sp>
                              <p:nvSpPr>
                                <p:cNvPr id="362" name="Text Box 140"/>
                                <p:cNvSpPr txBox="1">
                                  <a:spLocks noChangeArrowheads="1"/>
                                </p:cNvSpPr>
                                <p:nvPr/>
                              </p:nvSpPr>
                              <p:spPr bwMode="auto">
                                <a:xfrm>
                                  <a:off x="7267909" y="3500305"/>
                                  <a:ext cx="543329" cy="80801"/>
                                </a:xfrm>
                                <a:prstGeom prst="rect">
                                  <a:avLst/>
                                </a:prstGeom>
                                <a:noFill/>
                                <a:ln w="9525">
                                  <a:noFill/>
                                  <a:round/>
                                  <a:headEnd/>
                                  <a:tailEnd/>
                                </a:ln>
                              </p:spPr>
                              <p:txBody>
                                <a:bodyPr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Porto Alegre</a:t>
                                  </a:r>
                                </a:p>
                              </p:txBody>
                            </p:sp>
                            <p:sp>
                              <p:nvSpPr>
                                <p:cNvPr id="363" name="Freeform 256"/>
                                <p:cNvSpPr>
                                  <a:spLocks noChangeArrowheads="1"/>
                                </p:cNvSpPr>
                                <p:nvPr/>
                              </p:nvSpPr>
                              <p:spPr bwMode="auto">
                                <a:xfrm>
                                  <a:off x="7385740" y="3139629"/>
                                  <a:ext cx="143457" cy="332572"/>
                                </a:xfrm>
                                <a:custGeom>
                                  <a:avLst/>
                                  <a:gdLst>
                                    <a:gd name="T0" fmla="*/ 2147483647 w 153"/>
                                    <a:gd name="T1" fmla="*/ 0 h 372"/>
                                    <a:gd name="T2" fmla="*/ 2147483647 w 153"/>
                                    <a:gd name="T3" fmla="*/ 2147483647 h 372"/>
                                    <a:gd name="T4" fmla="*/ 2147483647 w 153"/>
                                    <a:gd name="T5" fmla="*/ 2147483647 h 372"/>
                                    <a:gd name="T6" fmla="*/ 0 w 153"/>
                                    <a:gd name="T7" fmla="*/ 2147483647 h 372"/>
                                    <a:gd name="T8" fmla="*/ 0 60000 65536"/>
                                    <a:gd name="T9" fmla="*/ 0 60000 65536"/>
                                    <a:gd name="T10" fmla="*/ 0 60000 65536"/>
                                    <a:gd name="T11" fmla="*/ 0 60000 65536"/>
                                    <a:gd name="T12" fmla="*/ 0 w 153"/>
                                    <a:gd name="T13" fmla="*/ 0 h 372"/>
                                    <a:gd name="T14" fmla="*/ 153 w 153"/>
                                    <a:gd name="T15" fmla="*/ 372 h 372"/>
                                  </a:gdLst>
                                  <a:ahLst/>
                                  <a:cxnLst>
                                    <a:cxn ang="T8">
                                      <a:pos x="T0" y="T1"/>
                                    </a:cxn>
                                    <a:cxn ang="T9">
                                      <a:pos x="T2" y="T3"/>
                                    </a:cxn>
                                    <a:cxn ang="T10">
                                      <a:pos x="T4" y="T5"/>
                                    </a:cxn>
                                    <a:cxn ang="T11">
                                      <a:pos x="T6" y="T7"/>
                                    </a:cxn>
                                  </a:cxnLst>
                                  <a:rect l="T12" t="T13" r="T14" b="T15"/>
                                  <a:pathLst>
                                    <a:path w="153" h="372">
                                      <a:moveTo>
                                        <a:pt x="153" y="0"/>
                                      </a:moveTo>
                                      <a:cubicBezTo>
                                        <a:pt x="144" y="5"/>
                                        <a:pt x="119" y="4"/>
                                        <a:pt x="96" y="33"/>
                                      </a:cubicBezTo>
                                      <a:cubicBezTo>
                                        <a:pt x="73" y="62"/>
                                        <a:pt x="32" y="116"/>
                                        <a:pt x="16" y="172"/>
                                      </a:cubicBezTo>
                                      <a:cubicBezTo>
                                        <a:pt x="0" y="228"/>
                                        <a:pt x="0" y="318"/>
                                        <a:pt x="0" y="372"/>
                                      </a:cubicBezTo>
                                    </a:path>
                                  </a:pathLst>
                                </a:custGeom>
                                <a:noFill/>
                                <a:ln w="28575">
                                  <a:solidFill>
                                    <a:srgbClr val="0070C0"/>
                                  </a:solidFill>
                                  <a:round/>
                                  <a:headEnd/>
                                  <a:tailEnd/>
                                </a:ln>
                              </p:spPr>
                              <p:txBody>
                                <a:bodyPr wrap="none" anchor="ctr"/>
                                <a:lstStyle/>
                                <a:p>
                                  <a:endParaRPr lang="pt-BR"/>
                                </a:p>
                              </p:txBody>
                            </p:sp>
                            <p:graphicFrame>
                              <p:nvGraphicFramePr>
                                <p:cNvPr id="364" name="Object 2"/>
                                <p:cNvGraphicFramePr>
                                  <a:graphicFrameLocks noChangeAspect="1"/>
                                </p:cNvGraphicFramePr>
                                <p:nvPr/>
                              </p:nvGraphicFramePr>
                              <p:xfrm>
                                <a:off x="7755113" y="2640772"/>
                                <a:ext cx="54220" cy="55038"/>
                              </p:xfrm>
                              <a:graphic>
                                <a:graphicData uri="http://schemas.openxmlformats.org/presentationml/2006/ole">
                                  <p:oleObj spid="_x0000_s2099599" r:id="rId6" imgW="312983" imgH="312983" progId="">
                                    <p:embed/>
                                  </p:oleObj>
                                </a:graphicData>
                              </a:graphic>
                            </p:graphicFrame>
                            <p:sp>
                              <p:nvSpPr>
                                <p:cNvPr id="365" name="Text Box 119"/>
                                <p:cNvSpPr txBox="1">
                                  <a:spLocks noChangeArrowheads="1"/>
                                </p:cNvSpPr>
                                <p:nvPr/>
                              </p:nvSpPr>
                              <p:spPr bwMode="auto">
                                <a:xfrm>
                                  <a:off x="7307710" y="2437012"/>
                                  <a:ext cx="232331" cy="60453"/>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80808"/>
                                      </a:solidFill>
                                      <a:latin typeface="Calibri" pitchFamily="34" charset="0"/>
                                    </a:rPr>
                                    <a:t>Goiânia</a:t>
                                  </a:r>
                                </a:p>
                              </p:txBody>
                            </p:sp>
                            <p:graphicFrame>
                              <p:nvGraphicFramePr>
                                <p:cNvPr id="366" name="Object 3"/>
                                <p:cNvGraphicFramePr>
                                  <a:graphicFrameLocks noChangeAspect="1"/>
                                </p:cNvGraphicFramePr>
                                <p:nvPr/>
                              </p:nvGraphicFramePr>
                              <p:xfrm>
                                <a:off x="7477236" y="3126747"/>
                                <a:ext cx="56480" cy="56209"/>
                              </p:xfrm>
                              <a:graphic>
                                <a:graphicData uri="http://schemas.openxmlformats.org/presentationml/2006/ole">
                                  <p:oleObj spid="_x0000_s2099600" r:id="rId7" imgW="312983" imgH="312983" progId="">
                                    <p:embed/>
                                  </p:oleObj>
                                </a:graphicData>
                              </a:graphic>
                            </p:graphicFrame>
                            <p:graphicFrame>
                              <p:nvGraphicFramePr>
                                <p:cNvPr id="367" name="Object 4"/>
                                <p:cNvGraphicFramePr>
                                  <a:graphicFrameLocks noChangeAspect="1"/>
                                </p:cNvGraphicFramePr>
                                <p:nvPr/>
                              </p:nvGraphicFramePr>
                              <p:xfrm>
                                <a:off x="7476107" y="2507274"/>
                                <a:ext cx="50831" cy="52696"/>
                              </p:xfrm>
                              <a:graphic>
                                <a:graphicData uri="http://schemas.openxmlformats.org/presentationml/2006/ole">
                                  <p:oleObj spid="_x0000_s2099601" r:id="rId8" imgW="312983" imgH="312983" progId="">
                                    <p:embed/>
                                  </p:oleObj>
                                </a:graphicData>
                              </a:graphic>
                            </p:graphicFrame>
                            <p:graphicFrame>
                              <p:nvGraphicFramePr>
                                <p:cNvPr id="368" name="Object 5"/>
                                <p:cNvGraphicFramePr>
                                  <a:graphicFrameLocks noChangeAspect="1"/>
                                </p:cNvGraphicFramePr>
                                <p:nvPr/>
                              </p:nvGraphicFramePr>
                              <p:xfrm>
                                <a:off x="7576638" y="2686441"/>
                                <a:ext cx="50832" cy="52697"/>
                              </p:xfrm>
                              <a:graphic>
                                <a:graphicData uri="http://schemas.openxmlformats.org/presentationml/2006/ole">
                                  <p:oleObj spid="_x0000_s2099602" r:id="rId9" imgW="312983" imgH="312983" progId="">
                                    <p:embed/>
                                  </p:oleObj>
                                </a:graphicData>
                              </a:graphic>
                            </p:graphicFrame>
                            <p:graphicFrame>
                              <p:nvGraphicFramePr>
                                <p:cNvPr id="369" name="Object 6"/>
                                <p:cNvGraphicFramePr>
                                  <a:graphicFrameLocks noChangeAspect="1"/>
                                </p:cNvGraphicFramePr>
                                <p:nvPr/>
                              </p:nvGraphicFramePr>
                              <p:xfrm>
                                <a:off x="8448678" y="1865551"/>
                                <a:ext cx="50832" cy="52696"/>
                              </p:xfrm>
                              <a:graphic>
                                <a:graphicData uri="http://schemas.openxmlformats.org/presentationml/2006/ole">
                                  <p:oleObj spid="_x0000_s2099603" r:id="rId10" imgW="312983" imgH="312983" progId="">
                                    <p:embed/>
                                  </p:oleObj>
                                </a:graphicData>
                              </a:graphic>
                            </p:graphicFrame>
                            <p:graphicFrame>
                              <p:nvGraphicFramePr>
                                <p:cNvPr id="370" name="Object 7"/>
                                <p:cNvGraphicFramePr>
                                  <a:graphicFrameLocks noChangeAspect="1"/>
                                </p:cNvGraphicFramePr>
                                <p:nvPr/>
                              </p:nvGraphicFramePr>
                              <p:xfrm>
                                <a:off x="8398976" y="1967429"/>
                                <a:ext cx="51961" cy="52697"/>
                              </p:xfrm>
                              <a:graphic>
                                <a:graphicData uri="http://schemas.openxmlformats.org/presentationml/2006/ole">
                                  <p:oleObj spid="_x0000_s2099604" r:id="rId11" imgW="312983" imgH="312983" progId="">
                                    <p:embed/>
                                  </p:oleObj>
                                </a:graphicData>
                              </a:graphic>
                            </p:graphicFrame>
                            <p:graphicFrame>
                              <p:nvGraphicFramePr>
                                <p:cNvPr id="371" name="Object 8"/>
                                <p:cNvGraphicFramePr>
                                  <a:graphicFrameLocks noChangeAspect="1"/>
                                </p:cNvGraphicFramePr>
                                <p:nvPr/>
                              </p:nvGraphicFramePr>
                              <p:xfrm>
                                <a:off x="7668135" y="3001448"/>
                                <a:ext cx="54220" cy="55038"/>
                              </p:xfrm>
                              <a:graphic>
                                <a:graphicData uri="http://schemas.openxmlformats.org/presentationml/2006/ole">
                                  <p:oleObj spid="_x0000_s2099605" r:id="rId12" imgW="312983" imgH="312983" progId="">
                                    <p:embed/>
                                  </p:oleObj>
                                </a:graphicData>
                              </a:graphic>
                            </p:graphicFrame>
                            <p:graphicFrame>
                              <p:nvGraphicFramePr>
                                <p:cNvPr id="372" name="Object 9"/>
                                <p:cNvGraphicFramePr>
                                  <a:graphicFrameLocks noChangeAspect="1"/>
                                </p:cNvGraphicFramePr>
                                <p:nvPr/>
                              </p:nvGraphicFramePr>
                              <p:xfrm>
                                <a:off x="7474976" y="3337533"/>
                                <a:ext cx="55350" cy="56209"/>
                              </p:xfrm>
                              <a:graphic>
                                <a:graphicData uri="http://schemas.openxmlformats.org/presentationml/2006/ole">
                                  <p:oleObj spid="_x0000_s2099606" r:id="rId13" imgW="312983" imgH="312983" progId="">
                                    <p:embed/>
                                  </p:oleObj>
                                </a:graphicData>
                              </a:graphic>
                            </p:graphicFrame>
                            <p:sp>
                              <p:nvSpPr>
                                <p:cNvPr id="373" name="Text Box 136"/>
                                <p:cNvSpPr txBox="1">
                                  <a:spLocks noChangeArrowheads="1"/>
                                </p:cNvSpPr>
                                <p:nvPr/>
                              </p:nvSpPr>
                              <p:spPr bwMode="auto">
                                <a:xfrm>
                                  <a:off x="7515114" y="1350297"/>
                                  <a:ext cx="189269" cy="61957"/>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dirty="0" err="1">
                                      <a:solidFill>
                                        <a:srgbClr val="080808"/>
                                      </a:solidFill>
                                      <a:latin typeface="Calibri" pitchFamily="34" charset="0"/>
                                    </a:rPr>
                                    <a:t>Belém</a:t>
                                  </a:r>
                                  <a:endParaRPr lang="en-GB" sz="900" dirty="0">
                                    <a:solidFill>
                                      <a:srgbClr val="080808"/>
                                    </a:solidFill>
                                    <a:latin typeface="Calibri" pitchFamily="34" charset="0"/>
                                  </a:endParaRPr>
                                </a:p>
                              </p:txBody>
                            </p:sp>
                            <p:sp>
                              <p:nvSpPr>
                                <p:cNvPr id="374" name="Text Box 117"/>
                                <p:cNvSpPr txBox="1">
                                  <a:spLocks noChangeArrowheads="1"/>
                                </p:cNvSpPr>
                                <p:nvPr/>
                              </p:nvSpPr>
                              <p:spPr bwMode="auto">
                                <a:xfrm>
                                  <a:off x="7686630" y="2594903"/>
                                  <a:ext cx="239699" cy="110800"/>
                                </a:xfrm>
                                <a:prstGeom prst="rect">
                                  <a:avLst/>
                                </a:prstGeom>
                                <a:noFill/>
                                <a:ln w="9525">
                                  <a:noFill/>
                                  <a:round/>
                                  <a:headEnd/>
                                  <a:tailEnd/>
                                </a:ln>
                              </p:spPr>
                              <p:txBody>
                                <a:bodyPr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BHE</a:t>
                                  </a:r>
                                </a:p>
                              </p:txBody>
                            </p:sp>
                            <p:graphicFrame>
                              <p:nvGraphicFramePr>
                                <p:cNvPr id="375" name="Object 10"/>
                                <p:cNvGraphicFramePr>
                                  <a:graphicFrameLocks noChangeAspect="1"/>
                                </p:cNvGraphicFramePr>
                                <p:nvPr/>
                              </p:nvGraphicFramePr>
                              <p:xfrm>
                                <a:off x="6466259" y="1959232"/>
                                <a:ext cx="51961" cy="53867"/>
                              </p:xfrm>
                              <a:graphic>
                                <a:graphicData uri="http://schemas.openxmlformats.org/presentationml/2006/ole">
                                  <p:oleObj spid="_x0000_s2099607" r:id="rId14" imgW="312983" imgH="312983" progId="">
                                    <p:embed/>
                                  </p:oleObj>
                                </a:graphicData>
                              </a:graphic>
                            </p:graphicFrame>
                            <p:graphicFrame>
                              <p:nvGraphicFramePr>
                                <p:cNvPr id="376" name="Object 11"/>
                                <p:cNvGraphicFramePr>
                                  <a:graphicFrameLocks noChangeAspect="1"/>
                                </p:cNvGraphicFramePr>
                                <p:nvPr/>
                              </p:nvGraphicFramePr>
                              <p:xfrm>
                                <a:off x="6578087" y="1638371"/>
                                <a:ext cx="50832" cy="52696"/>
                              </p:xfrm>
                              <a:graphic>
                                <a:graphicData uri="http://schemas.openxmlformats.org/presentationml/2006/ole">
                                  <p:oleObj spid="_x0000_s2099608" r:id="rId15" imgW="312983" imgH="312983" progId="">
                                    <p:embed/>
                                  </p:oleObj>
                                </a:graphicData>
                              </a:graphic>
                            </p:graphicFrame>
                            <p:graphicFrame>
                              <p:nvGraphicFramePr>
                                <p:cNvPr id="377" name="Object 12"/>
                                <p:cNvGraphicFramePr>
                                  <a:graphicFrameLocks noChangeAspect="1"/>
                                </p:cNvGraphicFramePr>
                                <p:nvPr/>
                              </p:nvGraphicFramePr>
                              <p:xfrm>
                                <a:off x="6628919" y="1262471"/>
                                <a:ext cx="51961" cy="53867"/>
                              </p:xfrm>
                              <a:graphic>
                                <a:graphicData uri="http://schemas.openxmlformats.org/presentationml/2006/ole">
                                  <p:oleObj spid="_x0000_s2099609" r:id="rId16" imgW="312983" imgH="312983" progId="">
                                    <p:embed/>
                                  </p:oleObj>
                                </a:graphicData>
                              </a:graphic>
                            </p:graphicFrame>
                            <p:graphicFrame>
                              <p:nvGraphicFramePr>
                                <p:cNvPr id="378" name="Object 13"/>
                                <p:cNvGraphicFramePr>
                                  <a:graphicFrameLocks noChangeAspect="1"/>
                                </p:cNvGraphicFramePr>
                                <p:nvPr/>
                              </p:nvGraphicFramePr>
                              <p:xfrm>
                                <a:off x="7294243" y="1247247"/>
                                <a:ext cx="51961" cy="52696"/>
                              </p:xfrm>
                              <a:graphic>
                                <a:graphicData uri="http://schemas.openxmlformats.org/presentationml/2006/ole">
                                  <p:oleObj spid="_x0000_s2099610" r:id="rId17" imgW="312983" imgH="312983" progId="">
                                    <p:embed/>
                                  </p:oleObj>
                                </a:graphicData>
                              </a:graphic>
                            </p:graphicFrame>
                            <p:graphicFrame>
                              <p:nvGraphicFramePr>
                                <p:cNvPr id="379" name="Object 14"/>
                                <p:cNvGraphicFramePr>
                                  <a:graphicFrameLocks noChangeAspect="1"/>
                                </p:cNvGraphicFramePr>
                                <p:nvPr/>
                              </p:nvGraphicFramePr>
                              <p:xfrm>
                                <a:off x="7572121" y="2393683"/>
                                <a:ext cx="50832" cy="52697"/>
                              </p:xfrm>
                              <a:graphic>
                                <a:graphicData uri="http://schemas.openxmlformats.org/presentationml/2006/ole">
                                  <p:oleObj spid="_x0000_s2099611" r:id="rId18" imgW="312983" imgH="312983" progId="">
                                    <p:embed/>
                                  </p:oleObj>
                                </a:graphicData>
                              </a:graphic>
                            </p:graphicFrame>
                            <p:graphicFrame>
                              <p:nvGraphicFramePr>
                                <p:cNvPr id="380" name="Object 15"/>
                                <p:cNvGraphicFramePr>
                                  <a:graphicFrameLocks noChangeAspect="1"/>
                                </p:cNvGraphicFramePr>
                                <p:nvPr/>
                              </p:nvGraphicFramePr>
                              <p:xfrm>
                                <a:off x="7502086" y="1433440"/>
                                <a:ext cx="51961" cy="56209"/>
                              </p:xfrm>
                              <a:graphic>
                                <a:graphicData uri="http://schemas.openxmlformats.org/presentationml/2006/ole">
                                  <p:oleObj spid="_x0000_s2099612" r:id="rId19" imgW="312983" imgH="312983" progId="">
                                    <p:embed/>
                                  </p:oleObj>
                                </a:graphicData>
                              </a:graphic>
                            </p:graphicFrame>
                            <p:graphicFrame>
                              <p:nvGraphicFramePr>
                                <p:cNvPr id="381" name="Object 16"/>
                                <p:cNvGraphicFramePr>
                                  <a:graphicFrameLocks noChangeAspect="1"/>
                                </p:cNvGraphicFramePr>
                                <p:nvPr/>
                              </p:nvGraphicFramePr>
                              <p:xfrm>
                                <a:off x="7922291" y="2946409"/>
                                <a:ext cx="54220" cy="55039"/>
                              </p:xfrm>
                              <a:graphic>
                                <a:graphicData uri="http://schemas.openxmlformats.org/presentationml/2006/ole">
                                  <p:oleObj spid="_x0000_s2099613" r:id="rId20" imgW="312983" imgH="312983" progId="">
                                    <p:embed/>
                                  </p:oleObj>
                                </a:graphicData>
                              </a:graphic>
                            </p:graphicFrame>
                            <p:graphicFrame>
                              <p:nvGraphicFramePr>
                                <p:cNvPr id="382" name="Object 17"/>
                                <p:cNvGraphicFramePr>
                                  <a:graphicFrameLocks noChangeAspect="1"/>
                                </p:cNvGraphicFramePr>
                                <p:nvPr/>
                              </p:nvGraphicFramePr>
                              <p:xfrm>
                                <a:off x="7547270" y="2809399"/>
                                <a:ext cx="51961" cy="52696"/>
                              </p:xfrm>
                              <a:graphic>
                                <a:graphicData uri="http://schemas.openxmlformats.org/presentationml/2006/ole">
                                  <p:oleObj spid="_x0000_s2099614" r:id="rId21" imgW="312983" imgH="312983" progId="">
                                    <p:embed/>
                                  </p:oleObj>
                                </a:graphicData>
                              </a:graphic>
                            </p:graphicFrame>
                            <p:graphicFrame>
                              <p:nvGraphicFramePr>
                                <p:cNvPr id="383" name="Object 18"/>
                                <p:cNvGraphicFramePr>
                                  <a:graphicFrameLocks noChangeAspect="1"/>
                                </p:cNvGraphicFramePr>
                                <p:nvPr/>
                              </p:nvGraphicFramePr>
                              <p:xfrm>
                                <a:off x="7355241" y="3441755"/>
                                <a:ext cx="56480" cy="56209"/>
                              </p:xfrm>
                              <a:graphic>
                                <a:graphicData uri="http://schemas.openxmlformats.org/presentationml/2006/ole">
                                  <p:oleObj spid="_x0000_s2099615" r:id="rId22" imgW="312983" imgH="312983" progId="">
                                    <p:embed/>
                                  </p:oleObj>
                                </a:graphicData>
                              </a:graphic>
                            </p:graphicFrame>
                            <p:graphicFrame>
                              <p:nvGraphicFramePr>
                                <p:cNvPr id="384" name="Object 19"/>
                                <p:cNvGraphicFramePr>
                                  <a:graphicFrameLocks noChangeAspect="1"/>
                                </p:cNvGraphicFramePr>
                                <p:nvPr/>
                              </p:nvGraphicFramePr>
                              <p:xfrm>
                                <a:off x="8153857" y="1565766"/>
                                <a:ext cx="51961" cy="52696"/>
                              </p:xfrm>
                              <a:graphic>
                                <a:graphicData uri="http://schemas.openxmlformats.org/presentationml/2006/ole">
                                  <p:oleObj spid="_x0000_s2099616" r:id="rId23" imgW="312983" imgH="312983" progId="">
                                    <p:embed/>
                                  </p:oleObj>
                                </a:graphicData>
                              </a:graphic>
                            </p:graphicFrame>
                            <p:sp>
                              <p:nvSpPr>
                                <p:cNvPr id="385" name="Oval 384"/>
                                <p:cNvSpPr/>
                                <p:nvPr/>
                              </p:nvSpPr>
                              <p:spPr bwMode="auto">
                                <a:xfrm>
                                  <a:off x="8408418" y="1983165"/>
                                  <a:ext cx="37370" cy="40810"/>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graphicFrame>
                              <p:nvGraphicFramePr>
                                <p:cNvPr id="386" name="Object 20"/>
                                <p:cNvGraphicFramePr>
                                  <a:graphicFrameLocks noChangeAspect="1"/>
                                </p:cNvGraphicFramePr>
                                <p:nvPr/>
                              </p:nvGraphicFramePr>
                              <p:xfrm>
                                <a:off x="8300703" y="2119663"/>
                                <a:ext cx="51961" cy="52697"/>
                              </p:xfrm>
                              <a:graphic>
                                <a:graphicData uri="http://schemas.openxmlformats.org/presentationml/2006/ole">
                                  <p:oleObj spid="_x0000_s2099617" r:id="rId24" imgW="312983" imgH="312983" progId="">
                                    <p:embed/>
                                  </p:oleObj>
                                </a:graphicData>
                              </a:graphic>
                            </p:graphicFrame>
                            <p:sp>
                              <p:nvSpPr>
                                <p:cNvPr id="387" name="Oval 386"/>
                                <p:cNvSpPr/>
                                <p:nvPr/>
                              </p:nvSpPr>
                              <p:spPr bwMode="auto">
                                <a:xfrm>
                                  <a:off x="8309866" y="2136283"/>
                                  <a:ext cx="38865" cy="41116"/>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388" name="Text Box 132"/>
                                <p:cNvSpPr txBox="1">
                                  <a:spLocks noChangeArrowheads="1"/>
                                </p:cNvSpPr>
                                <p:nvPr/>
                              </p:nvSpPr>
                              <p:spPr bwMode="auto">
                                <a:xfrm>
                                  <a:off x="8370736" y="2125519"/>
                                  <a:ext cx="254156" cy="80801"/>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Aracaju</a:t>
                                  </a:r>
                                </a:p>
                              </p:txBody>
                            </p:sp>
                            <p:sp>
                              <p:nvSpPr>
                                <p:cNvPr id="389" name="Oval 388"/>
                                <p:cNvSpPr/>
                                <p:nvPr/>
                              </p:nvSpPr>
                              <p:spPr bwMode="auto">
                                <a:xfrm>
                                  <a:off x="7304099" y="1263689"/>
                                  <a:ext cx="37370" cy="42118"/>
                                </a:xfrm>
                                <a:prstGeom prst="ellipse">
                                  <a:avLst/>
                                </a:prstGeom>
                                <a:solidFill>
                                  <a:srgbClr val="FF0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390" name="Oval 389"/>
                                <p:cNvSpPr/>
                                <p:nvPr/>
                              </p:nvSpPr>
                              <p:spPr bwMode="auto">
                                <a:xfrm>
                                  <a:off x="6639204" y="1277155"/>
                                  <a:ext cx="37733" cy="40811"/>
                                </a:xfrm>
                                <a:prstGeom prst="ellipse">
                                  <a:avLst/>
                                </a:prstGeom>
                                <a:solidFill>
                                  <a:srgbClr val="FF0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391" name="Oval 390"/>
                                <p:cNvSpPr/>
                                <p:nvPr/>
                              </p:nvSpPr>
                              <p:spPr bwMode="auto">
                                <a:xfrm>
                                  <a:off x="6585186" y="1648297"/>
                                  <a:ext cx="37733" cy="42118"/>
                                </a:xfrm>
                                <a:prstGeom prst="ellipse">
                                  <a:avLst/>
                                </a:prstGeom>
                                <a:solidFill>
                                  <a:srgbClr val="FF0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392" name="Oval 391"/>
                                <p:cNvSpPr/>
                                <p:nvPr/>
                              </p:nvSpPr>
                              <p:spPr bwMode="auto">
                                <a:xfrm>
                                  <a:off x="6473742" y="1978040"/>
                                  <a:ext cx="38865" cy="41797"/>
                                </a:xfrm>
                                <a:prstGeom prst="ellipse">
                                  <a:avLst/>
                                </a:prstGeom>
                                <a:solidFill>
                                  <a:srgbClr val="FF0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393" name="Oval 392"/>
                                <p:cNvSpPr/>
                                <p:nvPr/>
                              </p:nvSpPr>
                              <p:spPr bwMode="auto">
                                <a:xfrm>
                                  <a:off x="6990694" y="2294671"/>
                                  <a:ext cx="37733" cy="41368"/>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394" name="Oval 393"/>
                                <p:cNvSpPr/>
                                <p:nvPr/>
                              </p:nvSpPr>
                              <p:spPr bwMode="auto">
                                <a:xfrm>
                                  <a:off x="7582504" y="2413600"/>
                                  <a:ext cx="37370" cy="41858"/>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395" name="Oval 394"/>
                                <p:cNvSpPr/>
                                <p:nvPr/>
                              </p:nvSpPr>
                              <p:spPr bwMode="auto">
                                <a:xfrm>
                                  <a:off x="7587030" y="2703400"/>
                                  <a:ext cx="37733" cy="41115"/>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396" name="Oval 395"/>
                                <p:cNvSpPr/>
                                <p:nvPr/>
                              </p:nvSpPr>
                              <p:spPr bwMode="auto">
                                <a:xfrm>
                                  <a:off x="7485960" y="2524283"/>
                                  <a:ext cx="37733" cy="41368"/>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397" name="Oval 396"/>
                                <p:cNvSpPr/>
                                <p:nvPr/>
                              </p:nvSpPr>
                              <p:spPr bwMode="auto">
                                <a:xfrm>
                                  <a:off x="7632329" y="2980535"/>
                                  <a:ext cx="37370" cy="41623"/>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398" name="Oval 397"/>
                                <p:cNvSpPr/>
                                <p:nvPr/>
                              </p:nvSpPr>
                              <p:spPr bwMode="auto">
                                <a:xfrm>
                                  <a:off x="7486249" y="3355481"/>
                                  <a:ext cx="37370" cy="41062"/>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399" name="Oval 398"/>
                                <p:cNvSpPr/>
                                <p:nvPr/>
                              </p:nvSpPr>
                              <p:spPr bwMode="auto">
                                <a:xfrm>
                                  <a:off x="7370077" y="3458961"/>
                                  <a:ext cx="37733" cy="41116"/>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00" name="Oval 399"/>
                                <p:cNvSpPr/>
                                <p:nvPr/>
                              </p:nvSpPr>
                              <p:spPr bwMode="auto">
                                <a:xfrm>
                                  <a:off x="7863518" y="2972745"/>
                                  <a:ext cx="37733" cy="41116"/>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01" name="Oval 400"/>
                                <p:cNvSpPr/>
                                <p:nvPr/>
                              </p:nvSpPr>
                              <p:spPr bwMode="auto">
                                <a:xfrm>
                                  <a:off x="8175754" y="2246041"/>
                                  <a:ext cx="38865" cy="41369"/>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02" name="Oval 401"/>
                                <p:cNvSpPr/>
                                <p:nvPr/>
                              </p:nvSpPr>
                              <p:spPr bwMode="auto">
                                <a:xfrm>
                                  <a:off x="7957150" y="2612759"/>
                                  <a:ext cx="37370" cy="41116"/>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03" name="Oval 402"/>
                                <p:cNvSpPr/>
                                <p:nvPr/>
                              </p:nvSpPr>
                              <p:spPr bwMode="auto">
                                <a:xfrm>
                                  <a:off x="7883436" y="2503977"/>
                                  <a:ext cx="38865" cy="41622"/>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04" name="Oval 403"/>
                                <p:cNvSpPr/>
                                <p:nvPr/>
                              </p:nvSpPr>
                              <p:spPr bwMode="auto">
                                <a:xfrm>
                                  <a:off x="7868565" y="2837744"/>
                                  <a:ext cx="37370" cy="41116"/>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05" name="Oval 404"/>
                                <p:cNvSpPr/>
                                <p:nvPr/>
                              </p:nvSpPr>
                              <p:spPr bwMode="auto">
                                <a:xfrm>
                                  <a:off x="7465076" y="3275151"/>
                                  <a:ext cx="37370" cy="41063"/>
                                </a:xfrm>
                                <a:prstGeom prst="ellipse">
                                  <a:avLst/>
                                </a:prstGeom>
                                <a:solidFill>
                                  <a:srgbClr val="FF0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06" name="Oval 405"/>
                                <p:cNvSpPr/>
                                <p:nvPr/>
                              </p:nvSpPr>
                              <p:spPr bwMode="auto">
                                <a:xfrm>
                                  <a:off x="7700340" y="3044442"/>
                                  <a:ext cx="37733" cy="40811"/>
                                </a:xfrm>
                                <a:prstGeom prst="ellipse">
                                  <a:avLst/>
                                </a:prstGeom>
                                <a:solidFill>
                                  <a:srgbClr val="FF0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07" name="Oval 406"/>
                                <p:cNvSpPr/>
                                <p:nvPr/>
                              </p:nvSpPr>
                              <p:spPr bwMode="auto">
                                <a:xfrm>
                                  <a:off x="7728741" y="2998912"/>
                                  <a:ext cx="37370" cy="41798"/>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08" name="Text Box 135"/>
                                <p:cNvSpPr txBox="1">
                                  <a:spLocks noChangeArrowheads="1"/>
                                </p:cNvSpPr>
                                <p:nvPr/>
                              </p:nvSpPr>
                              <p:spPr bwMode="auto">
                                <a:xfrm>
                                  <a:off x="7791260" y="1397140"/>
                                  <a:ext cx="265453" cy="80801"/>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São Luis</a:t>
                                  </a:r>
                                </a:p>
                              </p:txBody>
                            </p:sp>
                            <p:sp>
                              <p:nvSpPr>
                                <p:cNvPr id="409" name="Text Box 135"/>
                                <p:cNvSpPr txBox="1">
                                  <a:spLocks noChangeArrowheads="1"/>
                                </p:cNvSpPr>
                                <p:nvPr/>
                              </p:nvSpPr>
                              <p:spPr bwMode="auto">
                                <a:xfrm>
                                  <a:off x="8441899" y="1614950"/>
                                  <a:ext cx="181864" cy="80801"/>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Natal</a:t>
                                  </a:r>
                                </a:p>
                              </p:txBody>
                            </p:sp>
                            <p:sp>
                              <p:nvSpPr>
                                <p:cNvPr id="410" name="Text Box 135"/>
                                <p:cNvSpPr txBox="1">
                                  <a:spLocks noChangeArrowheads="1"/>
                                </p:cNvSpPr>
                                <p:nvPr/>
                              </p:nvSpPr>
                              <p:spPr bwMode="auto">
                                <a:xfrm>
                                  <a:off x="8494372" y="1743764"/>
                                  <a:ext cx="396483" cy="80801"/>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dirty="0">
                                      <a:solidFill>
                                        <a:srgbClr val="000000"/>
                                      </a:solidFill>
                                      <a:latin typeface="Calibri" pitchFamily="34" charset="0"/>
                                    </a:rPr>
                                    <a:t>João Pessoa</a:t>
                                  </a:r>
                                </a:p>
                              </p:txBody>
                            </p:sp>
                            <p:sp>
                              <p:nvSpPr>
                                <p:cNvPr id="411" name="Text Box 135"/>
                                <p:cNvSpPr txBox="1">
                                  <a:spLocks noChangeArrowheads="1"/>
                                </p:cNvSpPr>
                                <p:nvPr/>
                              </p:nvSpPr>
                              <p:spPr bwMode="auto">
                                <a:xfrm>
                                  <a:off x="7309572" y="2079262"/>
                                  <a:ext cx="240601" cy="80801"/>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Palmas</a:t>
                                  </a:r>
                                </a:p>
                              </p:txBody>
                            </p:sp>
                            <p:sp>
                              <p:nvSpPr>
                                <p:cNvPr id="412" name="Text Box 123"/>
                                <p:cNvSpPr txBox="1">
                                  <a:spLocks noChangeArrowheads="1"/>
                                </p:cNvSpPr>
                                <p:nvPr/>
                              </p:nvSpPr>
                              <p:spPr bwMode="auto">
                                <a:xfrm>
                                  <a:off x="8086626" y="2791791"/>
                                  <a:ext cx="205292" cy="60453"/>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80808"/>
                                      </a:solidFill>
                                      <a:latin typeface="Calibri" pitchFamily="34" charset="0"/>
                                    </a:rPr>
                                    <a:t>Vitoria</a:t>
                                  </a:r>
                                </a:p>
                              </p:txBody>
                            </p:sp>
                            <p:sp>
                              <p:nvSpPr>
                                <p:cNvPr id="413" name="Text Box 135"/>
                                <p:cNvSpPr txBox="1">
                                  <a:spLocks noChangeArrowheads="1"/>
                                </p:cNvSpPr>
                                <p:nvPr/>
                              </p:nvSpPr>
                              <p:spPr bwMode="auto">
                                <a:xfrm>
                                  <a:off x="7740428" y="1750789"/>
                                  <a:ext cx="279007" cy="80801"/>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Teresina</a:t>
                                  </a:r>
                                </a:p>
                              </p:txBody>
                            </p:sp>
                            <p:sp>
                              <p:nvSpPr>
                                <p:cNvPr id="414" name="Text Box 122"/>
                                <p:cNvSpPr txBox="1">
                                  <a:spLocks noChangeArrowheads="1"/>
                                </p:cNvSpPr>
                                <p:nvPr/>
                              </p:nvSpPr>
                              <p:spPr bwMode="auto">
                                <a:xfrm>
                                  <a:off x="5994095" y="2162991"/>
                                  <a:ext cx="354689" cy="80801"/>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Rio Branco</a:t>
                                  </a:r>
                                </a:p>
                              </p:txBody>
                            </p:sp>
                            <p:sp>
                              <p:nvSpPr>
                                <p:cNvPr id="415" name="Freeform 63"/>
                                <p:cNvSpPr>
                                  <a:spLocks noChangeArrowheads="1"/>
                                </p:cNvSpPr>
                                <p:nvPr/>
                              </p:nvSpPr>
                              <p:spPr bwMode="auto">
                                <a:xfrm>
                                  <a:off x="7618507" y="2986616"/>
                                  <a:ext cx="78827" cy="50996"/>
                                </a:xfrm>
                                <a:custGeom>
                                  <a:avLst/>
                                  <a:gdLst>
                                    <a:gd name="T0" fmla="*/ 190582785 w 51"/>
                                    <a:gd name="T1" fmla="*/ 0 h 31"/>
                                    <a:gd name="T2" fmla="*/ 0 w 51"/>
                                    <a:gd name="T3" fmla="*/ 216449299 h 31"/>
                                    <a:gd name="T4" fmla="*/ 462842688 w 51"/>
                                    <a:gd name="T5" fmla="*/ 248515327 h 31"/>
                                    <a:gd name="T6" fmla="*/ 0 60000 65536"/>
                                    <a:gd name="T7" fmla="*/ 0 60000 65536"/>
                                    <a:gd name="T8" fmla="*/ 0 60000 65536"/>
                                    <a:gd name="T9" fmla="*/ 0 w 51"/>
                                    <a:gd name="T10" fmla="*/ 0 h 31"/>
                                    <a:gd name="T11" fmla="*/ 51 w 51"/>
                                    <a:gd name="T12" fmla="*/ 31 h 31"/>
                                  </a:gdLst>
                                  <a:ahLst/>
                                  <a:cxnLst>
                                    <a:cxn ang="T6">
                                      <a:pos x="T0" y="T1"/>
                                    </a:cxn>
                                    <a:cxn ang="T7">
                                      <a:pos x="T2" y="T3"/>
                                    </a:cxn>
                                    <a:cxn ang="T8">
                                      <a:pos x="T4" y="T5"/>
                                    </a:cxn>
                                  </a:cxnLst>
                                  <a:rect l="T9" t="T10" r="T11" b="T12"/>
                                  <a:pathLst>
                                    <a:path w="51" h="31">
                                      <a:moveTo>
                                        <a:pt x="21" y="0"/>
                                      </a:moveTo>
                                      <a:cubicBezTo>
                                        <a:pt x="16" y="9"/>
                                        <a:pt x="5" y="18"/>
                                        <a:pt x="0" y="27"/>
                                      </a:cubicBezTo>
                                      <a:cubicBezTo>
                                        <a:pt x="17" y="28"/>
                                        <a:pt x="34" y="30"/>
                                        <a:pt x="51" y="31"/>
                                      </a:cubicBezTo>
                                    </a:path>
                                  </a:pathLst>
                                </a:custGeom>
                                <a:noFill/>
                                <a:ln w="28575">
                                  <a:solidFill>
                                    <a:schemeClr val="accent4">
                                      <a:lumMod val="65000"/>
                                      <a:lumOff val="35000"/>
                                    </a:schemeClr>
                                  </a:solidFill>
                                  <a:round/>
                                  <a:headEnd/>
                                  <a:tailEnd/>
                                </a:ln>
                              </p:spPr>
                              <p:txBody>
                                <a:bodyPr wrap="none" anchor="ctr"/>
                                <a:lstStyle/>
                                <a:p>
                                  <a:pPr>
                                    <a:defRPr/>
                                  </a:pPr>
                                  <a:endParaRPr lang="pt-BR" sz="700">
                                    <a:latin typeface="Arial" charset="0"/>
                                  </a:endParaRPr>
                                </a:p>
                              </p:txBody>
                            </p:sp>
                            <p:sp>
                              <p:nvSpPr>
                                <p:cNvPr id="416" name="Oval 415"/>
                                <p:cNvSpPr/>
                                <p:nvPr/>
                              </p:nvSpPr>
                              <p:spPr bwMode="auto">
                                <a:xfrm>
                                  <a:off x="7676948" y="3018243"/>
                                  <a:ext cx="38864" cy="41062"/>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17" name="Oval 416"/>
                                <p:cNvSpPr/>
                                <p:nvPr/>
                              </p:nvSpPr>
                              <p:spPr bwMode="auto">
                                <a:xfrm>
                                  <a:off x="7252768" y="3041459"/>
                                  <a:ext cx="36844" cy="39928"/>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p>
                              </p:txBody>
                            </p:sp>
                            <p:sp>
                              <p:nvSpPr>
                                <p:cNvPr id="418" name="Oval 417"/>
                                <p:cNvSpPr/>
                                <p:nvPr/>
                              </p:nvSpPr>
                              <p:spPr bwMode="auto">
                                <a:xfrm>
                                  <a:off x="7434531" y="2833102"/>
                                  <a:ext cx="37369" cy="41115"/>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19" name="Oval 418"/>
                                <p:cNvSpPr/>
                                <p:nvPr/>
                              </p:nvSpPr>
                              <p:spPr bwMode="auto">
                                <a:xfrm>
                                  <a:off x="7330504" y="2913431"/>
                                  <a:ext cx="37370" cy="41797"/>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20" name="Oval 419"/>
                                <p:cNvSpPr/>
                                <p:nvPr/>
                              </p:nvSpPr>
                              <p:spPr bwMode="auto">
                                <a:xfrm>
                                  <a:off x="7480860" y="2955814"/>
                                  <a:ext cx="37733" cy="41116"/>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21" name="Oval 420"/>
                                <p:cNvSpPr/>
                                <p:nvPr/>
                              </p:nvSpPr>
                              <p:spPr bwMode="auto">
                                <a:xfrm>
                                  <a:off x="7615584" y="3017434"/>
                                  <a:ext cx="37732" cy="40811"/>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22" name="Freeform 155"/>
                                <p:cNvSpPr>
                                  <a:spLocks/>
                                </p:cNvSpPr>
                                <p:nvPr/>
                              </p:nvSpPr>
                              <p:spPr bwMode="auto">
                                <a:xfrm>
                                  <a:off x="8182096" y="1589189"/>
                                  <a:ext cx="290303" cy="266995"/>
                                </a:xfrm>
                                <a:custGeom>
                                  <a:avLst/>
                                  <a:gdLst>
                                    <a:gd name="T0" fmla="*/ 2147483647 w 274"/>
                                    <a:gd name="T1" fmla="*/ 2147483647 h 306"/>
                                    <a:gd name="T2" fmla="*/ 2147483647 w 274"/>
                                    <a:gd name="T3" fmla="*/ 2147483647 h 306"/>
                                    <a:gd name="T4" fmla="*/ 2147483647 w 274"/>
                                    <a:gd name="T5" fmla="*/ 2147483647 h 306"/>
                                    <a:gd name="T6" fmla="*/ 2147483647 w 274"/>
                                    <a:gd name="T7" fmla="*/ 2147483647 h 306"/>
                                    <a:gd name="T8" fmla="*/ 0 w 274"/>
                                    <a:gd name="T9" fmla="*/ 0 h 306"/>
                                    <a:gd name="T10" fmla="*/ 0 60000 65536"/>
                                    <a:gd name="T11" fmla="*/ 0 60000 65536"/>
                                    <a:gd name="T12" fmla="*/ 0 60000 65536"/>
                                    <a:gd name="T13" fmla="*/ 0 60000 65536"/>
                                    <a:gd name="T14" fmla="*/ 0 60000 65536"/>
                                    <a:gd name="T15" fmla="*/ 0 w 274"/>
                                    <a:gd name="T16" fmla="*/ 0 h 306"/>
                                    <a:gd name="T17" fmla="*/ 274 w 274"/>
                                    <a:gd name="T18" fmla="*/ 306 h 306"/>
                                  </a:gdLst>
                                  <a:ahLst/>
                                  <a:cxnLst>
                                    <a:cxn ang="T10">
                                      <a:pos x="T0" y="T1"/>
                                    </a:cxn>
                                    <a:cxn ang="T11">
                                      <a:pos x="T2" y="T3"/>
                                    </a:cxn>
                                    <a:cxn ang="T12">
                                      <a:pos x="T4" y="T5"/>
                                    </a:cxn>
                                    <a:cxn ang="T13">
                                      <a:pos x="T6" y="T7"/>
                                    </a:cxn>
                                    <a:cxn ang="T14">
                                      <a:pos x="T8" y="T9"/>
                                    </a:cxn>
                                  </a:cxnLst>
                                  <a:rect l="T15" t="T16" r="T17" b="T18"/>
                                  <a:pathLst>
                                    <a:path w="274" h="306">
                                      <a:moveTo>
                                        <a:pt x="270" y="306"/>
                                      </a:moveTo>
                                      <a:cubicBezTo>
                                        <a:pt x="266" y="284"/>
                                        <a:pt x="274" y="191"/>
                                        <a:pt x="262" y="160"/>
                                      </a:cubicBezTo>
                                      <a:cubicBezTo>
                                        <a:pt x="250" y="129"/>
                                        <a:pt x="218" y="132"/>
                                        <a:pt x="195" y="120"/>
                                      </a:cubicBezTo>
                                      <a:cubicBezTo>
                                        <a:pt x="172" y="108"/>
                                        <a:pt x="156" y="108"/>
                                        <a:pt x="124" y="88"/>
                                      </a:cubicBezTo>
                                      <a:lnTo>
                                        <a:pt x="0" y="0"/>
                                      </a:lnTo>
                                    </a:path>
                                  </a:pathLst>
                                </a:custGeom>
                                <a:noFill/>
                                <a:ln w="28575">
                                  <a:solidFill>
                                    <a:srgbClr val="0070C0"/>
                                  </a:solidFill>
                                  <a:round/>
                                  <a:headEnd/>
                                  <a:tailEnd/>
                                </a:ln>
                              </p:spPr>
                              <p:txBody>
                                <a:bodyPr wrap="none" anchor="ctr"/>
                                <a:lstStyle/>
                                <a:p>
                                  <a:endParaRPr lang="pt-BR"/>
                                </a:p>
                              </p:txBody>
                            </p:sp>
                            <p:sp>
                              <p:nvSpPr>
                                <p:cNvPr id="423" name="Oval 422"/>
                                <p:cNvSpPr/>
                                <p:nvPr/>
                              </p:nvSpPr>
                              <p:spPr bwMode="auto">
                                <a:xfrm>
                                  <a:off x="8457186" y="1881559"/>
                                  <a:ext cx="37733" cy="41369"/>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24" name="Oval 423"/>
                                <p:cNvSpPr/>
                                <p:nvPr/>
                              </p:nvSpPr>
                              <p:spPr bwMode="auto">
                                <a:xfrm>
                                  <a:off x="7488228" y="3143994"/>
                                  <a:ext cx="37370" cy="41115"/>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25" name="Text Box 113"/>
                                <p:cNvSpPr txBox="1">
                                  <a:spLocks noChangeArrowheads="1"/>
                                </p:cNvSpPr>
                                <p:nvPr/>
                              </p:nvSpPr>
                              <p:spPr bwMode="auto">
                                <a:xfrm>
                                  <a:off x="6710704" y="2792771"/>
                                  <a:ext cx="449640" cy="60453"/>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80808"/>
                                      </a:solidFill>
                                      <a:latin typeface="Calibri" pitchFamily="34" charset="0"/>
                                    </a:rPr>
                                    <a:t>Campo Grande</a:t>
                                  </a:r>
                                </a:p>
                              </p:txBody>
                            </p:sp>
                            <p:sp>
                              <p:nvSpPr>
                                <p:cNvPr id="426" name="Oval 425"/>
                                <p:cNvSpPr/>
                                <p:nvPr/>
                              </p:nvSpPr>
                              <p:spPr bwMode="auto">
                                <a:xfrm>
                                  <a:off x="8425089" y="1701316"/>
                                  <a:ext cx="38865" cy="41063"/>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27" name="Oval 426"/>
                                <p:cNvSpPr/>
                                <p:nvPr/>
                              </p:nvSpPr>
                              <p:spPr bwMode="auto">
                                <a:xfrm>
                                  <a:off x="8452149" y="1798162"/>
                                  <a:ext cx="37733" cy="42118"/>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28" name="Oval 427"/>
                                <p:cNvSpPr/>
                                <p:nvPr/>
                              </p:nvSpPr>
                              <p:spPr bwMode="auto">
                                <a:xfrm>
                                  <a:off x="8161248" y="1581865"/>
                                  <a:ext cx="37370" cy="41798"/>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29" name="Oval 428"/>
                                <p:cNvSpPr/>
                                <p:nvPr/>
                              </p:nvSpPr>
                              <p:spPr bwMode="auto">
                                <a:xfrm>
                                  <a:off x="7892150" y="1715268"/>
                                  <a:ext cx="37370" cy="41369"/>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30" name="Oval 429"/>
                                <p:cNvSpPr/>
                                <p:nvPr/>
                              </p:nvSpPr>
                              <p:spPr bwMode="auto">
                                <a:xfrm>
                                  <a:off x="7757374" y="1484585"/>
                                  <a:ext cx="37370" cy="41115"/>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31" name="Oval 430"/>
                                <p:cNvSpPr/>
                                <p:nvPr/>
                              </p:nvSpPr>
                              <p:spPr bwMode="auto">
                                <a:xfrm>
                                  <a:off x="7511636" y="1451327"/>
                                  <a:ext cx="37733" cy="41314"/>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32" name="Oval 431"/>
                                <p:cNvSpPr/>
                                <p:nvPr/>
                              </p:nvSpPr>
                              <p:spPr bwMode="auto">
                                <a:xfrm>
                                  <a:off x="7997050" y="2884497"/>
                                  <a:ext cx="37733" cy="41063"/>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33" name="Oval 432"/>
                                <p:cNvSpPr/>
                                <p:nvPr/>
                              </p:nvSpPr>
                              <p:spPr bwMode="auto">
                                <a:xfrm>
                                  <a:off x="7936026" y="2962858"/>
                                  <a:ext cx="37370" cy="41797"/>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34" name="Oval 433"/>
                                <p:cNvSpPr/>
                                <p:nvPr/>
                              </p:nvSpPr>
                              <p:spPr bwMode="auto">
                                <a:xfrm>
                                  <a:off x="7556208" y="2826431"/>
                                  <a:ext cx="37370" cy="41314"/>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35" name="Freeform 354"/>
                                <p:cNvSpPr>
                                  <a:spLocks noChangeArrowheads="1"/>
                                </p:cNvSpPr>
                                <p:nvPr/>
                              </p:nvSpPr>
                              <p:spPr bwMode="auto">
                                <a:xfrm>
                                  <a:off x="7152203" y="2834782"/>
                                  <a:ext cx="102183" cy="212120"/>
                                </a:xfrm>
                                <a:custGeom>
                                  <a:avLst/>
                                  <a:gdLst>
                                    <a:gd name="T0" fmla="*/ 44308 w 120770"/>
                                    <a:gd name="T1" fmla="*/ 132899 h 232913"/>
                                    <a:gd name="T2" fmla="*/ 25319 w 120770"/>
                                    <a:gd name="T3" fmla="*/ 113211 h 232913"/>
                                    <a:gd name="T4" fmla="*/ 12659 w 120770"/>
                                    <a:gd name="T5" fmla="*/ 83678 h 232913"/>
                                    <a:gd name="T6" fmla="*/ 9495 w 120770"/>
                                    <a:gd name="T7" fmla="*/ 29533 h 232913"/>
                                    <a:gd name="T8" fmla="*/ 3165 w 120770"/>
                                    <a:gd name="T9" fmla="*/ 14767 h 232913"/>
                                    <a:gd name="T10" fmla="*/ 0 w 120770"/>
                                    <a:gd name="T11" fmla="*/ 0 h 232913"/>
                                    <a:gd name="T12" fmla="*/ 0 60000 65536"/>
                                    <a:gd name="T13" fmla="*/ 0 60000 65536"/>
                                    <a:gd name="T14" fmla="*/ 0 60000 65536"/>
                                    <a:gd name="T15" fmla="*/ 0 60000 65536"/>
                                    <a:gd name="T16" fmla="*/ 0 60000 65536"/>
                                    <a:gd name="T17" fmla="*/ 0 60000 65536"/>
                                    <a:gd name="T18" fmla="*/ 0 w 120770"/>
                                    <a:gd name="T19" fmla="*/ 0 h 232913"/>
                                    <a:gd name="T20" fmla="*/ 120770 w 120770"/>
                                    <a:gd name="T21" fmla="*/ 232913 h 232913"/>
                                  </a:gdLst>
                                  <a:ahLst/>
                                  <a:cxnLst>
                                    <a:cxn ang="T12">
                                      <a:pos x="T0" y="T1"/>
                                    </a:cxn>
                                    <a:cxn ang="T13">
                                      <a:pos x="T2" y="T3"/>
                                    </a:cxn>
                                    <a:cxn ang="T14">
                                      <a:pos x="T4" y="T5"/>
                                    </a:cxn>
                                    <a:cxn ang="T15">
                                      <a:pos x="T6" y="T7"/>
                                    </a:cxn>
                                    <a:cxn ang="T16">
                                      <a:pos x="T8" y="T9"/>
                                    </a:cxn>
                                    <a:cxn ang="T17">
                                      <a:pos x="T10" y="T11"/>
                                    </a:cxn>
                                  </a:cxnLst>
                                  <a:rect l="T18" t="T19" r="T20" b="T21"/>
                                  <a:pathLst>
                                    <a:path w="120770" h="232913">
                                      <a:moveTo>
                                        <a:pt x="120770" y="232913"/>
                                      </a:moveTo>
                                      <a:cubicBezTo>
                                        <a:pt x="103517" y="221411"/>
                                        <a:pt x="80514" y="215661"/>
                                        <a:pt x="69012" y="198408"/>
                                      </a:cubicBezTo>
                                      <a:lnTo>
                                        <a:pt x="34506" y="146649"/>
                                      </a:lnTo>
                                      <a:cubicBezTo>
                                        <a:pt x="31630" y="115019"/>
                                        <a:pt x="32534" y="82814"/>
                                        <a:pt x="25879" y="51759"/>
                                      </a:cubicBezTo>
                                      <a:cubicBezTo>
                                        <a:pt x="23707" y="41621"/>
                                        <a:pt x="13264" y="35152"/>
                                        <a:pt x="8627" y="25879"/>
                                      </a:cubicBezTo>
                                      <a:cubicBezTo>
                                        <a:pt x="4561" y="17746"/>
                                        <a:pt x="0" y="0"/>
                                        <a:pt x="0" y="0"/>
                                      </a:cubicBezTo>
                                    </a:path>
                                  </a:pathLst>
                                </a:custGeom>
                                <a:solidFill>
                                  <a:schemeClr val="bg1"/>
                                </a:solidFill>
                                <a:ln w="28575" algn="ctr">
                                  <a:solidFill>
                                    <a:srgbClr val="FFC000"/>
                                  </a:solidFill>
                                  <a:round/>
                                  <a:headEnd/>
                                  <a:tailEnd/>
                                </a:ln>
                              </p:spPr>
                              <p:txBody>
                                <a:bodyPr wrap="none" lIns="0" tIns="0" rIns="0" bIns="0" anchor="ctr"/>
                                <a:lstStyle/>
                                <a:p>
                                  <a:endParaRPr lang="pt-BR"/>
                                </a:p>
                              </p:txBody>
                            </p:sp>
                            <p:sp>
                              <p:nvSpPr>
                                <p:cNvPr id="436" name="Freeform 357"/>
                                <p:cNvSpPr>
                                  <a:spLocks noChangeArrowheads="1"/>
                                </p:cNvSpPr>
                                <p:nvPr/>
                              </p:nvSpPr>
                              <p:spPr bwMode="auto">
                                <a:xfrm flipV="1">
                                  <a:off x="7188694" y="2457677"/>
                                  <a:ext cx="318018" cy="87938"/>
                                </a:xfrm>
                                <a:custGeom>
                                  <a:avLst/>
                                  <a:gdLst>
                                    <a:gd name="T0" fmla="*/ 0 w 467464"/>
                                    <a:gd name="T1" fmla="*/ 575988 h 60385"/>
                                    <a:gd name="T2" fmla="*/ 11118 w 467464"/>
                                    <a:gd name="T3" fmla="*/ 411425 h 60385"/>
                                    <a:gd name="T4" fmla="*/ 23090 w 467464"/>
                                    <a:gd name="T5" fmla="*/ 329140 h 60385"/>
                                    <a:gd name="T6" fmla="*/ 41903 w 467464"/>
                                    <a:gd name="T7" fmla="*/ 164566 h 60385"/>
                                    <a:gd name="T8" fmla="*/ 42759 w 467464"/>
                                    <a:gd name="T9" fmla="*/ 0 h 60385"/>
                                    <a:gd name="T10" fmla="*/ 0 60000 65536"/>
                                    <a:gd name="T11" fmla="*/ 0 60000 65536"/>
                                    <a:gd name="T12" fmla="*/ 0 60000 65536"/>
                                    <a:gd name="T13" fmla="*/ 0 60000 65536"/>
                                    <a:gd name="T14" fmla="*/ 0 60000 65536"/>
                                    <a:gd name="T15" fmla="*/ 0 w 467464"/>
                                    <a:gd name="T16" fmla="*/ 0 h 60385"/>
                                    <a:gd name="T17" fmla="*/ 467464 w 467464"/>
                                    <a:gd name="T18" fmla="*/ 60385 h 60385"/>
                                  </a:gdLst>
                                  <a:ahLst/>
                                  <a:cxnLst>
                                    <a:cxn ang="T10">
                                      <a:pos x="T0" y="T1"/>
                                    </a:cxn>
                                    <a:cxn ang="T11">
                                      <a:pos x="T2" y="T3"/>
                                    </a:cxn>
                                    <a:cxn ang="T12">
                                      <a:pos x="T4" y="T5"/>
                                    </a:cxn>
                                    <a:cxn ang="T13">
                                      <a:pos x="T6" y="T7"/>
                                    </a:cxn>
                                    <a:cxn ang="T14">
                                      <a:pos x="T8" y="T9"/>
                                    </a:cxn>
                                  </a:cxnLst>
                                  <a:rect l="T15" t="T16" r="T17" b="T18"/>
                                  <a:pathLst>
                                    <a:path w="467464" h="60385">
                                      <a:moveTo>
                                        <a:pt x="0" y="60385"/>
                                      </a:moveTo>
                                      <a:cubicBezTo>
                                        <a:pt x="51295" y="43288"/>
                                        <a:pt x="23189" y="50545"/>
                                        <a:pt x="112144" y="43132"/>
                                      </a:cubicBezTo>
                                      <a:cubicBezTo>
                                        <a:pt x="152364" y="39780"/>
                                        <a:pt x="192657" y="37381"/>
                                        <a:pt x="232914" y="34506"/>
                                      </a:cubicBezTo>
                                      <a:cubicBezTo>
                                        <a:pt x="327509" y="10858"/>
                                        <a:pt x="212733" y="37250"/>
                                        <a:pt x="422695" y="17253"/>
                                      </a:cubicBezTo>
                                      <a:cubicBezTo>
                                        <a:pt x="467464" y="12989"/>
                                        <a:pt x="447663" y="8171"/>
                                        <a:pt x="431321" y="0"/>
                                      </a:cubicBezTo>
                                    </a:path>
                                  </a:pathLst>
                                </a:custGeom>
                                <a:solidFill>
                                  <a:schemeClr val="bg1"/>
                                </a:solidFill>
                                <a:ln w="28575" algn="ctr">
                                  <a:solidFill>
                                    <a:srgbClr val="FFC000"/>
                                  </a:solidFill>
                                  <a:round/>
                                  <a:headEnd/>
                                  <a:tailEnd/>
                                </a:ln>
                              </p:spPr>
                              <p:txBody>
                                <a:bodyPr wrap="none" lIns="0" tIns="0" rIns="0" bIns="0" anchor="ctr"/>
                                <a:lstStyle/>
                                <a:p>
                                  <a:endParaRPr lang="pt-BR"/>
                                </a:p>
                              </p:txBody>
                            </p:sp>
                            <p:sp>
                              <p:nvSpPr>
                                <p:cNvPr id="437" name="Freeform 358"/>
                                <p:cNvSpPr>
                                  <a:spLocks noChangeArrowheads="1"/>
                                </p:cNvSpPr>
                                <p:nvPr/>
                              </p:nvSpPr>
                              <p:spPr bwMode="auto">
                                <a:xfrm>
                                  <a:off x="8093744" y="2426254"/>
                                  <a:ext cx="73149" cy="337822"/>
                                </a:xfrm>
                                <a:custGeom>
                                  <a:avLst/>
                                  <a:gdLst>
                                    <a:gd name="T0" fmla="*/ 0 w 86455"/>
                                    <a:gd name="T1" fmla="*/ 211660 h 370935"/>
                                    <a:gd name="T2" fmla="*/ 9495 w 86455"/>
                                    <a:gd name="T3" fmla="*/ 201815 h 370935"/>
                                    <a:gd name="T4" fmla="*/ 12658 w 86455"/>
                                    <a:gd name="T5" fmla="*/ 187049 h 370935"/>
                                    <a:gd name="T6" fmla="*/ 15824 w 86455"/>
                                    <a:gd name="T7" fmla="*/ 147670 h 370935"/>
                                    <a:gd name="T8" fmla="*/ 22153 w 86455"/>
                                    <a:gd name="T9" fmla="*/ 113213 h 370935"/>
                                    <a:gd name="T10" fmla="*/ 28483 w 86455"/>
                                    <a:gd name="T11" fmla="*/ 78757 h 370935"/>
                                    <a:gd name="T12" fmla="*/ 31647 w 86455"/>
                                    <a:gd name="T13" fmla="*/ 0 h 370935"/>
                                    <a:gd name="T14" fmla="*/ 0 60000 65536"/>
                                    <a:gd name="T15" fmla="*/ 0 60000 65536"/>
                                    <a:gd name="T16" fmla="*/ 0 60000 65536"/>
                                    <a:gd name="T17" fmla="*/ 0 60000 65536"/>
                                    <a:gd name="T18" fmla="*/ 0 60000 65536"/>
                                    <a:gd name="T19" fmla="*/ 0 60000 65536"/>
                                    <a:gd name="T20" fmla="*/ 0 60000 65536"/>
                                    <a:gd name="T21" fmla="*/ 0 w 86455"/>
                                    <a:gd name="T22" fmla="*/ 0 h 370935"/>
                                    <a:gd name="T23" fmla="*/ 86455 w 86455"/>
                                    <a:gd name="T24" fmla="*/ 370935 h 3709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6455" h="370935">
                                      <a:moveTo>
                                        <a:pt x="0" y="370935"/>
                                      </a:moveTo>
                                      <a:cubicBezTo>
                                        <a:pt x="8626" y="365184"/>
                                        <a:pt x="19403" y="361779"/>
                                        <a:pt x="25879" y="353683"/>
                                      </a:cubicBezTo>
                                      <a:cubicBezTo>
                                        <a:pt x="31559" y="346582"/>
                                        <a:pt x="32878" y="336750"/>
                                        <a:pt x="34505" y="327803"/>
                                      </a:cubicBezTo>
                                      <a:cubicBezTo>
                                        <a:pt x="38652" y="304994"/>
                                        <a:pt x="39321" y="281659"/>
                                        <a:pt x="43132" y="258792"/>
                                      </a:cubicBezTo>
                                      <a:cubicBezTo>
                                        <a:pt x="48528" y="226415"/>
                                        <a:pt x="52177" y="227135"/>
                                        <a:pt x="60385" y="198407"/>
                                      </a:cubicBezTo>
                                      <a:cubicBezTo>
                                        <a:pt x="82049" y="122584"/>
                                        <a:pt x="56953" y="200071"/>
                                        <a:pt x="77638" y="138022"/>
                                      </a:cubicBezTo>
                                      <a:cubicBezTo>
                                        <a:pt x="86455" y="5757"/>
                                        <a:pt x="86264" y="51854"/>
                                        <a:pt x="86264" y="0"/>
                                      </a:cubicBezTo>
                                    </a:path>
                                  </a:pathLst>
                                </a:custGeom>
                                <a:solidFill>
                                  <a:schemeClr val="bg1"/>
                                </a:solidFill>
                                <a:ln w="28575" algn="ctr">
                                  <a:solidFill>
                                    <a:srgbClr val="FFC000"/>
                                  </a:solidFill>
                                  <a:round/>
                                  <a:headEnd/>
                                  <a:tailEnd/>
                                </a:ln>
                              </p:spPr>
                              <p:txBody>
                                <a:bodyPr wrap="none" lIns="0" tIns="0" rIns="0" bIns="0" anchor="ctr"/>
                                <a:lstStyle/>
                                <a:p>
                                  <a:endParaRPr lang="pt-BR"/>
                                </a:p>
                              </p:txBody>
                            </p:sp>
                            <p:sp>
                              <p:nvSpPr>
                                <p:cNvPr id="438" name="Freeform 360"/>
                                <p:cNvSpPr>
                                  <a:spLocks noChangeArrowheads="1"/>
                                </p:cNvSpPr>
                                <p:nvPr/>
                              </p:nvSpPr>
                              <p:spPr bwMode="auto">
                                <a:xfrm>
                                  <a:off x="8187562" y="2245338"/>
                                  <a:ext cx="71002" cy="185127"/>
                                </a:xfrm>
                                <a:custGeom>
                                  <a:avLst/>
                                  <a:gdLst>
                                    <a:gd name="T0" fmla="*/ 1238 w 92199"/>
                                    <a:gd name="T1" fmla="*/ 593504 h 146649"/>
                                    <a:gd name="T2" fmla="*/ 3037 w 92199"/>
                                    <a:gd name="T3" fmla="*/ 244384 h 146649"/>
                                    <a:gd name="T4" fmla="*/ 13832 w 92199"/>
                                    <a:gd name="T5" fmla="*/ 174558 h 146649"/>
                                    <a:gd name="T6" fmla="*/ 19230 w 92199"/>
                                    <a:gd name="T7" fmla="*/ 0 h 146649"/>
                                    <a:gd name="T8" fmla="*/ 0 60000 65536"/>
                                    <a:gd name="T9" fmla="*/ 0 60000 65536"/>
                                    <a:gd name="T10" fmla="*/ 0 60000 65536"/>
                                    <a:gd name="T11" fmla="*/ 0 60000 65536"/>
                                    <a:gd name="T12" fmla="*/ 0 w 92199"/>
                                    <a:gd name="T13" fmla="*/ 0 h 146649"/>
                                    <a:gd name="T14" fmla="*/ 92199 w 92199"/>
                                    <a:gd name="T15" fmla="*/ 146649 h 146649"/>
                                  </a:gdLst>
                                  <a:ahLst/>
                                  <a:cxnLst>
                                    <a:cxn ang="T8">
                                      <a:pos x="T0" y="T1"/>
                                    </a:cxn>
                                    <a:cxn ang="T9">
                                      <a:pos x="T2" y="T3"/>
                                    </a:cxn>
                                    <a:cxn ang="T10">
                                      <a:pos x="T4" y="T5"/>
                                    </a:cxn>
                                    <a:cxn ang="T11">
                                      <a:pos x="T6" y="T7"/>
                                    </a:cxn>
                                  </a:cxnLst>
                                  <a:rect l="T12" t="T13" r="T14" b="T15"/>
                                  <a:pathLst>
                                    <a:path w="92199" h="146649">
                                      <a:moveTo>
                                        <a:pt x="5935" y="146649"/>
                                      </a:moveTo>
                                      <a:cubicBezTo>
                                        <a:pt x="8810" y="117894"/>
                                        <a:pt x="0" y="85347"/>
                                        <a:pt x="14561" y="60385"/>
                                      </a:cubicBezTo>
                                      <a:cubicBezTo>
                                        <a:pt x="23725" y="44676"/>
                                        <a:pt x="66320" y="43132"/>
                                        <a:pt x="66320" y="43132"/>
                                      </a:cubicBezTo>
                                      <a:cubicBezTo>
                                        <a:pt x="87139" y="11903"/>
                                        <a:pt x="78935" y="26526"/>
                                        <a:pt x="92199" y="0"/>
                                      </a:cubicBezTo>
                                    </a:path>
                                  </a:pathLst>
                                </a:custGeom>
                                <a:solidFill>
                                  <a:schemeClr val="bg1"/>
                                </a:solidFill>
                                <a:ln w="28575" algn="ctr">
                                  <a:solidFill>
                                    <a:srgbClr val="FFC000"/>
                                  </a:solidFill>
                                  <a:round/>
                                  <a:headEnd/>
                                  <a:tailEnd/>
                                </a:ln>
                              </p:spPr>
                              <p:txBody>
                                <a:bodyPr wrap="none" lIns="0" tIns="0" rIns="0" bIns="0" anchor="ctr"/>
                                <a:lstStyle/>
                                <a:p>
                                  <a:endParaRPr lang="pt-BR"/>
                                </a:p>
                              </p:txBody>
                            </p:sp>
                            <p:sp>
                              <p:nvSpPr>
                                <p:cNvPr id="439" name="Freeform 361"/>
                                <p:cNvSpPr>
                                  <a:spLocks noChangeArrowheads="1"/>
                                </p:cNvSpPr>
                                <p:nvPr/>
                              </p:nvSpPr>
                              <p:spPr bwMode="auto">
                                <a:xfrm>
                                  <a:off x="7447779" y="2825498"/>
                                  <a:ext cx="123444" cy="35378"/>
                                </a:xfrm>
                                <a:custGeom>
                                  <a:avLst/>
                                  <a:gdLst>
                                    <a:gd name="T0" fmla="*/ 123444 w 123444"/>
                                    <a:gd name="T1" fmla="*/ 0 h 35378"/>
                                    <a:gd name="T2" fmla="*/ 96012 w 123444"/>
                                    <a:gd name="T3" fmla="*/ 9144 h 35378"/>
                                    <a:gd name="T4" fmla="*/ 82296 w 123444"/>
                                    <a:gd name="T5" fmla="*/ 13716 h 35378"/>
                                    <a:gd name="T6" fmla="*/ 59436 w 123444"/>
                                    <a:gd name="T7" fmla="*/ 18288 h 35378"/>
                                    <a:gd name="T8" fmla="*/ 45720 w 123444"/>
                                    <a:gd name="T9" fmla="*/ 27432 h 35378"/>
                                    <a:gd name="T10" fmla="*/ 0 w 123444"/>
                                    <a:gd name="T11" fmla="*/ 32004 h 35378"/>
                                    <a:gd name="T12" fmla="*/ 0 60000 65536"/>
                                    <a:gd name="T13" fmla="*/ 0 60000 65536"/>
                                    <a:gd name="T14" fmla="*/ 0 60000 65536"/>
                                    <a:gd name="T15" fmla="*/ 0 60000 65536"/>
                                    <a:gd name="T16" fmla="*/ 0 60000 65536"/>
                                    <a:gd name="T17" fmla="*/ 0 60000 65536"/>
                                    <a:gd name="T18" fmla="*/ 0 w 123444"/>
                                    <a:gd name="T19" fmla="*/ 0 h 35378"/>
                                    <a:gd name="T20" fmla="*/ 123444 w 123444"/>
                                    <a:gd name="T21" fmla="*/ 35378 h 35378"/>
                                  </a:gdLst>
                                  <a:ahLst/>
                                  <a:cxnLst>
                                    <a:cxn ang="T12">
                                      <a:pos x="T0" y="T1"/>
                                    </a:cxn>
                                    <a:cxn ang="T13">
                                      <a:pos x="T2" y="T3"/>
                                    </a:cxn>
                                    <a:cxn ang="T14">
                                      <a:pos x="T4" y="T5"/>
                                    </a:cxn>
                                    <a:cxn ang="T15">
                                      <a:pos x="T6" y="T7"/>
                                    </a:cxn>
                                    <a:cxn ang="T16">
                                      <a:pos x="T8" y="T9"/>
                                    </a:cxn>
                                    <a:cxn ang="T17">
                                      <a:pos x="T10" y="T11"/>
                                    </a:cxn>
                                  </a:cxnLst>
                                  <a:rect l="T18" t="T19" r="T20" b="T21"/>
                                  <a:pathLst>
                                    <a:path w="123444" h="35378">
                                      <a:moveTo>
                                        <a:pt x="123444" y="0"/>
                                      </a:moveTo>
                                      <a:lnTo>
                                        <a:pt x="96012" y="9144"/>
                                      </a:lnTo>
                                      <a:cubicBezTo>
                                        <a:pt x="91440" y="10668"/>
                                        <a:pt x="87022" y="12771"/>
                                        <a:pt x="82296" y="13716"/>
                                      </a:cubicBezTo>
                                      <a:lnTo>
                                        <a:pt x="59436" y="18288"/>
                                      </a:lnTo>
                                      <a:cubicBezTo>
                                        <a:pt x="54864" y="21336"/>
                                        <a:pt x="50635" y="24975"/>
                                        <a:pt x="45720" y="27432"/>
                                      </a:cubicBezTo>
                                      <a:cubicBezTo>
                                        <a:pt x="29829" y="35378"/>
                                        <a:pt x="19235" y="32004"/>
                                        <a:pt x="0" y="32004"/>
                                      </a:cubicBezTo>
                                    </a:path>
                                  </a:pathLst>
                                </a:custGeom>
                                <a:solidFill>
                                  <a:schemeClr val="bg1"/>
                                </a:solidFill>
                                <a:ln w="28575" algn="ctr">
                                  <a:solidFill>
                                    <a:schemeClr val="accent2"/>
                                  </a:solidFill>
                                  <a:round/>
                                  <a:headEnd/>
                                  <a:tailEnd/>
                                </a:ln>
                              </p:spPr>
                              <p:txBody>
                                <a:bodyPr wrap="none" lIns="0" tIns="0" rIns="0" bIns="0" anchor="ctr"/>
                                <a:lstStyle/>
                                <a:p>
                                  <a:endParaRPr lang="pt-BR"/>
                                </a:p>
                              </p:txBody>
                            </p:sp>
                            <p:sp>
                              <p:nvSpPr>
                                <p:cNvPr id="440" name="Freeform 362"/>
                                <p:cNvSpPr>
                                  <a:spLocks noChangeArrowheads="1"/>
                                </p:cNvSpPr>
                                <p:nvPr/>
                              </p:nvSpPr>
                              <p:spPr bwMode="auto">
                                <a:xfrm>
                                  <a:off x="7351767" y="2857501"/>
                                  <a:ext cx="91440" cy="74420"/>
                                </a:xfrm>
                                <a:custGeom>
                                  <a:avLst/>
                                  <a:gdLst>
                                    <a:gd name="T0" fmla="*/ 91440 w 91440"/>
                                    <a:gd name="T1" fmla="*/ 0 h 74420"/>
                                    <a:gd name="T2" fmla="*/ 73152 w 91440"/>
                                    <a:gd name="T3" fmla="*/ 4572 h 74420"/>
                                    <a:gd name="T4" fmla="*/ 45720 w 91440"/>
                                    <a:gd name="T5" fmla="*/ 22860 h 74420"/>
                                    <a:gd name="T6" fmla="*/ 13716 w 91440"/>
                                    <a:gd name="T7" fmla="*/ 59436 h 74420"/>
                                    <a:gd name="T8" fmla="*/ 0 w 91440"/>
                                    <a:gd name="T9" fmla="*/ 73152 h 74420"/>
                                    <a:gd name="T10" fmla="*/ 0 60000 65536"/>
                                    <a:gd name="T11" fmla="*/ 0 60000 65536"/>
                                    <a:gd name="T12" fmla="*/ 0 60000 65536"/>
                                    <a:gd name="T13" fmla="*/ 0 60000 65536"/>
                                    <a:gd name="T14" fmla="*/ 0 60000 65536"/>
                                    <a:gd name="T15" fmla="*/ 0 w 91440"/>
                                    <a:gd name="T16" fmla="*/ 0 h 74420"/>
                                    <a:gd name="T17" fmla="*/ 91440 w 91440"/>
                                    <a:gd name="T18" fmla="*/ 74420 h 74420"/>
                                  </a:gdLst>
                                  <a:ahLst/>
                                  <a:cxnLst>
                                    <a:cxn ang="T10">
                                      <a:pos x="T0" y="T1"/>
                                    </a:cxn>
                                    <a:cxn ang="T11">
                                      <a:pos x="T2" y="T3"/>
                                    </a:cxn>
                                    <a:cxn ang="T12">
                                      <a:pos x="T4" y="T5"/>
                                    </a:cxn>
                                    <a:cxn ang="T13">
                                      <a:pos x="T6" y="T7"/>
                                    </a:cxn>
                                    <a:cxn ang="T14">
                                      <a:pos x="T8" y="T9"/>
                                    </a:cxn>
                                  </a:cxnLst>
                                  <a:rect l="T15" t="T16" r="T17" b="T18"/>
                                  <a:pathLst>
                                    <a:path w="91440" h="74420">
                                      <a:moveTo>
                                        <a:pt x="91440" y="0"/>
                                      </a:moveTo>
                                      <a:cubicBezTo>
                                        <a:pt x="85344" y="1524"/>
                                        <a:pt x="78772" y="1762"/>
                                        <a:pt x="73152" y="4572"/>
                                      </a:cubicBezTo>
                                      <a:cubicBezTo>
                                        <a:pt x="63322" y="9487"/>
                                        <a:pt x="45720" y="22860"/>
                                        <a:pt x="45720" y="22860"/>
                                      </a:cubicBezTo>
                                      <a:cubicBezTo>
                                        <a:pt x="24384" y="54864"/>
                                        <a:pt x="36576" y="44196"/>
                                        <a:pt x="13716" y="59436"/>
                                      </a:cubicBezTo>
                                      <a:cubicBezTo>
                                        <a:pt x="3727" y="74420"/>
                                        <a:pt x="10067" y="73152"/>
                                        <a:pt x="0" y="73152"/>
                                      </a:cubicBezTo>
                                    </a:path>
                                  </a:pathLst>
                                </a:custGeom>
                                <a:solidFill>
                                  <a:schemeClr val="bg1"/>
                                </a:solidFill>
                                <a:ln w="28575" algn="ctr">
                                  <a:solidFill>
                                    <a:schemeClr val="accent2"/>
                                  </a:solidFill>
                                  <a:round/>
                                  <a:headEnd/>
                                  <a:tailEnd/>
                                </a:ln>
                              </p:spPr>
                              <p:txBody>
                                <a:bodyPr wrap="none" lIns="0" tIns="0" rIns="0" bIns="0" anchor="ctr"/>
                                <a:lstStyle/>
                                <a:p>
                                  <a:endParaRPr lang="pt-BR"/>
                                </a:p>
                              </p:txBody>
                            </p:sp>
                            <p:sp>
                              <p:nvSpPr>
                                <p:cNvPr id="441" name="Freeform 363"/>
                                <p:cNvSpPr>
                                  <a:spLocks noChangeArrowheads="1"/>
                                </p:cNvSpPr>
                                <p:nvPr/>
                              </p:nvSpPr>
                              <p:spPr bwMode="auto">
                                <a:xfrm>
                                  <a:off x="7463180" y="2966456"/>
                                  <a:ext cx="158334" cy="47461"/>
                                </a:xfrm>
                                <a:custGeom>
                                  <a:avLst/>
                                  <a:gdLst>
                                    <a:gd name="T0" fmla="*/ 25746 w 158334"/>
                                    <a:gd name="T1" fmla="*/ 9919 h 47461"/>
                                    <a:gd name="T2" fmla="*/ 53178 w 158334"/>
                                    <a:gd name="T3" fmla="*/ 23635 h 47461"/>
                                    <a:gd name="T4" fmla="*/ 80610 w 158334"/>
                                    <a:gd name="T5" fmla="*/ 32779 h 47461"/>
                                    <a:gd name="T6" fmla="*/ 94326 w 158334"/>
                                    <a:gd name="T7" fmla="*/ 37351 h 47461"/>
                                    <a:gd name="T8" fmla="*/ 108042 w 158334"/>
                                    <a:gd name="T9" fmla="*/ 41923 h 47461"/>
                                    <a:gd name="T10" fmla="*/ 126330 w 158334"/>
                                    <a:gd name="T11" fmla="*/ 46495 h 47461"/>
                                    <a:gd name="T12" fmla="*/ 158334 w 158334"/>
                                    <a:gd name="T13" fmla="*/ 46495 h 47461"/>
                                    <a:gd name="T14" fmla="*/ 0 60000 65536"/>
                                    <a:gd name="T15" fmla="*/ 0 60000 65536"/>
                                    <a:gd name="T16" fmla="*/ 0 60000 65536"/>
                                    <a:gd name="T17" fmla="*/ 0 60000 65536"/>
                                    <a:gd name="T18" fmla="*/ 0 60000 65536"/>
                                    <a:gd name="T19" fmla="*/ 0 60000 65536"/>
                                    <a:gd name="T20" fmla="*/ 0 60000 65536"/>
                                    <a:gd name="T21" fmla="*/ 0 w 158334"/>
                                    <a:gd name="T22" fmla="*/ 0 h 47461"/>
                                    <a:gd name="T23" fmla="*/ 158334 w 158334"/>
                                    <a:gd name="T24" fmla="*/ 47461 h 4746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334" h="47461">
                                      <a:moveTo>
                                        <a:pt x="25746" y="9919"/>
                                      </a:moveTo>
                                      <a:cubicBezTo>
                                        <a:pt x="75768" y="26593"/>
                                        <a:pt x="0" y="0"/>
                                        <a:pt x="53178" y="23635"/>
                                      </a:cubicBezTo>
                                      <a:cubicBezTo>
                                        <a:pt x="61986" y="27550"/>
                                        <a:pt x="71466" y="29731"/>
                                        <a:pt x="80610" y="32779"/>
                                      </a:cubicBezTo>
                                      <a:lnTo>
                                        <a:pt x="94326" y="37351"/>
                                      </a:lnTo>
                                      <a:cubicBezTo>
                                        <a:pt x="98898" y="38875"/>
                                        <a:pt x="103367" y="40754"/>
                                        <a:pt x="108042" y="41923"/>
                                      </a:cubicBezTo>
                                      <a:cubicBezTo>
                                        <a:pt x="114138" y="43447"/>
                                        <a:pt x="120072" y="45926"/>
                                        <a:pt x="126330" y="46495"/>
                                      </a:cubicBezTo>
                                      <a:cubicBezTo>
                                        <a:pt x="136954" y="47461"/>
                                        <a:pt x="147666" y="46495"/>
                                        <a:pt x="158334" y="46495"/>
                                      </a:cubicBezTo>
                                    </a:path>
                                  </a:pathLst>
                                </a:custGeom>
                                <a:solidFill>
                                  <a:schemeClr val="bg1"/>
                                </a:solidFill>
                                <a:ln w="28575" algn="ctr">
                                  <a:solidFill>
                                    <a:schemeClr val="accent2"/>
                                  </a:solidFill>
                                  <a:round/>
                                  <a:headEnd/>
                                  <a:tailEnd/>
                                </a:ln>
                              </p:spPr>
                              <p:txBody>
                                <a:bodyPr wrap="none" lIns="0" tIns="0" rIns="0" bIns="0" anchor="ctr"/>
                                <a:lstStyle/>
                                <a:p>
                                  <a:endParaRPr lang="pt-BR"/>
                                </a:p>
                              </p:txBody>
                            </p:sp>
                            <p:sp>
                              <p:nvSpPr>
                                <p:cNvPr id="442" name="Freeform 364"/>
                                <p:cNvSpPr>
                                  <a:spLocks noChangeArrowheads="1"/>
                                </p:cNvSpPr>
                                <p:nvPr/>
                              </p:nvSpPr>
                              <p:spPr bwMode="auto">
                                <a:xfrm>
                                  <a:off x="7342623" y="2930654"/>
                                  <a:ext cx="137646" cy="42112"/>
                                </a:xfrm>
                                <a:custGeom>
                                  <a:avLst/>
                                  <a:gdLst>
                                    <a:gd name="T0" fmla="*/ 0 w 137646"/>
                                    <a:gd name="T1" fmla="*/ 0 h 42112"/>
                                    <a:gd name="T2" fmla="*/ 27432 w 137646"/>
                                    <a:gd name="T3" fmla="*/ 9144 h 42112"/>
                                    <a:gd name="T4" fmla="*/ 41148 w 137646"/>
                                    <a:gd name="T5" fmla="*/ 22860 h 42112"/>
                                    <a:gd name="T6" fmla="*/ 77724 w 137646"/>
                                    <a:gd name="T7" fmla="*/ 27432 h 42112"/>
                                    <a:gd name="T8" fmla="*/ 100584 w 137646"/>
                                    <a:gd name="T9" fmla="*/ 32004 h 42112"/>
                                    <a:gd name="T10" fmla="*/ 137160 w 137646"/>
                                    <a:gd name="T11" fmla="*/ 41148 h 42112"/>
                                    <a:gd name="T12" fmla="*/ 0 60000 65536"/>
                                    <a:gd name="T13" fmla="*/ 0 60000 65536"/>
                                    <a:gd name="T14" fmla="*/ 0 60000 65536"/>
                                    <a:gd name="T15" fmla="*/ 0 60000 65536"/>
                                    <a:gd name="T16" fmla="*/ 0 60000 65536"/>
                                    <a:gd name="T17" fmla="*/ 0 60000 65536"/>
                                    <a:gd name="T18" fmla="*/ 0 w 137646"/>
                                    <a:gd name="T19" fmla="*/ 0 h 42112"/>
                                    <a:gd name="T20" fmla="*/ 137646 w 137646"/>
                                    <a:gd name="T21" fmla="*/ 42112 h 42112"/>
                                  </a:gdLst>
                                  <a:ahLst/>
                                  <a:cxnLst>
                                    <a:cxn ang="T12">
                                      <a:pos x="T0" y="T1"/>
                                    </a:cxn>
                                    <a:cxn ang="T13">
                                      <a:pos x="T2" y="T3"/>
                                    </a:cxn>
                                    <a:cxn ang="T14">
                                      <a:pos x="T4" y="T5"/>
                                    </a:cxn>
                                    <a:cxn ang="T15">
                                      <a:pos x="T6" y="T7"/>
                                    </a:cxn>
                                    <a:cxn ang="T16">
                                      <a:pos x="T8" y="T9"/>
                                    </a:cxn>
                                    <a:cxn ang="T17">
                                      <a:pos x="T10" y="T11"/>
                                    </a:cxn>
                                  </a:cxnLst>
                                  <a:rect l="T18" t="T19" r="T20" b="T21"/>
                                  <a:pathLst>
                                    <a:path w="137646" h="42112">
                                      <a:moveTo>
                                        <a:pt x="0" y="0"/>
                                      </a:moveTo>
                                      <a:cubicBezTo>
                                        <a:pt x="9144" y="3048"/>
                                        <a:pt x="20616" y="2328"/>
                                        <a:pt x="27432" y="9144"/>
                                      </a:cubicBezTo>
                                      <a:cubicBezTo>
                                        <a:pt x="32004" y="13716"/>
                                        <a:pt x="35071" y="20650"/>
                                        <a:pt x="41148" y="22860"/>
                                      </a:cubicBezTo>
                                      <a:cubicBezTo>
                                        <a:pt x="52695" y="27059"/>
                                        <a:pt x="65580" y="25564"/>
                                        <a:pt x="77724" y="27432"/>
                                      </a:cubicBezTo>
                                      <a:cubicBezTo>
                                        <a:pt x="85405" y="28614"/>
                                        <a:pt x="93087" y="29959"/>
                                        <a:pt x="100584" y="32004"/>
                                      </a:cubicBezTo>
                                      <a:cubicBezTo>
                                        <a:pt x="137646" y="42112"/>
                                        <a:pt x="116246" y="41148"/>
                                        <a:pt x="137160" y="41148"/>
                                      </a:cubicBezTo>
                                    </a:path>
                                  </a:pathLst>
                                </a:custGeom>
                                <a:solidFill>
                                  <a:schemeClr val="bg1"/>
                                </a:solidFill>
                                <a:ln w="28575" algn="ctr">
                                  <a:solidFill>
                                    <a:schemeClr val="accent2"/>
                                  </a:solidFill>
                                  <a:round/>
                                  <a:headEnd/>
                                  <a:tailEnd/>
                                </a:ln>
                              </p:spPr>
                              <p:txBody>
                                <a:bodyPr wrap="none" lIns="0" tIns="0" rIns="0" bIns="0" anchor="ctr"/>
                                <a:lstStyle/>
                                <a:p>
                                  <a:endParaRPr lang="pt-BR"/>
                                </a:p>
                              </p:txBody>
                            </p:sp>
                            <p:sp>
                              <p:nvSpPr>
                                <p:cNvPr id="443" name="Oval 442"/>
                                <p:cNvSpPr/>
                                <p:nvPr/>
                              </p:nvSpPr>
                              <p:spPr bwMode="auto">
                                <a:xfrm>
                                  <a:off x="8248181" y="2248989"/>
                                  <a:ext cx="37370" cy="42118"/>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44" name="Oval 443"/>
                                <p:cNvSpPr/>
                                <p:nvPr/>
                              </p:nvSpPr>
                              <p:spPr bwMode="auto">
                                <a:xfrm>
                                  <a:off x="8161898" y="2419939"/>
                                  <a:ext cx="38865" cy="41116"/>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45" name="Oval 444"/>
                                <p:cNvSpPr/>
                                <p:nvPr/>
                              </p:nvSpPr>
                              <p:spPr bwMode="auto">
                                <a:xfrm>
                                  <a:off x="8080697" y="2768987"/>
                                  <a:ext cx="37370" cy="41314"/>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46" name="Oval 445"/>
                                <p:cNvSpPr/>
                                <p:nvPr/>
                              </p:nvSpPr>
                              <p:spPr bwMode="auto">
                                <a:xfrm>
                                  <a:off x="7766070" y="2660476"/>
                                  <a:ext cx="38865" cy="41314"/>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graphicFrame>
                              <p:nvGraphicFramePr>
                                <p:cNvPr id="447" name="Object 21"/>
                                <p:cNvGraphicFramePr>
                                  <a:graphicFrameLocks noChangeAspect="1"/>
                                </p:cNvGraphicFramePr>
                                <p:nvPr/>
                              </p:nvGraphicFramePr>
                              <p:xfrm>
                                <a:off x="6983608" y="2275410"/>
                                <a:ext cx="51961" cy="52696"/>
                              </p:xfrm>
                              <a:graphic>
                                <a:graphicData uri="http://schemas.openxmlformats.org/presentationml/2006/ole">
                                  <p:oleObj spid="_x0000_s2099618" r:id="rId25" imgW="312983" imgH="312983" progId="">
                                    <p:embed/>
                                  </p:oleObj>
                                </a:graphicData>
                              </a:graphic>
                            </p:graphicFrame>
                            <p:sp>
                              <p:nvSpPr>
                                <p:cNvPr id="448" name="Oval 447"/>
                                <p:cNvSpPr/>
                                <p:nvPr/>
                              </p:nvSpPr>
                              <p:spPr bwMode="auto">
                                <a:xfrm>
                                  <a:off x="7157688" y="2434528"/>
                                  <a:ext cx="37733" cy="41062"/>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49" name="Oval 448"/>
                                <p:cNvSpPr/>
                                <p:nvPr/>
                              </p:nvSpPr>
                              <p:spPr bwMode="auto">
                                <a:xfrm>
                                  <a:off x="7124825" y="2820013"/>
                                  <a:ext cx="37733" cy="42056"/>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50" name="Oval 449"/>
                                <p:cNvSpPr/>
                                <p:nvPr/>
                              </p:nvSpPr>
                              <p:spPr bwMode="auto">
                                <a:xfrm>
                                  <a:off x="7033804" y="1572803"/>
                                  <a:ext cx="37370" cy="41623"/>
                                </a:xfrm>
                                <a:prstGeom prst="ellipse">
                                  <a:avLst/>
                                </a:prstGeom>
                                <a:solidFill>
                                  <a:srgbClr val="FF0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451" name="Oval 450"/>
                                <p:cNvSpPr/>
                                <p:nvPr/>
                              </p:nvSpPr>
                              <p:spPr bwMode="auto">
                                <a:xfrm>
                                  <a:off x="6196327" y="2128531"/>
                                  <a:ext cx="38864" cy="41369"/>
                                </a:xfrm>
                                <a:prstGeom prst="ellipse">
                                  <a:avLst/>
                                </a:prstGeom>
                                <a:solidFill>
                                  <a:srgbClr val="FF0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grpSp>
                        </p:grpSp>
                        <p:grpSp>
                          <p:nvGrpSpPr>
                            <p:cNvPr id="303" name="Group 244"/>
                            <p:cNvGrpSpPr>
                              <a:grpSpLocks/>
                            </p:cNvGrpSpPr>
                            <p:nvPr/>
                          </p:nvGrpSpPr>
                          <p:grpSpPr bwMode="auto">
                            <a:xfrm>
                              <a:off x="6217873" y="4423207"/>
                              <a:ext cx="1205853" cy="654090"/>
                              <a:chOff x="6704919" y="4366260"/>
                              <a:chExt cx="1231311" cy="642468"/>
                            </a:xfrm>
                          </p:grpSpPr>
                          <p:sp>
                            <p:nvSpPr>
                              <p:cNvPr id="306" name="Freeform 205"/>
                              <p:cNvSpPr>
                                <a:spLocks noChangeArrowheads="1"/>
                              </p:cNvSpPr>
                              <p:nvPr/>
                            </p:nvSpPr>
                            <p:spPr bwMode="auto">
                              <a:xfrm>
                                <a:off x="7799070" y="4366260"/>
                                <a:ext cx="137160" cy="202828"/>
                              </a:xfrm>
                              <a:custGeom>
                                <a:avLst/>
                                <a:gdLst>
                                  <a:gd name="T0" fmla="*/ 137160 w 137160"/>
                                  <a:gd name="T1" fmla="*/ 0 h 202828"/>
                                  <a:gd name="T2" fmla="*/ 129540 w 137160"/>
                                  <a:gd name="T3" fmla="*/ 11430 h 202828"/>
                                  <a:gd name="T4" fmla="*/ 114300 w 137160"/>
                                  <a:gd name="T5" fmla="*/ 22860 h 202828"/>
                                  <a:gd name="T6" fmla="*/ 110490 w 137160"/>
                                  <a:gd name="T7" fmla="*/ 34290 h 202828"/>
                                  <a:gd name="T8" fmla="*/ 95250 w 137160"/>
                                  <a:gd name="T9" fmla="*/ 64770 h 202828"/>
                                  <a:gd name="T10" fmla="*/ 80010 w 137160"/>
                                  <a:gd name="T11" fmla="*/ 87630 h 202828"/>
                                  <a:gd name="T12" fmla="*/ 72390 w 137160"/>
                                  <a:gd name="T13" fmla="*/ 99060 h 202828"/>
                                  <a:gd name="T14" fmla="*/ 60960 w 137160"/>
                                  <a:gd name="T15" fmla="*/ 118110 h 202828"/>
                                  <a:gd name="T16" fmla="*/ 53340 w 137160"/>
                                  <a:gd name="T17" fmla="*/ 140970 h 202828"/>
                                  <a:gd name="T18" fmla="*/ 41910 w 137160"/>
                                  <a:gd name="T19" fmla="*/ 156210 h 202828"/>
                                  <a:gd name="T20" fmla="*/ 34290 w 137160"/>
                                  <a:gd name="T21" fmla="*/ 167640 h 202828"/>
                                  <a:gd name="T22" fmla="*/ 22860 w 137160"/>
                                  <a:gd name="T23" fmla="*/ 175260 h 202828"/>
                                  <a:gd name="T24" fmla="*/ 3810 w 137160"/>
                                  <a:gd name="T25" fmla="*/ 201930 h 202828"/>
                                  <a:gd name="T26" fmla="*/ 0 w 137160"/>
                                  <a:gd name="T27" fmla="*/ 201930 h 20282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7160"/>
                                  <a:gd name="T43" fmla="*/ 0 h 202828"/>
                                  <a:gd name="T44" fmla="*/ 137160 w 137160"/>
                                  <a:gd name="T45" fmla="*/ 202828 h 20282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7160" h="202828">
                                    <a:moveTo>
                                      <a:pt x="137160" y="0"/>
                                    </a:moveTo>
                                    <a:cubicBezTo>
                                      <a:pt x="134620" y="3810"/>
                                      <a:pt x="132778" y="8192"/>
                                      <a:pt x="129540" y="11430"/>
                                    </a:cubicBezTo>
                                    <a:cubicBezTo>
                                      <a:pt x="125050" y="15920"/>
                                      <a:pt x="118365" y="17982"/>
                                      <a:pt x="114300" y="22860"/>
                                    </a:cubicBezTo>
                                    <a:cubicBezTo>
                                      <a:pt x="111729" y="25945"/>
                                      <a:pt x="112152" y="30634"/>
                                      <a:pt x="110490" y="34290"/>
                                    </a:cubicBezTo>
                                    <a:cubicBezTo>
                                      <a:pt x="105790" y="44631"/>
                                      <a:pt x="101551" y="55319"/>
                                      <a:pt x="95250" y="64770"/>
                                    </a:cubicBezTo>
                                    <a:lnTo>
                                      <a:pt x="80010" y="87630"/>
                                    </a:lnTo>
                                    <a:cubicBezTo>
                                      <a:pt x="77470" y="91440"/>
                                      <a:pt x="74746" y="95133"/>
                                      <a:pt x="72390" y="99060"/>
                                    </a:cubicBezTo>
                                    <a:cubicBezTo>
                                      <a:pt x="68580" y="105410"/>
                                      <a:pt x="64024" y="111368"/>
                                      <a:pt x="60960" y="118110"/>
                                    </a:cubicBezTo>
                                    <a:cubicBezTo>
                                      <a:pt x="57636" y="125422"/>
                                      <a:pt x="58159" y="134544"/>
                                      <a:pt x="53340" y="140970"/>
                                    </a:cubicBezTo>
                                    <a:cubicBezTo>
                                      <a:pt x="49530" y="146050"/>
                                      <a:pt x="45601" y="151043"/>
                                      <a:pt x="41910" y="156210"/>
                                    </a:cubicBezTo>
                                    <a:cubicBezTo>
                                      <a:pt x="39248" y="159936"/>
                                      <a:pt x="37528" y="164402"/>
                                      <a:pt x="34290" y="167640"/>
                                    </a:cubicBezTo>
                                    <a:cubicBezTo>
                                      <a:pt x="31052" y="170878"/>
                                      <a:pt x="26670" y="172720"/>
                                      <a:pt x="22860" y="175260"/>
                                    </a:cubicBezTo>
                                    <a:cubicBezTo>
                                      <a:pt x="18533" y="181750"/>
                                      <a:pt x="8536" y="197204"/>
                                      <a:pt x="3810" y="201930"/>
                                    </a:cubicBezTo>
                                    <a:cubicBezTo>
                                      <a:pt x="2912" y="202828"/>
                                      <a:pt x="1270" y="201930"/>
                                      <a:pt x="0" y="201930"/>
                                    </a:cubicBezTo>
                                  </a:path>
                                </a:pathLst>
                              </a:custGeom>
                              <a:solidFill>
                                <a:schemeClr val="bg1"/>
                              </a:solidFill>
                              <a:ln w="28575" algn="ctr">
                                <a:solidFill>
                                  <a:srgbClr val="FFC000"/>
                                </a:solidFill>
                                <a:round/>
                                <a:headEnd/>
                                <a:tailEnd/>
                              </a:ln>
                            </p:spPr>
                            <p:txBody>
                              <a:bodyPr wrap="none" lIns="0" tIns="0" rIns="0" bIns="0" anchor="ctr"/>
                              <a:lstStyle/>
                              <a:p>
                                <a:endParaRPr lang="pt-BR"/>
                              </a:p>
                            </p:txBody>
                          </p:sp>
                          <p:sp>
                            <p:nvSpPr>
                              <p:cNvPr id="307" name="Freeform 306"/>
                              <p:cNvSpPr>
                                <a:spLocks noChangeArrowheads="1"/>
                              </p:cNvSpPr>
                              <p:nvPr/>
                            </p:nvSpPr>
                            <p:spPr bwMode="auto">
                              <a:xfrm>
                                <a:off x="7680416" y="4590722"/>
                                <a:ext cx="67756" cy="106000"/>
                              </a:xfrm>
                              <a:custGeom>
                                <a:avLst/>
                                <a:gdLst>
                                  <a:gd name="T0" fmla="*/ 68580 w 68580"/>
                                  <a:gd name="T1" fmla="*/ 0 h 106680"/>
                                  <a:gd name="T2" fmla="*/ 57150 w 68580"/>
                                  <a:gd name="T3" fmla="*/ 3810 h 106680"/>
                                  <a:gd name="T4" fmla="*/ 49530 w 68580"/>
                                  <a:gd name="T5" fmla="*/ 15240 h 106680"/>
                                  <a:gd name="T6" fmla="*/ 38100 w 68580"/>
                                  <a:gd name="T7" fmla="*/ 22860 h 106680"/>
                                  <a:gd name="T8" fmla="*/ 22860 w 68580"/>
                                  <a:gd name="T9" fmla="*/ 45720 h 106680"/>
                                  <a:gd name="T10" fmla="*/ 19050 w 68580"/>
                                  <a:gd name="T11" fmla="*/ 57150 h 106680"/>
                                  <a:gd name="T12" fmla="*/ 11430 w 68580"/>
                                  <a:gd name="T13" fmla="*/ 87630 h 106680"/>
                                  <a:gd name="T14" fmla="*/ 0 w 68580"/>
                                  <a:gd name="T15" fmla="*/ 106680 h 106680"/>
                                  <a:gd name="T16" fmla="*/ 0 60000 65536"/>
                                  <a:gd name="T17" fmla="*/ 0 60000 65536"/>
                                  <a:gd name="T18" fmla="*/ 0 60000 65536"/>
                                  <a:gd name="T19" fmla="*/ 0 60000 65536"/>
                                  <a:gd name="T20" fmla="*/ 0 60000 65536"/>
                                  <a:gd name="T21" fmla="*/ 0 60000 65536"/>
                                  <a:gd name="T22" fmla="*/ 0 60000 65536"/>
                                  <a:gd name="T23" fmla="*/ 0 60000 65536"/>
                                  <a:gd name="T24" fmla="*/ 0 w 68580"/>
                                  <a:gd name="T25" fmla="*/ 0 h 106680"/>
                                  <a:gd name="T26" fmla="*/ 68580 w 68580"/>
                                  <a:gd name="T27" fmla="*/ 106680 h 1066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8580" h="106680">
                                    <a:moveTo>
                                      <a:pt x="68580" y="0"/>
                                    </a:moveTo>
                                    <a:cubicBezTo>
                                      <a:pt x="64770" y="1270"/>
                                      <a:pt x="60286" y="1301"/>
                                      <a:pt x="57150" y="3810"/>
                                    </a:cubicBezTo>
                                    <a:cubicBezTo>
                                      <a:pt x="53574" y="6671"/>
                                      <a:pt x="52768" y="12002"/>
                                      <a:pt x="49530" y="15240"/>
                                    </a:cubicBezTo>
                                    <a:cubicBezTo>
                                      <a:pt x="46292" y="18478"/>
                                      <a:pt x="41910" y="20320"/>
                                      <a:pt x="38100" y="22860"/>
                                    </a:cubicBezTo>
                                    <a:cubicBezTo>
                                      <a:pt x="29041" y="50038"/>
                                      <a:pt x="41886" y="17180"/>
                                      <a:pt x="22860" y="45720"/>
                                    </a:cubicBezTo>
                                    <a:cubicBezTo>
                                      <a:pt x="20632" y="49062"/>
                                      <a:pt x="20107" y="53275"/>
                                      <a:pt x="19050" y="57150"/>
                                    </a:cubicBezTo>
                                    <a:cubicBezTo>
                                      <a:pt x="16294" y="67254"/>
                                      <a:pt x="17239" y="78916"/>
                                      <a:pt x="11430" y="87630"/>
                                    </a:cubicBezTo>
                                    <a:cubicBezTo>
                                      <a:pt x="2235" y="101423"/>
                                      <a:pt x="5858" y="94964"/>
                                      <a:pt x="0" y="106680"/>
                                    </a:cubicBezTo>
                                  </a:path>
                                </a:pathLst>
                              </a:custGeom>
                              <a:solidFill>
                                <a:schemeClr val="accent2">
                                  <a:lumMod val="60000"/>
                                  <a:lumOff val="40000"/>
                                </a:schemeClr>
                              </a:solidFill>
                              <a:ln w="28575" algn="ctr">
                                <a:solidFill>
                                  <a:srgbClr val="FFC000"/>
                                </a:solidFill>
                                <a:round/>
                                <a:headEnd/>
                                <a:tailEnd/>
                              </a:ln>
                            </p:spPr>
                            <p:txBody>
                              <a:bodyPr wrap="none" lIns="0" tIns="0" rIns="0" bIns="0" anchor="ctr"/>
                              <a:lstStyle/>
                              <a:p>
                                <a:pPr defTabSz="873125" eaLnBrk="0" hangingPunct="0">
                                  <a:defRPr/>
                                </a:pPr>
                                <a:endParaRPr lang="pt-BR">
                                  <a:latin typeface="Arial" charset="0"/>
                                </a:endParaRPr>
                              </a:p>
                            </p:txBody>
                          </p:sp>
                          <p:sp>
                            <p:nvSpPr>
                              <p:cNvPr id="308" name="Freeform 209"/>
                              <p:cNvSpPr>
                                <a:spLocks noChangeArrowheads="1"/>
                              </p:cNvSpPr>
                              <p:nvPr/>
                            </p:nvSpPr>
                            <p:spPr bwMode="auto">
                              <a:xfrm>
                                <a:off x="6704919" y="4817660"/>
                                <a:ext cx="248615" cy="191068"/>
                              </a:xfrm>
                              <a:custGeom>
                                <a:avLst/>
                                <a:gdLst>
                                  <a:gd name="T0" fmla="*/ 2956 w 248615"/>
                                  <a:gd name="T1" fmla="*/ 191068 h 191068"/>
                                  <a:gd name="T2" fmla="*/ 23427 w 248615"/>
                                  <a:gd name="T3" fmla="*/ 136477 h 191068"/>
                                  <a:gd name="T4" fmla="*/ 30251 w 248615"/>
                                  <a:gd name="T5" fmla="*/ 116006 h 191068"/>
                                  <a:gd name="T6" fmla="*/ 50723 w 248615"/>
                                  <a:gd name="T7" fmla="*/ 102358 h 191068"/>
                                  <a:gd name="T8" fmla="*/ 64371 w 248615"/>
                                  <a:gd name="T9" fmla="*/ 81886 h 191068"/>
                                  <a:gd name="T10" fmla="*/ 105314 w 248615"/>
                                  <a:gd name="T11" fmla="*/ 54591 h 191068"/>
                                  <a:gd name="T12" fmla="*/ 125785 w 248615"/>
                                  <a:gd name="T13" fmla="*/ 47767 h 191068"/>
                                  <a:gd name="T14" fmla="*/ 173553 w 248615"/>
                                  <a:gd name="T15" fmla="*/ 34119 h 191068"/>
                                  <a:gd name="T16" fmla="*/ 194024 w 248615"/>
                                  <a:gd name="T17" fmla="*/ 20471 h 191068"/>
                                  <a:gd name="T18" fmla="*/ 234968 w 248615"/>
                                  <a:gd name="T19" fmla="*/ 6824 h 191068"/>
                                  <a:gd name="T20" fmla="*/ 248615 w 248615"/>
                                  <a:gd name="T21" fmla="*/ 0 h 19106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48615"/>
                                  <a:gd name="T34" fmla="*/ 0 h 191068"/>
                                  <a:gd name="T35" fmla="*/ 248615 w 248615"/>
                                  <a:gd name="T36" fmla="*/ 191068 h 19106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48615" h="191068">
                                    <a:moveTo>
                                      <a:pt x="2956" y="191068"/>
                                    </a:moveTo>
                                    <a:cubicBezTo>
                                      <a:pt x="16121" y="125244"/>
                                      <a:pt x="0" y="183332"/>
                                      <a:pt x="23427" y="136477"/>
                                    </a:cubicBezTo>
                                    <a:cubicBezTo>
                                      <a:pt x="26644" y="130044"/>
                                      <a:pt x="25758" y="121623"/>
                                      <a:pt x="30251" y="116006"/>
                                    </a:cubicBezTo>
                                    <a:cubicBezTo>
                                      <a:pt x="35374" y="109602"/>
                                      <a:pt x="43899" y="106907"/>
                                      <a:pt x="50723" y="102358"/>
                                    </a:cubicBezTo>
                                    <a:cubicBezTo>
                                      <a:pt x="55272" y="95534"/>
                                      <a:pt x="58199" y="87287"/>
                                      <a:pt x="64371" y="81886"/>
                                    </a:cubicBezTo>
                                    <a:cubicBezTo>
                                      <a:pt x="76715" y="71085"/>
                                      <a:pt x="89753" y="59778"/>
                                      <a:pt x="105314" y="54591"/>
                                    </a:cubicBezTo>
                                    <a:cubicBezTo>
                                      <a:pt x="112138" y="52316"/>
                                      <a:pt x="118869" y="49743"/>
                                      <a:pt x="125785" y="47767"/>
                                    </a:cubicBezTo>
                                    <a:cubicBezTo>
                                      <a:pt x="185773" y="30627"/>
                                      <a:pt x="124462" y="50483"/>
                                      <a:pt x="173553" y="34119"/>
                                    </a:cubicBezTo>
                                    <a:cubicBezTo>
                                      <a:pt x="180377" y="29570"/>
                                      <a:pt x="186530" y="23802"/>
                                      <a:pt x="194024" y="20471"/>
                                    </a:cubicBezTo>
                                    <a:cubicBezTo>
                                      <a:pt x="207170" y="14628"/>
                                      <a:pt x="222101" y="13258"/>
                                      <a:pt x="234968" y="6824"/>
                                    </a:cubicBezTo>
                                    <a:lnTo>
                                      <a:pt x="248615" y="0"/>
                                    </a:lnTo>
                                  </a:path>
                                </a:pathLst>
                              </a:custGeom>
                              <a:solidFill>
                                <a:schemeClr val="bg1"/>
                              </a:solidFill>
                              <a:ln w="28575" algn="ctr">
                                <a:solidFill>
                                  <a:srgbClr val="0070C0"/>
                                </a:solidFill>
                                <a:round/>
                                <a:headEnd/>
                                <a:tailEnd/>
                              </a:ln>
                            </p:spPr>
                            <p:txBody>
                              <a:bodyPr wrap="none" lIns="0" tIns="0" rIns="0" bIns="0" anchor="ctr"/>
                              <a:lstStyle/>
                              <a:p>
                                <a:endParaRPr lang="pt-BR"/>
                              </a:p>
                            </p:txBody>
                          </p:sp>
                        </p:grpSp>
                        <p:sp>
                          <p:nvSpPr>
                            <p:cNvPr id="304" name="Text Box 123"/>
                            <p:cNvSpPr txBox="1">
                              <a:spLocks noChangeArrowheads="1"/>
                            </p:cNvSpPr>
                            <p:nvPr/>
                          </p:nvSpPr>
                          <p:spPr bwMode="auto">
                            <a:xfrm>
                              <a:off x="7335403" y="4615961"/>
                              <a:ext cx="491343" cy="111939"/>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80808"/>
                                  </a:solidFill>
                                  <a:latin typeface="Calibri" pitchFamily="34" charset="0"/>
                                </a:rPr>
                                <a:t>Campos</a:t>
                              </a:r>
                            </a:p>
                          </p:txBody>
                        </p:sp>
                        <p:sp>
                          <p:nvSpPr>
                            <p:cNvPr id="305" name="Text Box 120"/>
                            <p:cNvSpPr txBox="1">
                              <a:spLocks noChangeArrowheads="1"/>
                            </p:cNvSpPr>
                            <p:nvPr/>
                          </p:nvSpPr>
                          <p:spPr bwMode="auto">
                            <a:xfrm>
                              <a:off x="5267315" y="2272923"/>
                              <a:ext cx="464729" cy="111939"/>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80808"/>
                                  </a:solidFill>
                                  <a:latin typeface="Calibri" pitchFamily="34" charset="0"/>
                                </a:rPr>
                                <a:t>Tucuruí</a:t>
                              </a:r>
                            </a:p>
                          </p:txBody>
                        </p:sp>
                      </p:grpSp>
                      <p:sp>
                        <p:nvSpPr>
                          <p:cNvPr id="300" name="Freeform 22"/>
                          <p:cNvSpPr/>
                          <p:nvPr/>
                        </p:nvSpPr>
                        <p:spPr>
                          <a:xfrm>
                            <a:off x="6455286" y="2016790"/>
                            <a:ext cx="185589" cy="1814714"/>
                          </a:xfrm>
                          <a:custGeom>
                            <a:avLst/>
                            <a:gdLst>
                              <a:gd name="connsiteX0" fmla="*/ 30637 w 186180"/>
                              <a:gd name="connsiteY0" fmla="*/ 0 h 1814660"/>
                              <a:gd name="connsiteX1" fmla="*/ 2357 w 186180"/>
                              <a:gd name="connsiteY1" fmla="*/ 325225 h 1814660"/>
                              <a:gd name="connsiteX2" fmla="*/ 44777 w 186180"/>
                              <a:gd name="connsiteY2" fmla="*/ 504334 h 1814660"/>
                              <a:gd name="connsiteX3" fmla="*/ 49491 w 186180"/>
                              <a:gd name="connsiteY3" fmla="*/ 768285 h 1814660"/>
                              <a:gd name="connsiteX4" fmla="*/ 49491 w 186180"/>
                              <a:gd name="connsiteY4" fmla="*/ 1008668 h 1814660"/>
                              <a:gd name="connsiteX5" fmla="*/ 73058 w 186180"/>
                              <a:gd name="connsiteY5" fmla="*/ 1197204 h 1814660"/>
                              <a:gd name="connsiteX6" fmla="*/ 82485 w 186180"/>
                              <a:gd name="connsiteY6" fmla="*/ 1437588 h 1814660"/>
                              <a:gd name="connsiteX7" fmla="*/ 110765 w 186180"/>
                              <a:gd name="connsiteY7" fmla="*/ 1659118 h 1814660"/>
                              <a:gd name="connsiteX8" fmla="*/ 186180 w 186180"/>
                              <a:gd name="connsiteY8" fmla="*/ 1814660 h 181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180" h="1814660">
                                <a:moveTo>
                                  <a:pt x="30637" y="0"/>
                                </a:moveTo>
                                <a:cubicBezTo>
                                  <a:pt x="15318" y="120584"/>
                                  <a:pt x="0" y="241169"/>
                                  <a:pt x="2357" y="325225"/>
                                </a:cubicBezTo>
                                <a:cubicBezTo>
                                  <a:pt x="4714" y="409281"/>
                                  <a:pt x="36921" y="430491"/>
                                  <a:pt x="44777" y="504334"/>
                                </a:cubicBezTo>
                                <a:cubicBezTo>
                                  <a:pt x="52633" y="578177"/>
                                  <a:pt x="48705" y="684229"/>
                                  <a:pt x="49491" y="768285"/>
                                </a:cubicBezTo>
                                <a:cubicBezTo>
                                  <a:pt x="50277" y="852341"/>
                                  <a:pt x="45563" y="937182"/>
                                  <a:pt x="49491" y="1008668"/>
                                </a:cubicBezTo>
                                <a:cubicBezTo>
                                  <a:pt x="53419" y="1080154"/>
                                  <a:pt x="67559" y="1125717"/>
                                  <a:pt x="73058" y="1197204"/>
                                </a:cubicBezTo>
                                <a:cubicBezTo>
                                  <a:pt x="78557" y="1268691"/>
                                  <a:pt x="76201" y="1360602"/>
                                  <a:pt x="82485" y="1437588"/>
                                </a:cubicBezTo>
                                <a:cubicBezTo>
                                  <a:pt x="88769" y="1514574"/>
                                  <a:pt x="93483" y="1596273"/>
                                  <a:pt x="110765" y="1659118"/>
                                </a:cubicBezTo>
                                <a:cubicBezTo>
                                  <a:pt x="128047" y="1721963"/>
                                  <a:pt x="172040" y="1789522"/>
                                  <a:pt x="186180" y="1814660"/>
                                </a:cubicBezTo>
                              </a:path>
                            </a:pathLst>
                          </a:custGeom>
                          <a:ln w="28575">
                            <a:solidFill>
                              <a:srgbClr val="0070C0"/>
                            </a:solidFill>
                          </a:ln>
                        </p:spPr>
                        <p:style>
                          <a:lnRef idx="1">
                            <a:schemeClr val="accent1"/>
                          </a:lnRef>
                          <a:fillRef idx="0">
                            <a:schemeClr val="accent1"/>
                          </a:fillRef>
                          <a:effectRef idx="0">
                            <a:schemeClr val="accent1"/>
                          </a:effectRef>
                          <a:fontRef idx="minor">
                            <a:schemeClr val="tx1"/>
                          </a:fontRef>
                        </p:style>
                        <p:txBody>
                          <a:bodyPr anchor="ctr"/>
                          <a:lstStyle/>
                          <a:p>
                            <a:pPr>
                              <a:defRPr/>
                            </a:pPr>
                            <a:endParaRPr lang="pt-BR"/>
                          </a:p>
                        </p:txBody>
                      </p:sp>
                      <p:sp>
                        <p:nvSpPr>
                          <p:cNvPr id="301" name="Freeform 550"/>
                          <p:cNvSpPr>
                            <a:spLocks noChangeArrowheads="1"/>
                          </p:cNvSpPr>
                          <p:nvPr/>
                        </p:nvSpPr>
                        <p:spPr bwMode="auto">
                          <a:xfrm>
                            <a:off x="6882938" y="4932218"/>
                            <a:ext cx="548640" cy="124691"/>
                          </a:xfrm>
                          <a:custGeom>
                            <a:avLst/>
                            <a:gdLst>
                              <a:gd name="T0" fmla="*/ 0 w 548640"/>
                              <a:gd name="T1" fmla="*/ 99753 h 124691"/>
                              <a:gd name="T2" fmla="*/ 155171 w 548640"/>
                              <a:gd name="T3" fmla="*/ 121920 h 124691"/>
                              <a:gd name="T4" fmla="*/ 304800 w 548640"/>
                              <a:gd name="T5" fmla="*/ 83127 h 124691"/>
                              <a:gd name="T6" fmla="*/ 459971 w 548640"/>
                              <a:gd name="T7" fmla="*/ 72044 h 124691"/>
                              <a:gd name="T8" fmla="*/ 548640 w 548640"/>
                              <a:gd name="T9" fmla="*/ 0 h 124691"/>
                              <a:gd name="T10" fmla="*/ 0 60000 65536"/>
                              <a:gd name="T11" fmla="*/ 0 60000 65536"/>
                              <a:gd name="T12" fmla="*/ 0 60000 65536"/>
                              <a:gd name="T13" fmla="*/ 0 60000 65536"/>
                              <a:gd name="T14" fmla="*/ 0 60000 65536"/>
                              <a:gd name="T15" fmla="*/ 0 w 548640"/>
                              <a:gd name="T16" fmla="*/ 0 h 124691"/>
                              <a:gd name="T17" fmla="*/ 548640 w 548640"/>
                              <a:gd name="T18" fmla="*/ 124691 h 124691"/>
                            </a:gdLst>
                            <a:ahLst/>
                            <a:cxnLst>
                              <a:cxn ang="T10">
                                <a:pos x="T0" y="T1"/>
                              </a:cxn>
                              <a:cxn ang="T11">
                                <a:pos x="T2" y="T3"/>
                              </a:cxn>
                              <a:cxn ang="T12">
                                <a:pos x="T4" y="T5"/>
                              </a:cxn>
                              <a:cxn ang="T13">
                                <a:pos x="T6" y="T7"/>
                              </a:cxn>
                              <a:cxn ang="T14">
                                <a:pos x="T8" y="T9"/>
                              </a:cxn>
                            </a:cxnLst>
                            <a:rect l="T15" t="T16" r="T17" b="T18"/>
                            <a:pathLst>
                              <a:path w="548640" h="124691">
                                <a:moveTo>
                                  <a:pt x="0" y="99753"/>
                                </a:moveTo>
                                <a:cubicBezTo>
                                  <a:pt x="52185" y="112222"/>
                                  <a:pt x="104371" y="124691"/>
                                  <a:pt x="155171" y="121920"/>
                                </a:cubicBezTo>
                                <a:cubicBezTo>
                                  <a:pt x="205971" y="119149"/>
                                  <a:pt x="254000" y="91440"/>
                                  <a:pt x="304800" y="83127"/>
                                </a:cubicBezTo>
                                <a:cubicBezTo>
                                  <a:pt x="355600" y="74814"/>
                                  <a:pt x="419331" y="85898"/>
                                  <a:pt x="459971" y="72044"/>
                                </a:cubicBezTo>
                                <a:cubicBezTo>
                                  <a:pt x="500611" y="58190"/>
                                  <a:pt x="536633" y="12931"/>
                                  <a:pt x="548640" y="0"/>
                                </a:cubicBezTo>
                              </a:path>
                            </a:pathLst>
                          </a:custGeom>
                          <a:noFill/>
                          <a:ln w="28575">
                            <a:solidFill>
                              <a:srgbClr val="0070C0"/>
                            </a:solidFill>
                            <a:round/>
                            <a:headEnd/>
                            <a:tailEnd/>
                          </a:ln>
                        </p:spPr>
                        <p:txBody>
                          <a:bodyPr wrap="none" anchor="ctr"/>
                          <a:lstStyle/>
                          <a:p>
                            <a:endParaRPr lang="pt-BR"/>
                          </a:p>
                        </p:txBody>
                      </p:sp>
                    </p:grpSp>
                    <p:sp>
                      <p:nvSpPr>
                        <p:cNvPr id="296" name="Freeform 63"/>
                        <p:cNvSpPr>
                          <a:spLocks noChangeArrowheads="1"/>
                        </p:cNvSpPr>
                        <p:nvPr/>
                      </p:nvSpPr>
                      <p:spPr bwMode="auto">
                        <a:xfrm>
                          <a:off x="5502988" y="5838298"/>
                          <a:ext cx="646654" cy="30352"/>
                        </a:xfrm>
                        <a:custGeom>
                          <a:avLst/>
                          <a:gdLst>
                            <a:gd name="T0" fmla="*/ 2147483647 w 203"/>
                            <a:gd name="T1" fmla="*/ 2147483647 h 11"/>
                            <a:gd name="T2" fmla="*/ 2147483647 w 203"/>
                            <a:gd name="T3" fmla="*/ 2147483647 h 11"/>
                            <a:gd name="T4" fmla="*/ 0 w 203"/>
                            <a:gd name="T5" fmla="*/ 0 h 11"/>
                            <a:gd name="T6" fmla="*/ 0 60000 65536"/>
                            <a:gd name="T7" fmla="*/ 0 60000 65536"/>
                            <a:gd name="T8" fmla="*/ 0 60000 65536"/>
                            <a:gd name="T9" fmla="*/ 0 w 203"/>
                            <a:gd name="T10" fmla="*/ 0 h 11"/>
                            <a:gd name="T11" fmla="*/ 203 w 203"/>
                            <a:gd name="T12" fmla="*/ 11 h 11"/>
                          </a:gdLst>
                          <a:ahLst/>
                          <a:cxnLst>
                            <a:cxn ang="T6">
                              <a:pos x="T0" y="T1"/>
                            </a:cxn>
                            <a:cxn ang="T7">
                              <a:pos x="T2" y="T3"/>
                            </a:cxn>
                            <a:cxn ang="T8">
                              <a:pos x="T4" y="T5"/>
                            </a:cxn>
                          </a:cxnLst>
                          <a:rect l="T9" t="T10" r="T11" b="T12"/>
                          <a:pathLst>
                            <a:path w="203" h="11">
                              <a:moveTo>
                                <a:pt x="203" y="3"/>
                              </a:moveTo>
                              <a:cubicBezTo>
                                <a:pt x="194" y="6"/>
                                <a:pt x="167" y="11"/>
                                <a:pt x="133" y="11"/>
                              </a:cubicBezTo>
                              <a:cubicBezTo>
                                <a:pt x="99" y="11"/>
                                <a:pt x="28" y="2"/>
                                <a:pt x="0" y="0"/>
                              </a:cubicBezTo>
                            </a:path>
                          </a:pathLst>
                        </a:custGeom>
                        <a:noFill/>
                        <a:ln w="28575">
                          <a:solidFill>
                            <a:srgbClr val="0070C0"/>
                          </a:solidFill>
                          <a:round/>
                          <a:headEnd/>
                          <a:tailEnd/>
                        </a:ln>
                      </p:spPr>
                      <p:txBody>
                        <a:bodyPr wrap="none" anchor="ctr"/>
                        <a:lstStyle/>
                        <a:p>
                          <a:endParaRPr lang="pt-BR"/>
                        </a:p>
                      </p:txBody>
                    </p:sp>
                    <p:sp>
                      <p:nvSpPr>
                        <p:cNvPr id="297" name="Text Box 135"/>
                        <p:cNvSpPr txBox="1">
                          <a:spLocks noChangeArrowheads="1"/>
                        </p:cNvSpPr>
                        <p:nvPr/>
                      </p:nvSpPr>
                      <p:spPr bwMode="auto">
                        <a:xfrm>
                          <a:off x="7323829" y="3029608"/>
                          <a:ext cx="424796" cy="113557"/>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dirty="0" err="1">
                              <a:solidFill>
                                <a:srgbClr val="000000"/>
                              </a:solidFill>
                              <a:latin typeface="Calibri" pitchFamily="34" charset="0"/>
                            </a:rPr>
                            <a:t>Petrolina</a:t>
                          </a:r>
                          <a:endParaRPr lang="en-GB" sz="900" dirty="0">
                            <a:solidFill>
                              <a:srgbClr val="000000"/>
                            </a:solidFill>
                            <a:latin typeface="Calibri" pitchFamily="34" charset="0"/>
                          </a:endParaRPr>
                        </a:p>
                      </p:txBody>
                    </p:sp>
                    <p:sp>
                      <p:nvSpPr>
                        <p:cNvPr id="298" name="Oval 297"/>
                        <p:cNvSpPr/>
                        <p:nvPr/>
                      </p:nvSpPr>
                      <p:spPr bwMode="auto">
                        <a:xfrm>
                          <a:off x="5788740" y="5846409"/>
                          <a:ext cx="76090" cy="72163"/>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sz="1000">
                            <a:solidFill>
                              <a:srgbClr val="FFFFFF"/>
                            </a:solidFill>
                          </a:endParaRPr>
                        </a:p>
                      </p:txBody>
                    </p:sp>
                  </p:grpSp>
                  <p:sp>
                    <p:nvSpPr>
                      <p:cNvPr id="278" name="Freeform 36"/>
                      <p:cNvSpPr>
                        <a:spLocks/>
                      </p:cNvSpPr>
                      <p:nvPr/>
                    </p:nvSpPr>
                    <p:spPr bwMode="auto">
                      <a:xfrm>
                        <a:off x="5935484" y="5029571"/>
                        <a:ext cx="483191" cy="162648"/>
                      </a:xfrm>
                      <a:custGeom>
                        <a:avLst/>
                        <a:gdLst>
                          <a:gd name="T0" fmla="*/ 0 w 435935"/>
                          <a:gd name="T1" fmla="*/ 0 h 148855"/>
                          <a:gd name="T2" fmla="*/ 176530 w 435935"/>
                          <a:gd name="T3" fmla="*/ 45468 h 148855"/>
                          <a:gd name="T4" fmla="*/ 224673 w 435935"/>
                          <a:gd name="T5" fmla="*/ 60623 h 148855"/>
                          <a:gd name="T6" fmla="*/ 385156 w 435935"/>
                          <a:gd name="T7" fmla="*/ 30310 h 148855"/>
                          <a:gd name="T8" fmla="*/ 433301 w 435935"/>
                          <a:gd name="T9" fmla="*/ 0 h 148855"/>
                          <a:gd name="T10" fmla="*/ 481445 w 435935"/>
                          <a:gd name="T11" fmla="*/ 15154 h 148855"/>
                          <a:gd name="T12" fmla="*/ 497493 w 435935"/>
                          <a:gd name="T13" fmla="*/ 60623 h 148855"/>
                          <a:gd name="T14" fmla="*/ 561685 w 435935"/>
                          <a:gd name="T15" fmla="*/ 136402 h 148855"/>
                          <a:gd name="T16" fmla="*/ 593782 w 435935"/>
                          <a:gd name="T17" fmla="*/ 181869 h 148855"/>
                          <a:gd name="T18" fmla="*/ 641926 w 435935"/>
                          <a:gd name="T19" fmla="*/ 197025 h 148855"/>
                          <a:gd name="T20" fmla="*/ 657977 w 435935"/>
                          <a:gd name="T21" fmla="*/ 212180 h 1488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35935"/>
                          <a:gd name="T34" fmla="*/ 0 h 148855"/>
                          <a:gd name="T35" fmla="*/ 435935 w 435935"/>
                          <a:gd name="T36" fmla="*/ 148855 h 1488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35935" h="148855">
                            <a:moveTo>
                              <a:pt x="0" y="0"/>
                            </a:moveTo>
                            <a:cubicBezTo>
                              <a:pt x="75138" y="15027"/>
                              <a:pt x="36023" y="4918"/>
                              <a:pt x="116958" y="31897"/>
                            </a:cubicBezTo>
                            <a:lnTo>
                              <a:pt x="148855" y="42530"/>
                            </a:lnTo>
                            <a:cubicBezTo>
                              <a:pt x="176278" y="38612"/>
                              <a:pt x="225491" y="36110"/>
                              <a:pt x="255181" y="21265"/>
                            </a:cubicBezTo>
                            <a:cubicBezTo>
                              <a:pt x="266611" y="15550"/>
                              <a:pt x="276446" y="7088"/>
                              <a:pt x="287079" y="0"/>
                            </a:cubicBezTo>
                            <a:cubicBezTo>
                              <a:pt x="297711" y="3544"/>
                              <a:pt x="311051" y="2707"/>
                              <a:pt x="318976" y="10632"/>
                            </a:cubicBezTo>
                            <a:cubicBezTo>
                              <a:pt x="326901" y="18557"/>
                              <a:pt x="324597" y="32505"/>
                              <a:pt x="329609" y="42530"/>
                            </a:cubicBezTo>
                            <a:cubicBezTo>
                              <a:pt x="351424" y="86159"/>
                              <a:pt x="345769" y="62731"/>
                              <a:pt x="372139" y="95693"/>
                            </a:cubicBezTo>
                            <a:cubicBezTo>
                              <a:pt x="380122" y="105671"/>
                              <a:pt x="383426" y="119607"/>
                              <a:pt x="393404" y="127590"/>
                            </a:cubicBezTo>
                            <a:cubicBezTo>
                              <a:pt x="402156" y="134591"/>
                              <a:pt x="415277" y="133211"/>
                              <a:pt x="425302" y="138223"/>
                            </a:cubicBezTo>
                            <a:cubicBezTo>
                              <a:pt x="429785" y="140464"/>
                              <a:pt x="432391" y="145311"/>
                              <a:pt x="435935" y="148855"/>
                            </a:cubicBezTo>
                          </a:path>
                        </a:pathLst>
                      </a:custGeom>
                      <a:solidFill>
                        <a:schemeClr val="bg1"/>
                      </a:solidFill>
                      <a:ln w="28575" cap="flat" cmpd="sng" algn="ctr">
                        <a:solidFill>
                          <a:schemeClr val="accent2"/>
                        </a:solidFill>
                        <a:prstDash val="solid"/>
                        <a:round/>
                        <a:headEnd type="none" w="med" len="med"/>
                        <a:tailEnd type="none" w="med" len="med"/>
                      </a:ln>
                    </p:spPr>
                    <p:txBody>
                      <a:bodyPr anchor="ctr"/>
                      <a:lstStyle/>
                      <a:p>
                        <a:endParaRPr lang="pt-BR"/>
                      </a:p>
                    </p:txBody>
                  </p:sp>
                  <p:sp>
                    <p:nvSpPr>
                      <p:cNvPr id="279" name="Oval 278"/>
                      <p:cNvSpPr/>
                      <p:nvPr/>
                    </p:nvSpPr>
                    <p:spPr bwMode="auto">
                      <a:xfrm>
                        <a:off x="6256532" y="4961472"/>
                        <a:ext cx="76405" cy="76025"/>
                      </a:xfrm>
                      <a:prstGeom prst="ellipse">
                        <a:avLst/>
                      </a:prstGeom>
                      <a:solidFill>
                        <a:srgbClr val="FF0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sz="1000">
                          <a:solidFill>
                            <a:srgbClr val="5F5F5F"/>
                          </a:solidFill>
                        </a:endParaRPr>
                      </a:p>
                    </p:txBody>
                  </p:sp>
                  <p:sp>
                    <p:nvSpPr>
                      <p:cNvPr id="280" name="Text Box 135"/>
                      <p:cNvSpPr txBox="1">
                        <a:spLocks noChangeArrowheads="1"/>
                      </p:cNvSpPr>
                      <p:nvPr/>
                    </p:nvSpPr>
                    <p:spPr bwMode="auto">
                      <a:xfrm>
                        <a:off x="5963859" y="4880004"/>
                        <a:ext cx="314189" cy="88358"/>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700">
                            <a:solidFill>
                              <a:srgbClr val="000000"/>
                            </a:solidFill>
                            <a:latin typeface="Calibri" pitchFamily="34" charset="0"/>
                          </a:rPr>
                          <a:t>Maringa</a:t>
                        </a:r>
                      </a:p>
                    </p:txBody>
                  </p:sp>
                  <p:sp>
                    <p:nvSpPr>
                      <p:cNvPr id="281" name="Freeform 39"/>
                      <p:cNvSpPr>
                        <a:spLocks/>
                      </p:cNvSpPr>
                      <p:nvPr/>
                    </p:nvSpPr>
                    <p:spPr bwMode="auto">
                      <a:xfrm>
                        <a:off x="4209299" y="3029829"/>
                        <a:ext cx="1091685" cy="540000"/>
                      </a:xfrm>
                      <a:custGeom>
                        <a:avLst/>
                        <a:gdLst>
                          <a:gd name="T0" fmla="*/ 1422634 w 999460"/>
                          <a:gd name="T1" fmla="*/ 601277 h 520995"/>
                          <a:gd name="T2" fmla="*/ 1392366 w 999460"/>
                          <a:gd name="T3" fmla="*/ 564464 h 520995"/>
                          <a:gd name="T4" fmla="*/ 1301559 w 999460"/>
                          <a:gd name="T5" fmla="*/ 527651 h 520995"/>
                          <a:gd name="T6" fmla="*/ 1256157 w 999460"/>
                          <a:gd name="T7" fmla="*/ 503109 h 520995"/>
                          <a:gd name="T8" fmla="*/ 665914 w 999460"/>
                          <a:gd name="T9" fmla="*/ 466296 h 520995"/>
                          <a:gd name="T10" fmla="*/ 575107 w 999460"/>
                          <a:gd name="T11" fmla="*/ 454026 h 520995"/>
                          <a:gd name="T12" fmla="*/ 484302 w 999460"/>
                          <a:gd name="T13" fmla="*/ 429483 h 520995"/>
                          <a:gd name="T14" fmla="*/ 454034 w 999460"/>
                          <a:gd name="T15" fmla="*/ 404941 h 520995"/>
                          <a:gd name="T16" fmla="*/ 438898 w 999460"/>
                          <a:gd name="T17" fmla="*/ 368129 h 520995"/>
                          <a:gd name="T18" fmla="*/ 393494 w 999460"/>
                          <a:gd name="T19" fmla="*/ 343587 h 520995"/>
                          <a:gd name="T20" fmla="*/ 363226 w 999460"/>
                          <a:gd name="T21" fmla="*/ 306775 h 520995"/>
                          <a:gd name="T22" fmla="*/ 272420 w 999460"/>
                          <a:gd name="T23" fmla="*/ 257690 h 520995"/>
                          <a:gd name="T24" fmla="*/ 242151 w 999460"/>
                          <a:gd name="T25" fmla="*/ 220877 h 520995"/>
                          <a:gd name="T26" fmla="*/ 151342 w 999460"/>
                          <a:gd name="T27" fmla="*/ 159522 h 520995"/>
                          <a:gd name="T28" fmla="*/ 90806 w 999460"/>
                          <a:gd name="T29" fmla="*/ 98167 h 520995"/>
                          <a:gd name="T30" fmla="*/ 75673 w 999460"/>
                          <a:gd name="T31" fmla="*/ 61354 h 520995"/>
                          <a:gd name="T32" fmla="*/ 30268 w 999460"/>
                          <a:gd name="T33" fmla="*/ 24542 h 520995"/>
                          <a:gd name="T34" fmla="*/ 0 w 999460"/>
                          <a:gd name="T35" fmla="*/ 0 h 52099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99460"/>
                          <a:gd name="T55" fmla="*/ 0 h 520995"/>
                          <a:gd name="T56" fmla="*/ 999460 w 999460"/>
                          <a:gd name="T57" fmla="*/ 520995 h 52099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99460" h="520995">
                            <a:moveTo>
                              <a:pt x="999460" y="520995"/>
                            </a:moveTo>
                            <a:cubicBezTo>
                              <a:pt x="992372" y="510363"/>
                              <a:pt x="987231" y="498134"/>
                              <a:pt x="978195" y="489098"/>
                            </a:cubicBezTo>
                            <a:cubicBezTo>
                              <a:pt x="947724" y="458627"/>
                              <a:pt x="948990" y="474495"/>
                              <a:pt x="914400" y="457200"/>
                            </a:cubicBezTo>
                            <a:cubicBezTo>
                              <a:pt x="902970" y="451485"/>
                              <a:pt x="894179" y="441125"/>
                              <a:pt x="882502" y="435935"/>
                            </a:cubicBezTo>
                            <a:cubicBezTo>
                              <a:pt x="754597" y="379089"/>
                              <a:pt x="596298" y="407930"/>
                              <a:pt x="467832" y="404037"/>
                            </a:cubicBezTo>
                            <a:cubicBezTo>
                              <a:pt x="446567" y="400493"/>
                              <a:pt x="424952" y="398634"/>
                              <a:pt x="404037" y="393405"/>
                            </a:cubicBezTo>
                            <a:cubicBezTo>
                              <a:pt x="382291" y="387969"/>
                              <a:pt x="340242" y="372140"/>
                              <a:pt x="340242" y="372140"/>
                            </a:cubicBezTo>
                            <a:cubicBezTo>
                              <a:pt x="333154" y="365051"/>
                              <a:pt x="324135" y="359470"/>
                              <a:pt x="318977" y="350874"/>
                            </a:cubicBezTo>
                            <a:cubicBezTo>
                              <a:pt x="313211" y="341264"/>
                              <a:pt x="315345" y="327729"/>
                              <a:pt x="308344" y="318977"/>
                            </a:cubicBezTo>
                            <a:cubicBezTo>
                              <a:pt x="300361" y="308999"/>
                              <a:pt x="287079" y="304800"/>
                              <a:pt x="276446" y="297712"/>
                            </a:cubicBezTo>
                            <a:cubicBezTo>
                              <a:pt x="269358" y="287079"/>
                              <a:pt x="264798" y="274229"/>
                              <a:pt x="255181" y="265814"/>
                            </a:cubicBezTo>
                            <a:cubicBezTo>
                              <a:pt x="235947" y="248984"/>
                              <a:pt x="191386" y="223284"/>
                              <a:pt x="191386" y="223284"/>
                            </a:cubicBezTo>
                            <a:cubicBezTo>
                              <a:pt x="184298" y="212651"/>
                              <a:pt x="179157" y="200422"/>
                              <a:pt x="170121" y="191386"/>
                            </a:cubicBezTo>
                            <a:cubicBezTo>
                              <a:pt x="86476" y="107741"/>
                              <a:pt x="193427" y="242745"/>
                              <a:pt x="106325" y="138223"/>
                            </a:cubicBezTo>
                            <a:cubicBezTo>
                              <a:pt x="39251" y="57734"/>
                              <a:pt x="125670" y="146938"/>
                              <a:pt x="63795" y="85060"/>
                            </a:cubicBezTo>
                            <a:cubicBezTo>
                              <a:pt x="60251" y="74428"/>
                              <a:pt x="59380" y="62488"/>
                              <a:pt x="53163" y="53163"/>
                            </a:cubicBezTo>
                            <a:cubicBezTo>
                              <a:pt x="44822" y="40652"/>
                              <a:pt x="31898" y="31898"/>
                              <a:pt x="21265" y="21265"/>
                            </a:cubicBezTo>
                            <a:lnTo>
                              <a:pt x="0" y="0"/>
                            </a:lnTo>
                          </a:path>
                        </a:pathLst>
                      </a:custGeom>
                      <a:noFill/>
                      <a:ln w="28575" cap="flat" cmpd="sng" algn="ctr">
                        <a:solidFill>
                          <a:schemeClr val="accent2"/>
                        </a:solidFill>
                        <a:prstDash val="solid"/>
                        <a:round/>
                        <a:headEnd type="none" w="med" len="med"/>
                        <a:tailEnd type="none" w="med" len="med"/>
                      </a:ln>
                    </p:spPr>
                    <p:txBody>
                      <a:bodyPr anchor="ctr"/>
                      <a:lstStyle/>
                      <a:p>
                        <a:endParaRPr lang="pt-BR"/>
                      </a:p>
                    </p:txBody>
                  </p:sp>
                  <p:sp>
                    <p:nvSpPr>
                      <p:cNvPr id="282" name="Freeform 40"/>
                      <p:cNvSpPr>
                        <a:spLocks/>
                      </p:cNvSpPr>
                      <p:nvPr/>
                    </p:nvSpPr>
                    <p:spPr bwMode="auto">
                      <a:xfrm>
                        <a:off x="4173136" y="2407407"/>
                        <a:ext cx="231995" cy="551345"/>
                      </a:xfrm>
                      <a:custGeom>
                        <a:avLst/>
                        <a:gdLst>
                          <a:gd name="T0" fmla="*/ 393904 w 194465"/>
                          <a:gd name="T1" fmla="*/ 0 h 531628"/>
                          <a:gd name="T2" fmla="*/ 372367 w 194465"/>
                          <a:gd name="T3" fmla="*/ 36900 h 531628"/>
                          <a:gd name="T4" fmla="*/ 350830 w 194465"/>
                          <a:gd name="T5" fmla="*/ 86099 h 531628"/>
                          <a:gd name="T6" fmla="*/ 264682 w 194465"/>
                          <a:gd name="T7" fmla="*/ 159898 h 531628"/>
                          <a:gd name="T8" fmla="*/ 243145 w 194465"/>
                          <a:gd name="T9" fmla="*/ 209098 h 531628"/>
                          <a:gd name="T10" fmla="*/ 113922 w 194465"/>
                          <a:gd name="T11" fmla="*/ 258297 h 531628"/>
                          <a:gd name="T12" fmla="*/ 6237 w 194465"/>
                          <a:gd name="T13" fmla="*/ 368996 h 531628"/>
                          <a:gd name="T14" fmla="*/ 6237 w 194465"/>
                          <a:gd name="T15" fmla="*/ 614993 h 531628"/>
                          <a:gd name="T16" fmla="*/ 0 60000 65536"/>
                          <a:gd name="T17" fmla="*/ 0 60000 65536"/>
                          <a:gd name="T18" fmla="*/ 0 60000 65536"/>
                          <a:gd name="T19" fmla="*/ 0 60000 65536"/>
                          <a:gd name="T20" fmla="*/ 0 60000 65536"/>
                          <a:gd name="T21" fmla="*/ 0 60000 65536"/>
                          <a:gd name="T22" fmla="*/ 0 60000 65536"/>
                          <a:gd name="T23" fmla="*/ 0 60000 65536"/>
                          <a:gd name="T24" fmla="*/ 0 w 194465"/>
                          <a:gd name="T25" fmla="*/ 0 h 531628"/>
                          <a:gd name="T26" fmla="*/ 194465 w 194465"/>
                          <a:gd name="T27" fmla="*/ 531628 h 5316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4465" h="531628">
                            <a:moveTo>
                              <a:pt x="194465" y="0"/>
                            </a:moveTo>
                            <a:cubicBezTo>
                              <a:pt x="190921" y="10633"/>
                              <a:pt x="186912" y="21121"/>
                              <a:pt x="183833" y="31898"/>
                            </a:cubicBezTo>
                            <a:cubicBezTo>
                              <a:pt x="179819" y="45949"/>
                              <a:pt x="179735" y="61358"/>
                              <a:pt x="173200" y="74428"/>
                            </a:cubicBezTo>
                            <a:cubicBezTo>
                              <a:pt x="161770" y="97287"/>
                              <a:pt x="130670" y="138223"/>
                              <a:pt x="130670" y="138223"/>
                            </a:cubicBezTo>
                            <a:cubicBezTo>
                              <a:pt x="127126" y="152400"/>
                              <a:pt x="129660" y="169756"/>
                              <a:pt x="120037" y="180754"/>
                            </a:cubicBezTo>
                            <a:cubicBezTo>
                              <a:pt x="103207" y="199988"/>
                              <a:pt x="56242" y="223284"/>
                              <a:pt x="56242" y="223284"/>
                            </a:cubicBezTo>
                            <a:cubicBezTo>
                              <a:pt x="47194" y="236856"/>
                              <a:pt x="4385" y="288947"/>
                              <a:pt x="3079" y="318977"/>
                            </a:cubicBezTo>
                            <a:cubicBezTo>
                              <a:pt x="0" y="389794"/>
                              <a:pt x="3079" y="460744"/>
                              <a:pt x="3079" y="531628"/>
                            </a:cubicBezTo>
                          </a:path>
                        </a:pathLst>
                      </a:custGeom>
                      <a:solidFill>
                        <a:schemeClr val="bg1"/>
                      </a:solidFill>
                      <a:ln w="28575" cap="flat" cmpd="sng" algn="ctr">
                        <a:solidFill>
                          <a:schemeClr val="accent2"/>
                        </a:solidFill>
                        <a:prstDash val="solid"/>
                        <a:round/>
                        <a:headEnd type="none" w="med" len="med"/>
                        <a:tailEnd type="none" w="med" len="med"/>
                      </a:ln>
                    </p:spPr>
                    <p:txBody>
                      <a:bodyPr anchor="ctr"/>
                      <a:lstStyle/>
                      <a:p>
                        <a:endParaRPr lang="pt-BR"/>
                      </a:p>
                    </p:txBody>
                  </p:sp>
                  <p:sp>
                    <p:nvSpPr>
                      <p:cNvPr id="283" name="Freeform 41"/>
                      <p:cNvSpPr>
                        <a:spLocks/>
                      </p:cNvSpPr>
                      <p:nvPr/>
                    </p:nvSpPr>
                    <p:spPr bwMode="auto">
                      <a:xfrm>
                        <a:off x="6848294" y="4351666"/>
                        <a:ext cx="192442" cy="594334"/>
                      </a:xfrm>
                      <a:custGeom>
                        <a:avLst/>
                        <a:gdLst>
                          <a:gd name="T0" fmla="*/ 93779 w 244549"/>
                          <a:gd name="T1" fmla="*/ 0 h 533018"/>
                          <a:gd name="T2" fmla="*/ 89701 w 244549"/>
                          <a:gd name="T3" fmla="*/ 98616 h 533018"/>
                          <a:gd name="T4" fmla="*/ 81546 w 244549"/>
                          <a:gd name="T5" fmla="*/ 197231 h 533018"/>
                          <a:gd name="T6" fmla="*/ 77468 w 244549"/>
                          <a:gd name="T7" fmla="*/ 394462 h 533018"/>
                          <a:gd name="T8" fmla="*/ 73392 w 244549"/>
                          <a:gd name="T9" fmla="*/ 443767 h 533018"/>
                          <a:gd name="T10" fmla="*/ 61159 w 244549"/>
                          <a:gd name="T11" fmla="*/ 460204 h 533018"/>
                          <a:gd name="T12" fmla="*/ 48928 w 244549"/>
                          <a:gd name="T13" fmla="*/ 493076 h 533018"/>
                          <a:gd name="T14" fmla="*/ 44850 w 244549"/>
                          <a:gd name="T15" fmla="*/ 542384 h 533018"/>
                          <a:gd name="T16" fmla="*/ 32619 w 244549"/>
                          <a:gd name="T17" fmla="*/ 575256 h 533018"/>
                          <a:gd name="T18" fmla="*/ 24464 w 244549"/>
                          <a:gd name="T19" fmla="*/ 624564 h 533018"/>
                          <a:gd name="T20" fmla="*/ 8154 w 244549"/>
                          <a:gd name="T21" fmla="*/ 821793 h 533018"/>
                          <a:gd name="T22" fmla="*/ 0 w 244549"/>
                          <a:gd name="T23" fmla="*/ 821793 h 5330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44549"/>
                          <a:gd name="T37" fmla="*/ 0 h 533018"/>
                          <a:gd name="T38" fmla="*/ 244549 w 244549"/>
                          <a:gd name="T39" fmla="*/ 533018 h 5330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44549" h="533018">
                            <a:moveTo>
                              <a:pt x="244549" y="0"/>
                            </a:moveTo>
                            <a:cubicBezTo>
                              <a:pt x="241005" y="21265"/>
                              <a:pt x="239145" y="42881"/>
                              <a:pt x="233916" y="63796"/>
                            </a:cubicBezTo>
                            <a:cubicBezTo>
                              <a:pt x="228479" y="85542"/>
                              <a:pt x="212651" y="127591"/>
                              <a:pt x="212651" y="127591"/>
                            </a:cubicBezTo>
                            <a:cubicBezTo>
                              <a:pt x="209107" y="170121"/>
                              <a:pt x="207658" y="212879"/>
                              <a:pt x="202018" y="255182"/>
                            </a:cubicBezTo>
                            <a:cubicBezTo>
                              <a:pt x="200537" y="266291"/>
                              <a:pt x="199311" y="279154"/>
                              <a:pt x="191386" y="287079"/>
                            </a:cubicBezTo>
                            <a:cubicBezTo>
                              <a:pt x="183461" y="295004"/>
                              <a:pt x="169513" y="292700"/>
                              <a:pt x="159488" y="297712"/>
                            </a:cubicBezTo>
                            <a:cubicBezTo>
                              <a:pt x="148059" y="303427"/>
                              <a:pt x="138223" y="311889"/>
                              <a:pt x="127591" y="318977"/>
                            </a:cubicBezTo>
                            <a:cubicBezTo>
                              <a:pt x="124047" y="329610"/>
                              <a:pt x="123960" y="342123"/>
                              <a:pt x="116958" y="350875"/>
                            </a:cubicBezTo>
                            <a:cubicBezTo>
                              <a:pt x="108975" y="360854"/>
                              <a:pt x="94096" y="363104"/>
                              <a:pt x="85060" y="372140"/>
                            </a:cubicBezTo>
                            <a:cubicBezTo>
                              <a:pt x="76024" y="381176"/>
                              <a:pt x="70883" y="393405"/>
                              <a:pt x="63795" y="404038"/>
                            </a:cubicBezTo>
                            <a:cubicBezTo>
                              <a:pt x="55125" y="499414"/>
                              <a:pt x="89449" y="517992"/>
                              <a:pt x="21265" y="531628"/>
                            </a:cubicBezTo>
                            <a:cubicBezTo>
                              <a:pt x="14314" y="533018"/>
                              <a:pt x="7088" y="531628"/>
                              <a:pt x="0" y="531628"/>
                            </a:cubicBezTo>
                          </a:path>
                        </a:pathLst>
                      </a:custGeom>
                      <a:solidFill>
                        <a:schemeClr val="bg1"/>
                      </a:solidFill>
                      <a:ln w="28575" cap="flat" cmpd="sng" algn="ctr">
                        <a:solidFill>
                          <a:srgbClr val="0070C0"/>
                        </a:solidFill>
                        <a:prstDash val="solid"/>
                        <a:round/>
                        <a:headEnd type="none" w="med" len="med"/>
                        <a:tailEnd type="none" w="med" len="med"/>
                      </a:ln>
                    </p:spPr>
                    <p:txBody>
                      <a:bodyPr anchor="ctr"/>
                      <a:lstStyle/>
                      <a:p>
                        <a:endParaRPr lang="pt-BR"/>
                      </a:p>
                    </p:txBody>
                  </p:sp>
                  <p:sp>
                    <p:nvSpPr>
                      <p:cNvPr id="284" name="Freeform 283"/>
                      <p:cNvSpPr/>
                      <p:nvPr/>
                    </p:nvSpPr>
                    <p:spPr>
                      <a:xfrm>
                        <a:off x="6507122" y="1945165"/>
                        <a:ext cx="1433005" cy="536742"/>
                      </a:xfrm>
                      <a:custGeom>
                        <a:avLst/>
                        <a:gdLst>
                          <a:gd name="connsiteX0" fmla="*/ 0 w 1432560"/>
                          <a:gd name="connsiteY0" fmla="*/ 29210 h 537210"/>
                          <a:gd name="connsiteX1" fmla="*/ 152400 w 1432560"/>
                          <a:gd name="connsiteY1" fmla="*/ 36830 h 537210"/>
                          <a:gd name="connsiteX2" fmla="*/ 365760 w 1432560"/>
                          <a:gd name="connsiteY2" fmla="*/ 250190 h 537210"/>
                          <a:gd name="connsiteX3" fmla="*/ 495300 w 1432560"/>
                          <a:gd name="connsiteY3" fmla="*/ 356870 h 537210"/>
                          <a:gd name="connsiteX4" fmla="*/ 632460 w 1432560"/>
                          <a:gd name="connsiteY4" fmla="*/ 356870 h 537210"/>
                          <a:gd name="connsiteX5" fmla="*/ 830580 w 1432560"/>
                          <a:gd name="connsiteY5" fmla="*/ 532130 h 537210"/>
                          <a:gd name="connsiteX6" fmla="*/ 1051560 w 1432560"/>
                          <a:gd name="connsiteY6" fmla="*/ 387350 h 537210"/>
                          <a:gd name="connsiteX7" fmla="*/ 1295400 w 1432560"/>
                          <a:gd name="connsiteY7" fmla="*/ 219710 h 537210"/>
                          <a:gd name="connsiteX8" fmla="*/ 1432560 w 1432560"/>
                          <a:gd name="connsiteY8" fmla="*/ 280670 h 537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2560" h="537210">
                            <a:moveTo>
                              <a:pt x="0" y="29210"/>
                            </a:moveTo>
                            <a:cubicBezTo>
                              <a:pt x="45720" y="14605"/>
                              <a:pt x="91440" y="0"/>
                              <a:pt x="152400" y="36830"/>
                            </a:cubicBezTo>
                            <a:cubicBezTo>
                              <a:pt x="213360" y="73660"/>
                              <a:pt x="308610" y="196850"/>
                              <a:pt x="365760" y="250190"/>
                            </a:cubicBezTo>
                            <a:cubicBezTo>
                              <a:pt x="422910" y="303530"/>
                              <a:pt x="450850" y="339090"/>
                              <a:pt x="495300" y="356870"/>
                            </a:cubicBezTo>
                            <a:cubicBezTo>
                              <a:pt x="539750" y="374650"/>
                              <a:pt x="576580" y="327660"/>
                              <a:pt x="632460" y="356870"/>
                            </a:cubicBezTo>
                            <a:cubicBezTo>
                              <a:pt x="688340" y="386080"/>
                              <a:pt x="760730" y="527050"/>
                              <a:pt x="830580" y="532130"/>
                            </a:cubicBezTo>
                            <a:cubicBezTo>
                              <a:pt x="900430" y="537210"/>
                              <a:pt x="974090" y="439420"/>
                              <a:pt x="1051560" y="387350"/>
                            </a:cubicBezTo>
                            <a:cubicBezTo>
                              <a:pt x="1129030" y="335280"/>
                              <a:pt x="1231900" y="237490"/>
                              <a:pt x="1295400" y="219710"/>
                            </a:cubicBezTo>
                            <a:cubicBezTo>
                              <a:pt x="1358900" y="201930"/>
                              <a:pt x="1427480" y="295910"/>
                              <a:pt x="1432560" y="280670"/>
                            </a:cubicBezTo>
                          </a:path>
                        </a:pathLst>
                      </a:custGeom>
                      <a:ln w="28575">
                        <a:solidFill>
                          <a:srgbClr val="FFC000"/>
                        </a:solidFill>
                      </a:ln>
                    </p:spPr>
                    <p:style>
                      <a:lnRef idx="1">
                        <a:schemeClr val="accent1"/>
                      </a:lnRef>
                      <a:fillRef idx="0">
                        <a:schemeClr val="accent1"/>
                      </a:fillRef>
                      <a:effectRef idx="0">
                        <a:schemeClr val="accent1"/>
                      </a:effectRef>
                      <a:fontRef idx="minor">
                        <a:schemeClr val="tx1"/>
                      </a:fontRef>
                    </p:style>
                    <p:txBody>
                      <a:bodyPr anchor="ctr"/>
                      <a:lstStyle/>
                      <a:p>
                        <a:pPr>
                          <a:defRPr/>
                        </a:pPr>
                        <a:endParaRPr lang="pt-BR"/>
                      </a:p>
                    </p:txBody>
                  </p:sp>
                  <p:sp>
                    <p:nvSpPr>
                      <p:cNvPr id="285" name="Freeform 284"/>
                      <p:cNvSpPr/>
                      <p:nvPr/>
                    </p:nvSpPr>
                    <p:spPr>
                      <a:xfrm>
                        <a:off x="6896817" y="2073343"/>
                        <a:ext cx="169074" cy="152211"/>
                      </a:xfrm>
                      <a:custGeom>
                        <a:avLst/>
                        <a:gdLst>
                          <a:gd name="connsiteX0" fmla="*/ 144780 w 168910"/>
                          <a:gd name="connsiteY0" fmla="*/ 0 h 152400"/>
                          <a:gd name="connsiteX1" fmla="*/ 144780 w 168910"/>
                          <a:gd name="connsiteY1" fmla="*/ 76200 h 152400"/>
                          <a:gd name="connsiteX2" fmla="*/ 0 w 168910"/>
                          <a:gd name="connsiteY2" fmla="*/ 152400 h 152400"/>
                        </a:gdLst>
                        <a:ahLst/>
                        <a:cxnLst>
                          <a:cxn ang="0">
                            <a:pos x="connsiteX0" y="connsiteY0"/>
                          </a:cxn>
                          <a:cxn ang="0">
                            <a:pos x="connsiteX1" y="connsiteY1"/>
                          </a:cxn>
                          <a:cxn ang="0">
                            <a:pos x="connsiteX2" y="connsiteY2"/>
                          </a:cxn>
                        </a:cxnLst>
                        <a:rect l="l" t="t" r="r" b="b"/>
                        <a:pathLst>
                          <a:path w="168910" h="152400">
                            <a:moveTo>
                              <a:pt x="144780" y="0"/>
                            </a:moveTo>
                            <a:cubicBezTo>
                              <a:pt x="156845" y="25400"/>
                              <a:pt x="168910" y="50800"/>
                              <a:pt x="144780" y="76200"/>
                            </a:cubicBezTo>
                            <a:cubicBezTo>
                              <a:pt x="120650" y="101600"/>
                              <a:pt x="25400" y="140970"/>
                              <a:pt x="0" y="152400"/>
                            </a:cubicBezTo>
                          </a:path>
                        </a:pathLst>
                      </a:custGeom>
                      <a:ln w="28575">
                        <a:solidFill>
                          <a:srgbClr val="FFC000"/>
                        </a:solidFill>
                      </a:ln>
                    </p:spPr>
                    <p:style>
                      <a:lnRef idx="1">
                        <a:schemeClr val="accent1"/>
                      </a:lnRef>
                      <a:fillRef idx="0">
                        <a:schemeClr val="accent1"/>
                      </a:fillRef>
                      <a:effectRef idx="0">
                        <a:schemeClr val="accent1"/>
                      </a:effectRef>
                      <a:fontRef idx="minor">
                        <a:schemeClr val="tx1"/>
                      </a:fontRef>
                    </p:style>
                    <p:txBody>
                      <a:bodyPr anchor="ctr"/>
                      <a:lstStyle/>
                      <a:p>
                        <a:pPr>
                          <a:defRPr/>
                        </a:pPr>
                        <a:endParaRPr lang="pt-BR"/>
                      </a:p>
                    </p:txBody>
                  </p:sp>
                  <p:sp>
                    <p:nvSpPr>
                      <p:cNvPr id="286" name="Freeform 285"/>
                      <p:cNvSpPr/>
                      <p:nvPr/>
                    </p:nvSpPr>
                    <p:spPr>
                      <a:xfrm>
                        <a:off x="5540103" y="3909883"/>
                        <a:ext cx="175259" cy="700970"/>
                      </a:xfrm>
                      <a:custGeom>
                        <a:avLst/>
                        <a:gdLst>
                          <a:gd name="connsiteX0" fmla="*/ 74930 w 173990"/>
                          <a:gd name="connsiteY0" fmla="*/ 701040 h 701040"/>
                          <a:gd name="connsiteX1" fmla="*/ 6350 w 173990"/>
                          <a:gd name="connsiteY1" fmla="*/ 441960 h 701040"/>
                          <a:gd name="connsiteX2" fmla="*/ 113030 w 173990"/>
                          <a:gd name="connsiteY2" fmla="*/ 304800 h 701040"/>
                          <a:gd name="connsiteX3" fmla="*/ 120650 w 173990"/>
                          <a:gd name="connsiteY3" fmla="*/ 68580 h 701040"/>
                          <a:gd name="connsiteX4" fmla="*/ 173990 w 173990"/>
                          <a:gd name="connsiteY4" fmla="*/ 0 h 701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90" h="701040">
                            <a:moveTo>
                              <a:pt x="74930" y="701040"/>
                            </a:moveTo>
                            <a:cubicBezTo>
                              <a:pt x="37465" y="604520"/>
                              <a:pt x="0" y="508000"/>
                              <a:pt x="6350" y="441960"/>
                            </a:cubicBezTo>
                            <a:cubicBezTo>
                              <a:pt x="12700" y="375920"/>
                              <a:pt x="93980" y="367030"/>
                              <a:pt x="113030" y="304800"/>
                            </a:cubicBezTo>
                            <a:cubicBezTo>
                              <a:pt x="132080" y="242570"/>
                              <a:pt x="110490" y="119380"/>
                              <a:pt x="120650" y="68580"/>
                            </a:cubicBezTo>
                            <a:cubicBezTo>
                              <a:pt x="130810" y="17780"/>
                              <a:pt x="152400" y="8890"/>
                              <a:pt x="173990" y="0"/>
                            </a:cubicBezTo>
                          </a:path>
                        </a:pathLst>
                      </a:custGeom>
                      <a:ln w="28575">
                        <a:solidFill>
                          <a:srgbClr val="FFC000"/>
                        </a:solidFill>
                      </a:ln>
                    </p:spPr>
                    <p:style>
                      <a:lnRef idx="1">
                        <a:schemeClr val="accent1"/>
                      </a:lnRef>
                      <a:fillRef idx="0">
                        <a:schemeClr val="accent1"/>
                      </a:fillRef>
                      <a:effectRef idx="0">
                        <a:schemeClr val="accent1"/>
                      </a:effectRef>
                      <a:fontRef idx="minor">
                        <a:schemeClr val="tx1"/>
                      </a:fontRef>
                    </p:style>
                    <p:txBody>
                      <a:bodyPr anchor="ctr"/>
                      <a:lstStyle/>
                      <a:p>
                        <a:pPr>
                          <a:defRPr/>
                        </a:pPr>
                        <a:endParaRPr lang="pt-BR"/>
                      </a:p>
                    </p:txBody>
                  </p:sp>
                  <p:sp>
                    <p:nvSpPr>
                      <p:cNvPr id="287" name="Freeform 286"/>
                      <p:cNvSpPr/>
                      <p:nvPr/>
                    </p:nvSpPr>
                    <p:spPr>
                      <a:xfrm>
                        <a:off x="5333915" y="3597451"/>
                        <a:ext cx="373199" cy="280388"/>
                      </a:xfrm>
                      <a:custGeom>
                        <a:avLst/>
                        <a:gdLst>
                          <a:gd name="connsiteX0" fmla="*/ 373380 w 373380"/>
                          <a:gd name="connsiteY0" fmla="*/ 281940 h 281940"/>
                          <a:gd name="connsiteX1" fmla="*/ 152400 w 373380"/>
                          <a:gd name="connsiteY1" fmla="*/ 106680 h 281940"/>
                          <a:gd name="connsiteX2" fmla="*/ 0 w 373380"/>
                          <a:gd name="connsiteY2" fmla="*/ 0 h 281940"/>
                        </a:gdLst>
                        <a:ahLst/>
                        <a:cxnLst>
                          <a:cxn ang="0">
                            <a:pos x="connsiteX0" y="connsiteY0"/>
                          </a:cxn>
                          <a:cxn ang="0">
                            <a:pos x="connsiteX1" y="connsiteY1"/>
                          </a:cxn>
                          <a:cxn ang="0">
                            <a:pos x="connsiteX2" y="connsiteY2"/>
                          </a:cxn>
                        </a:cxnLst>
                        <a:rect l="l" t="t" r="r" b="b"/>
                        <a:pathLst>
                          <a:path w="373380" h="281940">
                            <a:moveTo>
                              <a:pt x="373380" y="281940"/>
                            </a:moveTo>
                            <a:cubicBezTo>
                              <a:pt x="294005" y="217805"/>
                              <a:pt x="214630" y="153670"/>
                              <a:pt x="152400" y="106680"/>
                            </a:cubicBezTo>
                            <a:cubicBezTo>
                              <a:pt x="90170" y="59690"/>
                              <a:pt x="19050" y="20320"/>
                              <a:pt x="0" y="0"/>
                            </a:cubicBezTo>
                          </a:path>
                        </a:pathLst>
                      </a:custGeom>
                      <a:noFill/>
                      <a:ln w="28575">
                        <a:solidFill>
                          <a:srgbClr val="FFC000"/>
                        </a:solidFill>
                      </a:ln>
                    </p:spPr>
                    <p:style>
                      <a:lnRef idx="1">
                        <a:schemeClr val="accent1"/>
                      </a:lnRef>
                      <a:fillRef idx="0">
                        <a:schemeClr val="accent1"/>
                      </a:fillRef>
                      <a:effectRef idx="0">
                        <a:schemeClr val="accent1"/>
                      </a:effectRef>
                      <a:fontRef idx="minor">
                        <a:schemeClr val="tx1"/>
                      </a:fontRef>
                    </p:style>
                    <p:txBody>
                      <a:bodyPr anchor="ctr"/>
                      <a:lstStyle/>
                      <a:p>
                        <a:pPr>
                          <a:defRPr/>
                        </a:pPr>
                        <a:endParaRPr lang="pt-BR"/>
                      </a:p>
                    </p:txBody>
                  </p:sp>
                  <p:sp>
                    <p:nvSpPr>
                      <p:cNvPr id="288" name="Freeform 287"/>
                      <p:cNvSpPr/>
                      <p:nvPr/>
                    </p:nvSpPr>
                    <p:spPr>
                      <a:xfrm>
                        <a:off x="5874127" y="5059473"/>
                        <a:ext cx="527840" cy="258357"/>
                      </a:xfrm>
                      <a:custGeom>
                        <a:avLst/>
                        <a:gdLst>
                          <a:gd name="connsiteX0" fmla="*/ 46990 w 580390"/>
                          <a:gd name="connsiteY0" fmla="*/ 0 h 228600"/>
                          <a:gd name="connsiteX1" fmla="*/ 24130 w 580390"/>
                          <a:gd name="connsiteY1" fmla="*/ 68580 h 228600"/>
                          <a:gd name="connsiteX2" fmla="*/ 39370 w 580390"/>
                          <a:gd name="connsiteY2" fmla="*/ 167640 h 228600"/>
                          <a:gd name="connsiteX3" fmla="*/ 260350 w 580390"/>
                          <a:gd name="connsiteY3" fmla="*/ 228600 h 228600"/>
                          <a:gd name="connsiteX4" fmla="*/ 580390 w 580390"/>
                          <a:gd name="connsiteY4" fmla="*/ 16764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0390" h="228600">
                            <a:moveTo>
                              <a:pt x="46990" y="0"/>
                            </a:moveTo>
                            <a:cubicBezTo>
                              <a:pt x="36195" y="20320"/>
                              <a:pt x="25400" y="40640"/>
                              <a:pt x="24130" y="68580"/>
                            </a:cubicBezTo>
                            <a:cubicBezTo>
                              <a:pt x="22860" y="96520"/>
                              <a:pt x="0" y="140970"/>
                              <a:pt x="39370" y="167640"/>
                            </a:cubicBezTo>
                            <a:cubicBezTo>
                              <a:pt x="78740" y="194310"/>
                              <a:pt x="170180" y="228600"/>
                              <a:pt x="260350" y="228600"/>
                            </a:cubicBezTo>
                            <a:cubicBezTo>
                              <a:pt x="350520" y="228600"/>
                              <a:pt x="580390" y="167640"/>
                              <a:pt x="580390" y="167640"/>
                            </a:cubicBezTo>
                          </a:path>
                        </a:pathLst>
                      </a:custGeom>
                      <a:ln w="28575">
                        <a:solidFill>
                          <a:schemeClr val="accent2"/>
                        </a:solidFill>
                      </a:ln>
                    </p:spPr>
                    <p:style>
                      <a:lnRef idx="1">
                        <a:schemeClr val="accent1"/>
                      </a:lnRef>
                      <a:fillRef idx="0">
                        <a:schemeClr val="accent1"/>
                      </a:fillRef>
                      <a:effectRef idx="0">
                        <a:schemeClr val="accent1"/>
                      </a:effectRef>
                      <a:fontRef idx="minor">
                        <a:schemeClr val="tx1"/>
                      </a:fontRef>
                    </p:style>
                    <p:txBody>
                      <a:bodyPr anchor="ctr"/>
                      <a:lstStyle/>
                      <a:p>
                        <a:pPr>
                          <a:defRPr/>
                        </a:pPr>
                        <a:endParaRPr lang="pt-BR"/>
                      </a:p>
                    </p:txBody>
                  </p:sp>
                  <p:sp>
                    <p:nvSpPr>
                      <p:cNvPr id="289" name="Freeform 288"/>
                      <p:cNvSpPr/>
                      <p:nvPr/>
                    </p:nvSpPr>
                    <p:spPr>
                      <a:xfrm>
                        <a:off x="5768970" y="5235717"/>
                        <a:ext cx="152579" cy="44061"/>
                      </a:xfrm>
                      <a:custGeom>
                        <a:avLst/>
                        <a:gdLst>
                          <a:gd name="connsiteX0" fmla="*/ 152400 w 152400"/>
                          <a:gd name="connsiteY0" fmla="*/ 0 h 45720"/>
                          <a:gd name="connsiteX1" fmla="*/ 0 w 152400"/>
                          <a:gd name="connsiteY1" fmla="*/ 45720 h 45720"/>
                        </a:gdLst>
                        <a:ahLst/>
                        <a:cxnLst>
                          <a:cxn ang="0">
                            <a:pos x="connsiteX0" y="connsiteY0"/>
                          </a:cxn>
                          <a:cxn ang="0">
                            <a:pos x="connsiteX1" y="connsiteY1"/>
                          </a:cxn>
                        </a:cxnLst>
                        <a:rect l="l" t="t" r="r" b="b"/>
                        <a:pathLst>
                          <a:path w="152400" h="45720">
                            <a:moveTo>
                              <a:pt x="152400" y="0"/>
                            </a:moveTo>
                            <a:lnTo>
                              <a:pt x="0" y="45720"/>
                            </a:lnTo>
                          </a:path>
                        </a:pathLst>
                      </a:custGeom>
                      <a:ln w="28575">
                        <a:solidFill>
                          <a:schemeClr val="accent2"/>
                        </a:solidFill>
                      </a:ln>
                    </p:spPr>
                    <p:style>
                      <a:lnRef idx="1">
                        <a:schemeClr val="accent1"/>
                      </a:lnRef>
                      <a:fillRef idx="0">
                        <a:schemeClr val="accent1"/>
                      </a:fillRef>
                      <a:effectRef idx="0">
                        <a:schemeClr val="accent1"/>
                      </a:effectRef>
                      <a:fontRef idx="minor">
                        <a:schemeClr val="tx1"/>
                      </a:fontRef>
                    </p:style>
                    <p:txBody>
                      <a:bodyPr anchor="ctr"/>
                      <a:lstStyle/>
                      <a:p>
                        <a:pPr>
                          <a:defRPr/>
                        </a:pPr>
                        <a:endParaRPr lang="pt-BR"/>
                      </a:p>
                    </p:txBody>
                  </p:sp>
                  <p:sp>
                    <p:nvSpPr>
                      <p:cNvPr id="290" name="Oval 289"/>
                      <p:cNvSpPr/>
                      <p:nvPr/>
                    </p:nvSpPr>
                    <p:spPr bwMode="auto">
                      <a:xfrm>
                        <a:off x="5889314" y="5207330"/>
                        <a:ext cx="81917" cy="76836"/>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p>
                    </p:txBody>
                  </p:sp>
                  <p:sp>
                    <p:nvSpPr>
                      <p:cNvPr id="291" name="Oval 290"/>
                      <p:cNvSpPr/>
                      <p:nvPr/>
                    </p:nvSpPr>
                    <p:spPr bwMode="auto">
                      <a:xfrm>
                        <a:off x="5738818" y="5250510"/>
                        <a:ext cx="81917" cy="76836"/>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p>
                    </p:txBody>
                  </p:sp>
                  <p:sp>
                    <p:nvSpPr>
                      <p:cNvPr id="292" name="Oval 291"/>
                      <p:cNvSpPr/>
                      <p:nvPr/>
                    </p:nvSpPr>
                    <p:spPr bwMode="auto">
                      <a:xfrm>
                        <a:off x="5292053" y="3547262"/>
                        <a:ext cx="83894" cy="80932"/>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293" name="Oval 292"/>
                      <p:cNvSpPr/>
                      <p:nvPr/>
                    </p:nvSpPr>
                    <p:spPr bwMode="auto">
                      <a:xfrm>
                        <a:off x="6051239" y="5311470"/>
                        <a:ext cx="81917" cy="76836"/>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p>
                    </p:txBody>
                  </p:sp>
                  <p:sp>
                    <p:nvSpPr>
                      <p:cNvPr id="294" name="Oval 293"/>
                      <p:cNvSpPr/>
                      <p:nvPr/>
                    </p:nvSpPr>
                    <p:spPr bwMode="auto">
                      <a:xfrm>
                        <a:off x="5396833" y="2176044"/>
                        <a:ext cx="83087" cy="81051"/>
                      </a:xfrm>
                      <a:prstGeom prst="ellipse">
                        <a:avLst/>
                      </a:prstGeom>
                      <a:solidFill>
                        <a:srgbClr val="FF0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grpSp>
                <p:sp>
                  <p:nvSpPr>
                    <p:cNvPr id="275" name="Freeform 274"/>
                    <p:cNvSpPr/>
                    <p:nvPr/>
                  </p:nvSpPr>
                  <p:spPr>
                    <a:xfrm>
                      <a:off x="4625274" y="2256943"/>
                      <a:ext cx="1975278" cy="152211"/>
                    </a:xfrm>
                    <a:custGeom>
                      <a:avLst/>
                      <a:gdLst>
                        <a:gd name="connsiteX0" fmla="*/ 0 w 2047875"/>
                        <a:gd name="connsiteY0" fmla="*/ 200025 h 200025"/>
                        <a:gd name="connsiteX1" fmla="*/ 352425 w 2047875"/>
                        <a:gd name="connsiteY1" fmla="*/ 85725 h 200025"/>
                        <a:gd name="connsiteX2" fmla="*/ 676275 w 2047875"/>
                        <a:gd name="connsiteY2" fmla="*/ 19050 h 200025"/>
                        <a:gd name="connsiteX3" fmla="*/ 1019175 w 2047875"/>
                        <a:gd name="connsiteY3" fmla="*/ 28575 h 200025"/>
                        <a:gd name="connsiteX4" fmla="*/ 1495425 w 2047875"/>
                        <a:gd name="connsiteY4" fmla="*/ 190500 h 200025"/>
                        <a:gd name="connsiteX5" fmla="*/ 1704975 w 2047875"/>
                        <a:gd name="connsiteY5" fmla="*/ 57150 h 200025"/>
                        <a:gd name="connsiteX6" fmla="*/ 2047875 w 2047875"/>
                        <a:gd name="connsiteY6" fmla="*/ 9525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47875" h="200025">
                          <a:moveTo>
                            <a:pt x="0" y="200025"/>
                          </a:moveTo>
                          <a:cubicBezTo>
                            <a:pt x="119856" y="157956"/>
                            <a:pt x="239713" y="115887"/>
                            <a:pt x="352425" y="85725"/>
                          </a:cubicBezTo>
                          <a:cubicBezTo>
                            <a:pt x="465137" y="55563"/>
                            <a:pt x="565150" y="28575"/>
                            <a:pt x="676275" y="19050"/>
                          </a:cubicBezTo>
                          <a:cubicBezTo>
                            <a:pt x="787400" y="9525"/>
                            <a:pt x="882650" y="0"/>
                            <a:pt x="1019175" y="28575"/>
                          </a:cubicBezTo>
                          <a:cubicBezTo>
                            <a:pt x="1155700" y="57150"/>
                            <a:pt x="1381125" y="185737"/>
                            <a:pt x="1495425" y="190500"/>
                          </a:cubicBezTo>
                          <a:cubicBezTo>
                            <a:pt x="1609725" y="195263"/>
                            <a:pt x="1612900" y="73025"/>
                            <a:pt x="1704975" y="57150"/>
                          </a:cubicBezTo>
                          <a:cubicBezTo>
                            <a:pt x="1797050" y="41275"/>
                            <a:pt x="1990725" y="93663"/>
                            <a:pt x="2047875" y="95250"/>
                          </a:cubicBezTo>
                        </a:path>
                      </a:pathLst>
                    </a:custGeom>
                    <a:noFill/>
                    <a:ln w="28575">
                      <a:solidFill>
                        <a:srgbClr val="FFC000"/>
                      </a:solidFill>
                    </a:ln>
                  </p:spPr>
                  <p:style>
                    <a:lnRef idx="1">
                      <a:schemeClr val="accent1"/>
                    </a:lnRef>
                    <a:fillRef idx="0">
                      <a:schemeClr val="accent1"/>
                    </a:fillRef>
                    <a:effectRef idx="0">
                      <a:schemeClr val="accent1"/>
                    </a:effectRef>
                    <a:fontRef idx="minor">
                      <a:schemeClr val="tx1"/>
                    </a:fontRef>
                  </p:style>
                  <p:txBody>
                    <a:bodyPr anchor="ctr"/>
                    <a:lstStyle/>
                    <a:p>
                      <a:pPr>
                        <a:defRPr/>
                      </a:pPr>
                      <a:endParaRPr lang="pt-BR"/>
                    </a:p>
                  </p:txBody>
                </p:sp>
                <p:sp>
                  <p:nvSpPr>
                    <p:cNvPr id="276" name="Oval 275"/>
                    <p:cNvSpPr/>
                    <p:nvPr/>
                  </p:nvSpPr>
                  <p:spPr bwMode="auto">
                    <a:xfrm>
                      <a:off x="5531905" y="2233604"/>
                      <a:ext cx="83087" cy="81051"/>
                    </a:xfrm>
                    <a:prstGeom prst="ellipse">
                      <a:avLst/>
                    </a:prstGeom>
                    <a:solidFill>
                      <a:srgbClr val="FF0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grpSp>
              <p:sp>
                <p:nvSpPr>
                  <p:cNvPr id="273" name="Freeform 272"/>
                  <p:cNvSpPr/>
                  <p:nvPr/>
                </p:nvSpPr>
                <p:spPr>
                  <a:xfrm>
                    <a:off x="7588499" y="4723814"/>
                    <a:ext cx="694852" cy="206285"/>
                  </a:xfrm>
                  <a:custGeom>
                    <a:avLst/>
                    <a:gdLst>
                      <a:gd name="connsiteX0" fmla="*/ 0 w 696036"/>
                      <a:gd name="connsiteY0" fmla="*/ 0 h 204717"/>
                      <a:gd name="connsiteX1" fmla="*/ 354842 w 696036"/>
                      <a:gd name="connsiteY1" fmla="*/ 163773 h 204717"/>
                      <a:gd name="connsiteX2" fmla="*/ 696036 w 696036"/>
                      <a:gd name="connsiteY2" fmla="*/ 204717 h 204717"/>
                    </a:gdLst>
                    <a:ahLst/>
                    <a:cxnLst>
                      <a:cxn ang="0">
                        <a:pos x="connsiteX0" y="connsiteY0"/>
                      </a:cxn>
                      <a:cxn ang="0">
                        <a:pos x="connsiteX1" y="connsiteY1"/>
                      </a:cxn>
                      <a:cxn ang="0">
                        <a:pos x="connsiteX2" y="connsiteY2"/>
                      </a:cxn>
                    </a:cxnLst>
                    <a:rect l="l" t="t" r="r" b="b"/>
                    <a:pathLst>
                      <a:path w="696036" h="204717">
                        <a:moveTo>
                          <a:pt x="0" y="0"/>
                        </a:moveTo>
                        <a:cubicBezTo>
                          <a:pt x="119418" y="64827"/>
                          <a:pt x="238836" y="129654"/>
                          <a:pt x="354842" y="163773"/>
                        </a:cubicBezTo>
                        <a:cubicBezTo>
                          <a:pt x="470848" y="197892"/>
                          <a:pt x="583442" y="201304"/>
                          <a:pt x="696036" y="204717"/>
                        </a:cubicBezTo>
                      </a:path>
                    </a:pathLst>
                  </a:custGeom>
                  <a:ln w="28575">
                    <a:solidFill>
                      <a:schemeClr val="accent2"/>
                    </a:solidFill>
                  </a:ln>
                </p:spPr>
                <p:style>
                  <a:lnRef idx="1">
                    <a:schemeClr val="accent1"/>
                  </a:lnRef>
                  <a:fillRef idx="0">
                    <a:schemeClr val="accent1"/>
                  </a:fillRef>
                  <a:effectRef idx="0">
                    <a:schemeClr val="accent1"/>
                  </a:effectRef>
                  <a:fontRef idx="minor">
                    <a:schemeClr val="tx1"/>
                  </a:fontRef>
                </p:style>
                <p:txBody>
                  <a:bodyPr anchor="ctr"/>
                  <a:lstStyle/>
                  <a:p>
                    <a:pPr>
                      <a:defRPr/>
                    </a:pPr>
                    <a:endParaRPr lang="pt-BR"/>
                  </a:p>
                </p:txBody>
              </p:sp>
            </p:grpSp>
            <p:sp>
              <p:nvSpPr>
                <p:cNvPr id="254" name="Freeform 253"/>
                <p:cNvSpPr/>
                <p:nvPr/>
              </p:nvSpPr>
              <p:spPr bwMode="auto">
                <a:xfrm>
                  <a:off x="6769461" y="2679724"/>
                  <a:ext cx="300786" cy="203200"/>
                </a:xfrm>
                <a:custGeom>
                  <a:avLst/>
                  <a:gdLst>
                    <a:gd name="connsiteX0" fmla="*/ 21386 w 300786"/>
                    <a:gd name="connsiteY0" fmla="*/ 203200 h 203200"/>
                    <a:gd name="connsiteX1" fmla="*/ 21386 w 300786"/>
                    <a:gd name="connsiteY1" fmla="*/ 57150 h 203200"/>
                    <a:gd name="connsiteX2" fmla="*/ 243636 w 300786"/>
                    <a:gd name="connsiteY2" fmla="*/ 44450 h 203200"/>
                    <a:gd name="connsiteX3" fmla="*/ 300786 w 300786"/>
                    <a:gd name="connsiteY3" fmla="*/ 0 h 203200"/>
                  </a:gdLst>
                  <a:ahLst/>
                  <a:cxnLst>
                    <a:cxn ang="0">
                      <a:pos x="connsiteX0" y="connsiteY0"/>
                    </a:cxn>
                    <a:cxn ang="0">
                      <a:pos x="connsiteX1" y="connsiteY1"/>
                    </a:cxn>
                    <a:cxn ang="0">
                      <a:pos x="connsiteX2" y="connsiteY2"/>
                    </a:cxn>
                    <a:cxn ang="0">
                      <a:pos x="connsiteX3" y="connsiteY3"/>
                    </a:cxn>
                  </a:cxnLst>
                  <a:rect l="l" t="t" r="r" b="b"/>
                  <a:pathLst>
                    <a:path w="300786" h="203200">
                      <a:moveTo>
                        <a:pt x="21386" y="203200"/>
                      </a:moveTo>
                      <a:cubicBezTo>
                        <a:pt x="2865" y="143404"/>
                        <a:pt x="-15656" y="83608"/>
                        <a:pt x="21386" y="57150"/>
                      </a:cubicBezTo>
                      <a:cubicBezTo>
                        <a:pt x="58428" y="30692"/>
                        <a:pt x="197069" y="53975"/>
                        <a:pt x="243636" y="44450"/>
                      </a:cubicBezTo>
                      <a:cubicBezTo>
                        <a:pt x="290203" y="34925"/>
                        <a:pt x="295494" y="17462"/>
                        <a:pt x="300786" y="0"/>
                      </a:cubicBezTo>
                    </a:path>
                  </a:pathLst>
                </a:custGeom>
                <a:noFill/>
                <a:ln w="38100"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pt-BR" sz="1400" b="0" i="0" u="none" strike="noStrike" cap="none" normalizeH="0" baseline="0" smtClean="0">
                    <a:ln>
                      <a:noFill/>
                    </a:ln>
                    <a:solidFill>
                      <a:schemeClr val="tx2"/>
                    </a:solidFill>
                    <a:effectLst/>
                    <a:latin typeface="Tahoma" pitchFamily="34" charset="0"/>
                  </a:endParaRPr>
                </a:p>
              </p:txBody>
            </p:sp>
            <p:sp>
              <p:nvSpPr>
                <p:cNvPr id="255" name="Freeform 254"/>
                <p:cNvSpPr/>
                <p:nvPr/>
              </p:nvSpPr>
              <p:spPr bwMode="auto">
                <a:xfrm>
                  <a:off x="7070247" y="2438424"/>
                  <a:ext cx="203200" cy="247650"/>
                </a:xfrm>
                <a:custGeom>
                  <a:avLst/>
                  <a:gdLst>
                    <a:gd name="connsiteX0" fmla="*/ 0 w 203200"/>
                    <a:gd name="connsiteY0" fmla="*/ 247650 h 247650"/>
                    <a:gd name="connsiteX1" fmla="*/ 82550 w 203200"/>
                    <a:gd name="connsiteY1" fmla="*/ 133350 h 247650"/>
                    <a:gd name="connsiteX2" fmla="*/ 203200 w 203200"/>
                    <a:gd name="connsiteY2" fmla="*/ 0 h 247650"/>
                  </a:gdLst>
                  <a:ahLst/>
                  <a:cxnLst>
                    <a:cxn ang="0">
                      <a:pos x="connsiteX0" y="connsiteY0"/>
                    </a:cxn>
                    <a:cxn ang="0">
                      <a:pos x="connsiteX1" y="connsiteY1"/>
                    </a:cxn>
                    <a:cxn ang="0">
                      <a:pos x="connsiteX2" y="connsiteY2"/>
                    </a:cxn>
                  </a:cxnLst>
                  <a:rect l="l" t="t" r="r" b="b"/>
                  <a:pathLst>
                    <a:path w="203200" h="247650">
                      <a:moveTo>
                        <a:pt x="0" y="247650"/>
                      </a:moveTo>
                      <a:cubicBezTo>
                        <a:pt x="24341" y="211137"/>
                        <a:pt x="48683" y="174625"/>
                        <a:pt x="82550" y="133350"/>
                      </a:cubicBezTo>
                      <a:cubicBezTo>
                        <a:pt x="116417" y="92075"/>
                        <a:pt x="203200" y="0"/>
                        <a:pt x="203200" y="0"/>
                      </a:cubicBezTo>
                    </a:path>
                  </a:pathLst>
                </a:custGeom>
                <a:noFill/>
                <a:ln w="38100"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pt-BR" sz="1400" b="0" i="0" u="none" strike="noStrike" cap="none" normalizeH="0" baseline="0" smtClean="0">
                    <a:ln>
                      <a:noFill/>
                    </a:ln>
                    <a:solidFill>
                      <a:schemeClr val="tx2"/>
                    </a:solidFill>
                    <a:effectLst/>
                    <a:latin typeface="Tahoma" pitchFamily="34" charset="0"/>
                  </a:endParaRPr>
                </a:p>
              </p:txBody>
            </p:sp>
            <p:sp>
              <p:nvSpPr>
                <p:cNvPr id="256" name="Freeform 255"/>
                <p:cNvSpPr/>
                <p:nvPr/>
              </p:nvSpPr>
              <p:spPr bwMode="auto">
                <a:xfrm>
                  <a:off x="7654447" y="2696497"/>
                  <a:ext cx="165100" cy="72127"/>
                </a:xfrm>
                <a:custGeom>
                  <a:avLst/>
                  <a:gdLst>
                    <a:gd name="connsiteX0" fmla="*/ 0 w 165100"/>
                    <a:gd name="connsiteY0" fmla="*/ 2277 h 72127"/>
                    <a:gd name="connsiteX1" fmla="*/ 76200 w 165100"/>
                    <a:gd name="connsiteY1" fmla="*/ 8627 h 72127"/>
                    <a:gd name="connsiteX2" fmla="*/ 165100 w 165100"/>
                    <a:gd name="connsiteY2" fmla="*/ 72127 h 72127"/>
                  </a:gdLst>
                  <a:ahLst/>
                  <a:cxnLst>
                    <a:cxn ang="0">
                      <a:pos x="connsiteX0" y="connsiteY0"/>
                    </a:cxn>
                    <a:cxn ang="0">
                      <a:pos x="connsiteX1" y="connsiteY1"/>
                    </a:cxn>
                    <a:cxn ang="0">
                      <a:pos x="connsiteX2" y="connsiteY2"/>
                    </a:cxn>
                  </a:cxnLst>
                  <a:rect l="l" t="t" r="r" b="b"/>
                  <a:pathLst>
                    <a:path w="165100" h="72127">
                      <a:moveTo>
                        <a:pt x="0" y="2277"/>
                      </a:moveTo>
                      <a:cubicBezTo>
                        <a:pt x="24341" y="-369"/>
                        <a:pt x="48683" y="-3015"/>
                        <a:pt x="76200" y="8627"/>
                      </a:cubicBezTo>
                      <a:cubicBezTo>
                        <a:pt x="103717" y="20269"/>
                        <a:pt x="134408" y="46198"/>
                        <a:pt x="165100" y="72127"/>
                      </a:cubicBezTo>
                    </a:path>
                  </a:pathLst>
                </a:custGeom>
                <a:noFill/>
                <a:ln w="38100"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pt-BR" sz="1400" b="0" i="0" u="none" strike="noStrike" cap="none" normalizeH="0" baseline="0" smtClean="0">
                    <a:ln>
                      <a:noFill/>
                    </a:ln>
                    <a:solidFill>
                      <a:schemeClr val="tx2"/>
                    </a:solidFill>
                    <a:effectLst/>
                    <a:latin typeface="Tahoma" pitchFamily="34" charset="0"/>
                  </a:endParaRPr>
                </a:p>
              </p:txBody>
            </p:sp>
            <p:sp>
              <p:nvSpPr>
                <p:cNvPr id="257" name="Freeform 256"/>
                <p:cNvSpPr/>
                <p:nvPr/>
              </p:nvSpPr>
              <p:spPr bwMode="auto">
                <a:xfrm>
                  <a:off x="7399177" y="5472454"/>
                  <a:ext cx="160020" cy="15240"/>
                </a:xfrm>
                <a:custGeom>
                  <a:avLst/>
                  <a:gdLst>
                    <a:gd name="connsiteX0" fmla="*/ 160020 w 160020"/>
                    <a:gd name="connsiteY0" fmla="*/ 0 h 15240"/>
                    <a:gd name="connsiteX1" fmla="*/ 0 w 160020"/>
                    <a:gd name="connsiteY1" fmla="*/ 15240 h 15240"/>
                  </a:gdLst>
                  <a:ahLst/>
                  <a:cxnLst>
                    <a:cxn ang="0">
                      <a:pos x="connsiteX0" y="connsiteY0"/>
                    </a:cxn>
                    <a:cxn ang="0">
                      <a:pos x="connsiteX1" y="connsiteY1"/>
                    </a:cxn>
                  </a:cxnLst>
                  <a:rect l="l" t="t" r="r" b="b"/>
                  <a:pathLst>
                    <a:path w="160020" h="15240">
                      <a:moveTo>
                        <a:pt x="160020" y="0"/>
                      </a:moveTo>
                      <a:lnTo>
                        <a:pt x="0" y="15240"/>
                      </a:lnTo>
                    </a:path>
                  </a:pathLst>
                </a:cu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pt-BR" sz="1400" b="0" i="0" u="none" strike="noStrike" cap="none" normalizeH="0" baseline="0" smtClean="0">
                    <a:ln>
                      <a:noFill/>
                    </a:ln>
                    <a:solidFill>
                      <a:schemeClr val="tx2"/>
                    </a:solidFill>
                    <a:effectLst/>
                    <a:latin typeface="Tahoma" pitchFamily="34" charset="0"/>
                  </a:endParaRPr>
                </a:p>
              </p:txBody>
            </p:sp>
            <p:sp>
              <p:nvSpPr>
                <p:cNvPr id="258" name="Freeform 257"/>
                <p:cNvSpPr/>
                <p:nvPr/>
              </p:nvSpPr>
              <p:spPr bwMode="auto">
                <a:xfrm>
                  <a:off x="7207246" y="5467562"/>
                  <a:ext cx="232275" cy="271592"/>
                </a:xfrm>
                <a:custGeom>
                  <a:avLst/>
                  <a:gdLst>
                    <a:gd name="connsiteX0" fmla="*/ 214791 w 232275"/>
                    <a:gd name="connsiteY0" fmla="*/ 65852 h 271592"/>
                    <a:gd name="connsiteX1" fmla="*/ 24291 w 232275"/>
                    <a:gd name="connsiteY1" fmla="*/ 4892 h 271592"/>
                    <a:gd name="connsiteX2" fmla="*/ 24291 w 232275"/>
                    <a:gd name="connsiteY2" fmla="*/ 180152 h 271592"/>
                    <a:gd name="connsiteX3" fmla="*/ 222411 w 232275"/>
                    <a:gd name="connsiteY3" fmla="*/ 187772 h 271592"/>
                    <a:gd name="connsiteX4" fmla="*/ 184311 w 232275"/>
                    <a:gd name="connsiteY4" fmla="*/ 271592 h 271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275" h="271592">
                      <a:moveTo>
                        <a:pt x="214791" y="65852"/>
                      </a:moveTo>
                      <a:cubicBezTo>
                        <a:pt x="135416" y="25847"/>
                        <a:pt x="56041" y="-14158"/>
                        <a:pt x="24291" y="4892"/>
                      </a:cubicBezTo>
                      <a:cubicBezTo>
                        <a:pt x="-7459" y="23942"/>
                        <a:pt x="-8729" y="149672"/>
                        <a:pt x="24291" y="180152"/>
                      </a:cubicBezTo>
                      <a:cubicBezTo>
                        <a:pt x="57311" y="210632"/>
                        <a:pt x="195741" y="172532"/>
                        <a:pt x="222411" y="187772"/>
                      </a:cubicBezTo>
                      <a:cubicBezTo>
                        <a:pt x="249081" y="203012"/>
                        <a:pt x="216696" y="237302"/>
                        <a:pt x="184311" y="271592"/>
                      </a:cubicBezTo>
                    </a:path>
                  </a:pathLst>
                </a:custGeom>
                <a:noFill/>
                <a:ln w="38100" cap="flat" cmpd="sng" algn="ctr">
                  <a:solidFill>
                    <a:schemeClr val="accent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pt-BR" sz="1400" b="0" i="0" u="none" strike="noStrike" cap="none" normalizeH="0" baseline="0" smtClean="0">
                    <a:ln>
                      <a:noFill/>
                    </a:ln>
                    <a:solidFill>
                      <a:schemeClr val="tx2"/>
                    </a:solidFill>
                    <a:effectLst/>
                    <a:latin typeface="Tahoma" pitchFamily="34" charset="0"/>
                  </a:endParaRPr>
                </a:p>
              </p:txBody>
            </p:sp>
            <p:sp>
              <p:nvSpPr>
                <p:cNvPr id="259" name="Freeform 258"/>
                <p:cNvSpPr/>
                <p:nvPr/>
              </p:nvSpPr>
              <p:spPr bwMode="auto">
                <a:xfrm>
                  <a:off x="7107402" y="5613229"/>
                  <a:ext cx="114611" cy="171168"/>
                </a:xfrm>
                <a:custGeom>
                  <a:avLst/>
                  <a:gdLst>
                    <a:gd name="connsiteX0" fmla="*/ 114611 w 114611"/>
                    <a:gd name="connsiteY0" fmla="*/ 26388 h 171168"/>
                    <a:gd name="connsiteX1" fmla="*/ 15551 w 114611"/>
                    <a:gd name="connsiteY1" fmla="*/ 11148 h 171168"/>
                    <a:gd name="connsiteX2" fmla="*/ 311 w 114611"/>
                    <a:gd name="connsiteY2" fmla="*/ 171168 h 171168"/>
                  </a:gdLst>
                  <a:ahLst/>
                  <a:cxnLst>
                    <a:cxn ang="0">
                      <a:pos x="connsiteX0" y="connsiteY0"/>
                    </a:cxn>
                    <a:cxn ang="0">
                      <a:pos x="connsiteX1" y="connsiteY1"/>
                    </a:cxn>
                    <a:cxn ang="0">
                      <a:pos x="connsiteX2" y="connsiteY2"/>
                    </a:cxn>
                  </a:cxnLst>
                  <a:rect l="l" t="t" r="r" b="b"/>
                  <a:pathLst>
                    <a:path w="114611" h="171168">
                      <a:moveTo>
                        <a:pt x="114611" y="26388"/>
                      </a:moveTo>
                      <a:cubicBezTo>
                        <a:pt x="74606" y="6703"/>
                        <a:pt x="34601" y="-12982"/>
                        <a:pt x="15551" y="11148"/>
                      </a:cubicBezTo>
                      <a:cubicBezTo>
                        <a:pt x="-3499" y="35278"/>
                        <a:pt x="311" y="144498"/>
                        <a:pt x="311" y="171168"/>
                      </a:cubicBezTo>
                    </a:path>
                  </a:pathLst>
                </a:custGeom>
                <a:noFill/>
                <a:ln w="38100" cap="flat" cmpd="sng" algn="ctr">
                  <a:solidFill>
                    <a:schemeClr val="accent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pt-BR" sz="1400" b="0" i="0" u="none" strike="noStrike" cap="none" normalizeH="0" baseline="0" smtClean="0">
                    <a:ln>
                      <a:noFill/>
                    </a:ln>
                    <a:solidFill>
                      <a:schemeClr val="tx2"/>
                    </a:solidFill>
                    <a:effectLst/>
                    <a:latin typeface="Tahoma" pitchFamily="34" charset="0"/>
                  </a:endParaRPr>
                </a:p>
              </p:txBody>
            </p:sp>
            <p:sp>
              <p:nvSpPr>
                <p:cNvPr id="260" name="Oval 259"/>
                <p:cNvSpPr/>
                <p:nvPr/>
              </p:nvSpPr>
              <p:spPr bwMode="auto">
                <a:xfrm>
                  <a:off x="7200461" y="5436899"/>
                  <a:ext cx="63070" cy="60904"/>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p>
              </p:txBody>
            </p:sp>
            <p:sp>
              <p:nvSpPr>
                <p:cNvPr id="261" name="Oval 260"/>
                <p:cNvSpPr/>
                <p:nvPr/>
              </p:nvSpPr>
              <p:spPr bwMode="auto">
                <a:xfrm>
                  <a:off x="7371926" y="5495929"/>
                  <a:ext cx="66530" cy="62634"/>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262" name="Oval 261"/>
                <p:cNvSpPr/>
                <p:nvPr/>
              </p:nvSpPr>
              <p:spPr bwMode="auto">
                <a:xfrm>
                  <a:off x="7981943" y="4776689"/>
                  <a:ext cx="63971" cy="62717"/>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263" name="Oval 262"/>
                <p:cNvSpPr/>
                <p:nvPr/>
              </p:nvSpPr>
              <p:spPr bwMode="auto">
                <a:xfrm>
                  <a:off x="7927497" y="4891285"/>
                  <a:ext cx="63971" cy="62717"/>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264" name="Oval 263"/>
                <p:cNvSpPr/>
                <p:nvPr/>
              </p:nvSpPr>
              <p:spPr bwMode="auto">
                <a:xfrm>
                  <a:off x="7831577" y="4783273"/>
                  <a:ext cx="63971" cy="62717"/>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265" name="Freeform 264"/>
                <p:cNvSpPr/>
                <p:nvPr/>
              </p:nvSpPr>
              <p:spPr bwMode="auto">
                <a:xfrm>
                  <a:off x="8595041" y="3265512"/>
                  <a:ext cx="97631" cy="19050"/>
                </a:xfrm>
                <a:custGeom>
                  <a:avLst/>
                  <a:gdLst>
                    <a:gd name="connsiteX0" fmla="*/ 0 w 97631"/>
                    <a:gd name="connsiteY0" fmla="*/ 19050 h 19050"/>
                    <a:gd name="connsiteX1" fmla="*/ 97631 w 97631"/>
                    <a:gd name="connsiteY1" fmla="*/ 0 h 19050"/>
                  </a:gdLst>
                  <a:ahLst/>
                  <a:cxnLst>
                    <a:cxn ang="0">
                      <a:pos x="connsiteX0" y="connsiteY0"/>
                    </a:cxn>
                    <a:cxn ang="0">
                      <a:pos x="connsiteX1" y="connsiteY1"/>
                    </a:cxn>
                  </a:cxnLst>
                  <a:rect l="l" t="t" r="r" b="b"/>
                  <a:pathLst>
                    <a:path w="97631" h="19050">
                      <a:moveTo>
                        <a:pt x="0" y="19050"/>
                      </a:moveTo>
                      <a:lnTo>
                        <a:pt x="97631" y="0"/>
                      </a:lnTo>
                    </a:path>
                  </a:pathLst>
                </a:custGeom>
                <a:noFill/>
                <a:ln w="38100"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pt-BR" sz="1400" b="0" i="0" u="none" strike="noStrike" cap="none" normalizeH="0" baseline="0" smtClean="0">
                    <a:ln>
                      <a:noFill/>
                    </a:ln>
                    <a:solidFill>
                      <a:schemeClr val="tx2"/>
                    </a:solidFill>
                    <a:effectLst/>
                    <a:latin typeface="Tahoma" pitchFamily="34" charset="0"/>
                  </a:endParaRPr>
                </a:p>
              </p:txBody>
            </p:sp>
            <p:sp>
              <p:nvSpPr>
                <p:cNvPr id="266" name="Freeform 265"/>
                <p:cNvSpPr/>
                <p:nvPr/>
              </p:nvSpPr>
              <p:spPr bwMode="auto">
                <a:xfrm>
                  <a:off x="6292604" y="3875413"/>
                  <a:ext cx="414825" cy="89210"/>
                </a:xfrm>
                <a:custGeom>
                  <a:avLst/>
                  <a:gdLst>
                    <a:gd name="connsiteX0" fmla="*/ 414825 w 414825"/>
                    <a:gd name="connsiteY0" fmla="*/ 89210 h 89210"/>
                    <a:gd name="connsiteX1" fmla="*/ 370220 w 414825"/>
                    <a:gd name="connsiteY1" fmla="*/ 57986 h 89210"/>
                    <a:gd name="connsiteX2" fmla="*/ 338997 w 414825"/>
                    <a:gd name="connsiteY2" fmla="*/ 44605 h 89210"/>
                    <a:gd name="connsiteX3" fmla="*/ 263169 w 414825"/>
                    <a:gd name="connsiteY3" fmla="*/ 8921 h 89210"/>
                    <a:gd name="connsiteX4" fmla="*/ 0 w 414825"/>
                    <a:gd name="connsiteY4" fmla="*/ 0 h 892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825" h="89210">
                      <a:moveTo>
                        <a:pt x="414825" y="89210"/>
                      </a:moveTo>
                      <a:cubicBezTo>
                        <a:pt x="398841" y="77315"/>
                        <a:pt x="382858" y="65420"/>
                        <a:pt x="370220" y="57986"/>
                      </a:cubicBezTo>
                      <a:cubicBezTo>
                        <a:pt x="357582" y="50552"/>
                        <a:pt x="356839" y="52782"/>
                        <a:pt x="338997" y="44605"/>
                      </a:cubicBezTo>
                      <a:cubicBezTo>
                        <a:pt x="321155" y="36427"/>
                        <a:pt x="319668" y="16355"/>
                        <a:pt x="263169" y="8921"/>
                      </a:cubicBezTo>
                      <a:cubicBezTo>
                        <a:pt x="206669" y="1487"/>
                        <a:pt x="43861" y="1487"/>
                        <a:pt x="0" y="0"/>
                      </a:cubicBezTo>
                    </a:path>
                  </a:pathLst>
                </a:custGeom>
                <a:noFill/>
                <a:ln w="38100" cap="flat" cmpd="sng" algn="ctr">
                  <a:solidFill>
                    <a:schemeClr val="accent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pt-BR" sz="1400" b="0" i="0" u="none" strike="noStrike" cap="none" normalizeH="0" baseline="0" smtClean="0">
                    <a:ln>
                      <a:noFill/>
                    </a:ln>
                    <a:solidFill>
                      <a:schemeClr val="tx2"/>
                    </a:solidFill>
                    <a:effectLst/>
                    <a:latin typeface="Tahoma" pitchFamily="34" charset="0"/>
                  </a:endParaRPr>
                </a:p>
              </p:txBody>
            </p:sp>
            <p:sp>
              <p:nvSpPr>
                <p:cNvPr id="267" name="Oval 266"/>
                <p:cNvSpPr/>
                <p:nvPr/>
              </p:nvSpPr>
              <p:spPr bwMode="auto">
                <a:xfrm>
                  <a:off x="7615553" y="3623521"/>
                  <a:ext cx="66530" cy="63757"/>
                </a:xfrm>
                <a:prstGeom prst="ellipse">
                  <a:avLst/>
                </a:prstGeom>
                <a:solidFill>
                  <a:srgbClr val="FF0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268" name="Oval 267"/>
                <p:cNvSpPr/>
                <p:nvPr/>
              </p:nvSpPr>
              <p:spPr bwMode="auto">
                <a:xfrm>
                  <a:off x="8582696" y="4165626"/>
                  <a:ext cx="64592" cy="63490"/>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269" name="Oval 268"/>
                <p:cNvSpPr/>
                <p:nvPr/>
              </p:nvSpPr>
              <p:spPr bwMode="auto">
                <a:xfrm>
                  <a:off x="7592008" y="3077859"/>
                  <a:ext cx="64592" cy="64151"/>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270" name="Oval 269"/>
                <p:cNvSpPr/>
                <p:nvPr/>
              </p:nvSpPr>
              <p:spPr bwMode="auto">
                <a:xfrm>
                  <a:off x="8242905" y="3084759"/>
                  <a:ext cx="64592" cy="64151"/>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271" name="Oval 270"/>
                <p:cNvSpPr/>
                <p:nvPr/>
              </p:nvSpPr>
              <p:spPr bwMode="auto">
                <a:xfrm>
                  <a:off x="8554110" y="3252161"/>
                  <a:ext cx="64592" cy="64151"/>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grpSp>
          <p:sp>
            <p:nvSpPr>
              <p:cNvPr id="252" name="Freeform 251"/>
              <p:cNvSpPr/>
              <p:nvPr/>
            </p:nvSpPr>
            <p:spPr>
              <a:xfrm>
                <a:off x="3818125" y="2473344"/>
                <a:ext cx="1566924" cy="2908498"/>
              </a:xfrm>
              <a:custGeom>
                <a:avLst/>
                <a:gdLst>
                  <a:gd name="connsiteX0" fmla="*/ 353683 w 1731101"/>
                  <a:gd name="connsiteY0" fmla="*/ 87660 h 2908498"/>
                  <a:gd name="connsiteX1" fmla="*/ 983411 w 1731101"/>
                  <a:gd name="connsiteY1" fmla="*/ 1396 h 2908498"/>
                  <a:gd name="connsiteX2" fmla="*/ 1544128 w 1731101"/>
                  <a:gd name="connsiteY2" fmla="*/ 70407 h 2908498"/>
                  <a:gd name="connsiteX3" fmla="*/ 1725283 w 1731101"/>
                  <a:gd name="connsiteY3" fmla="*/ 467222 h 2908498"/>
                  <a:gd name="connsiteX4" fmla="*/ 1673524 w 1731101"/>
                  <a:gd name="connsiteY4" fmla="*/ 1114203 h 2908498"/>
                  <a:gd name="connsiteX5" fmla="*/ 1544128 w 1731101"/>
                  <a:gd name="connsiteY5" fmla="*/ 1821569 h 2908498"/>
                  <a:gd name="connsiteX6" fmla="*/ 1380226 w 1731101"/>
                  <a:gd name="connsiteY6" fmla="*/ 2347781 h 2908498"/>
                  <a:gd name="connsiteX7" fmla="*/ 1061049 w 1731101"/>
                  <a:gd name="connsiteY7" fmla="*/ 2580694 h 2908498"/>
                  <a:gd name="connsiteX8" fmla="*/ 715992 w 1731101"/>
                  <a:gd name="connsiteY8" fmla="*/ 2873992 h 2908498"/>
                  <a:gd name="connsiteX9" fmla="*/ 362309 w 1731101"/>
                  <a:gd name="connsiteY9" fmla="*/ 2908498 h 2908498"/>
                  <a:gd name="connsiteX10" fmla="*/ 0 w 1731101"/>
                  <a:gd name="connsiteY10" fmla="*/ 2684211 h 2908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1101" h="2908498">
                    <a:moveTo>
                      <a:pt x="353683" y="87660"/>
                    </a:moveTo>
                    <a:cubicBezTo>
                      <a:pt x="569343" y="45965"/>
                      <a:pt x="785004" y="4271"/>
                      <a:pt x="983411" y="1396"/>
                    </a:cubicBezTo>
                    <a:cubicBezTo>
                      <a:pt x="1181818" y="-1479"/>
                      <a:pt x="1420483" y="-7231"/>
                      <a:pt x="1544128" y="70407"/>
                    </a:cubicBezTo>
                    <a:cubicBezTo>
                      <a:pt x="1667773" y="148045"/>
                      <a:pt x="1703717" y="293256"/>
                      <a:pt x="1725283" y="467222"/>
                    </a:cubicBezTo>
                    <a:cubicBezTo>
                      <a:pt x="1746849" y="641188"/>
                      <a:pt x="1703716" y="888479"/>
                      <a:pt x="1673524" y="1114203"/>
                    </a:cubicBezTo>
                    <a:cubicBezTo>
                      <a:pt x="1643332" y="1339927"/>
                      <a:pt x="1593011" y="1615973"/>
                      <a:pt x="1544128" y="1821569"/>
                    </a:cubicBezTo>
                    <a:cubicBezTo>
                      <a:pt x="1495245" y="2027165"/>
                      <a:pt x="1460739" y="2221260"/>
                      <a:pt x="1380226" y="2347781"/>
                    </a:cubicBezTo>
                    <a:cubicBezTo>
                      <a:pt x="1299713" y="2474302"/>
                      <a:pt x="1171755" y="2492992"/>
                      <a:pt x="1061049" y="2580694"/>
                    </a:cubicBezTo>
                    <a:cubicBezTo>
                      <a:pt x="950343" y="2668396"/>
                      <a:pt x="832449" y="2819358"/>
                      <a:pt x="715992" y="2873992"/>
                    </a:cubicBezTo>
                    <a:cubicBezTo>
                      <a:pt x="599535" y="2928626"/>
                      <a:pt x="481641" y="2940128"/>
                      <a:pt x="362309" y="2908498"/>
                    </a:cubicBezTo>
                    <a:cubicBezTo>
                      <a:pt x="242977" y="2876868"/>
                      <a:pt x="121488" y="2780539"/>
                      <a:pt x="0" y="2684211"/>
                    </a:cubicBezTo>
                  </a:path>
                </a:pathLst>
              </a:custGeom>
              <a:noFill/>
              <a:ln>
                <a:solidFill>
                  <a:srgbClr val="7030A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sp>
          <p:nvSpPr>
            <p:cNvPr id="452" name="Freeform 451"/>
            <p:cNvSpPr/>
            <p:nvPr/>
          </p:nvSpPr>
          <p:spPr>
            <a:xfrm>
              <a:off x="2290192" y="2256649"/>
              <a:ext cx="762000" cy="266700"/>
            </a:xfrm>
            <a:custGeom>
              <a:avLst/>
              <a:gdLst>
                <a:gd name="connsiteX0" fmla="*/ 762000 w 762000"/>
                <a:gd name="connsiteY0" fmla="*/ 0 h 266700"/>
                <a:gd name="connsiteX1" fmla="*/ 561975 w 762000"/>
                <a:gd name="connsiteY1" fmla="*/ 104775 h 266700"/>
                <a:gd name="connsiteX2" fmla="*/ 371475 w 762000"/>
                <a:gd name="connsiteY2" fmla="*/ 133350 h 266700"/>
                <a:gd name="connsiteX3" fmla="*/ 142875 w 762000"/>
                <a:gd name="connsiteY3" fmla="*/ 171450 h 266700"/>
                <a:gd name="connsiteX4" fmla="*/ 0 w 762000"/>
                <a:gd name="connsiteY4" fmla="*/ 266700 h 266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0" h="266700">
                  <a:moveTo>
                    <a:pt x="762000" y="0"/>
                  </a:moveTo>
                  <a:cubicBezTo>
                    <a:pt x="694531" y="41275"/>
                    <a:pt x="627062" y="82550"/>
                    <a:pt x="561975" y="104775"/>
                  </a:cubicBezTo>
                  <a:cubicBezTo>
                    <a:pt x="496888" y="127000"/>
                    <a:pt x="371475" y="133350"/>
                    <a:pt x="371475" y="133350"/>
                  </a:cubicBezTo>
                  <a:cubicBezTo>
                    <a:pt x="301625" y="144462"/>
                    <a:pt x="204788" y="149225"/>
                    <a:pt x="142875" y="171450"/>
                  </a:cubicBezTo>
                  <a:cubicBezTo>
                    <a:pt x="80962" y="193675"/>
                    <a:pt x="25400" y="252413"/>
                    <a:pt x="0" y="266700"/>
                  </a:cubicBezTo>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53" name="Freeform 452"/>
            <p:cNvSpPr/>
            <p:nvPr/>
          </p:nvSpPr>
          <p:spPr>
            <a:xfrm>
              <a:off x="3918967" y="3266299"/>
              <a:ext cx="247650" cy="152400"/>
            </a:xfrm>
            <a:custGeom>
              <a:avLst/>
              <a:gdLst>
                <a:gd name="connsiteX0" fmla="*/ 0 w 247650"/>
                <a:gd name="connsiteY0" fmla="*/ 0 h 152400"/>
                <a:gd name="connsiteX1" fmla="*/ 114300 w 247650"/>
                <a:gd name="connsiteY1" fmla="*/ 85725 h 152400"/>
                <a:gd name="connsiteX2" fmla="*/ 114300 w 247650"/>
                <a:gd name="connsiteY2" fmla="*/ 133350 h 152400"/>
                <a:gd name="connsiteX3" fmla="*/ 247650 w 247650"/>
                <a:gd name="connsiteY3" fmla="*/ 152400 h 152400"/>
              </a:gdLst>
              <a:ahLst/>
              <a:cxnLst>
                <a:cxn ang="0">
                  <a:pos x="connsiteX0" y="connsiteY0"/>
                </a:cxn>
                <a:cxn ang="0">
                  <a:pos x="connsiteX1" y="connsiteY1"/>
                </a:cxn>
                <a:cxn ang="0">
                  <a:pos x="connsiteX2" y="connsiteY2"/>
                </a:cxn>
                <a:cxn ang="0">
                  <a:pos x="connsiteX3" y="connsiteY3"/>
                </a:cxn>
              </a:cxnLst>
              <a:rect l="l" t="t" r="r" b="b"/>
              <a:pathLst>
                <a:path w="247650" h="152400">
                  <a:moveTo>
                    <a:pt x="0" y="0"/>
                  </a:moveTo>
                  <a:cubicBezTo>
                    <a:pt x="47625" y="31750"/>
                    <a:pt x="95250" y="63500"/>
                    <a:pt x="114300" y="85725"/>
                  </a:cubicBezTo>
                  <a:cubicBezTo>
                    <a:pt x="133350" y="107950"/>
                    <a:pt x="92075" y="122238"/>
                    <a:pt x="114300" y="133350"/>
                  </a:cubicBezTo>
                  <a:cubicBezTo>
                    <a:pt x="136525" y="144462"/>
                    <a:pt x="192087" y="148431"/>
                    <a:pt x="247650" y="152400"/>
                  </a:cubicBezTo>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54" name="Freeform 453"/>
            <p:cNvSpPr/>
            <p:nvPr/>
          </p:nvSpPr>
          <p:spPr>
            <a:xfrm>
              <a:off x="3652267" y="2837674"/>
              <a:ext cx="276225" cy="409575"/>
            </a:xfrm>
            <a:custGeom>
              <a:avLst/>
              <a:gdLst>
                <a:gd name="connsiteX0" fmla="*/ 0 w 276225"/>
                <a:gd name="connsiteY0" fmla="*/ 0 h 409575"/>
                <a:gd name="connsiteX1" fmla="*/ 28575 w 276225"/>
                <a:gd name="connsiteY1" fmla="*/ 114300 h 409575"/>
                <a:gd name="connsiteX2" fmla="*/ 133350 w 276225"/>
                <a:gd name="connsiteY2" fmla="*/ 190500 h 409575"/>
                <a:gd name="connsiteX3" fmla="*/ 133350 w 276225"/>
                <a:gd name="connsiteY3" fmla="*/ 257175 h 409575"/>
                <a:gd name="connsiteX4" fmla="*/ 190500 w 276225"/>
                <a:gd name="connsiteY4" fmla="*/ 333375 h 409575"/>
                <a:gd name="connsiteX5" fmla="*/ 247650 w 276225"/>
                <a:gd name="connsiteY5" fmla="*/ 361950 h 409575"/>
                <a:gd name="connsiteX6" fmla="*/ 276225 w 276225"/>
                <a:gd name="connsiteY6" fmla="*/ 409575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6225" h="409575">
                  <a:moveTo>
                    <a:pt x="0" y="0"/>
                  </a:moveTo>
                  <a:cubicBezTo>
                    <a:pt x="3175" y="41275"/>
                    <a:pt x="6350" y="82550"/>
                    <a:pt x="28575" y="114300"/>
                  </a:cubicBezTo>
                  <a:cubicBezTo>
                    <a:pt x="50800" y="146050"/>
                    <a:pt x="115888" y="166688"/>
                    <a:pt x="133350" y="190500"/>
                  </a:cubicBezTo>
                  <a:cubicBezTo>
                    <a:pt x="150812" y="214312"/>
                    <a:pt x="123825" y="233363"/>
                    <a:pt x="133350" y="257175"/>
                  </a:cubicBezTo>
                  <a:cubicBezTo>
                    <a:pt x="142875" y="280988"/>
                    <a:pt x="171450" y="315913"/>
                    <a:pt x="190500" y="333375"/>
                  </a:cubicBezTo>
                  <a:cubicBezTo>
                    <a:pt x="209550" y="350837"/>
                    <a:pt x="233363" y="349250"/>
                    <a:pt x="247650" y="361950"/>
                  </a:cubicBezTo>
                  <a:cubicBezTo>
                    <a:pt x="261938" y="374650"/>
                    <a:pt x="269081" y="392112"/>
                    <a:pt x="276225" y="409575"/>
                  </a:cubicBezTo>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55" name="Oval 454"/>
            <p:cNvSpPr/>
            <p:nvPr/>
          </p:nvSpPr>
          <p:spPr bwMode="auto">
            <a:xfrm>
              <a:off x="3890994" y="3215757"/>
              <a:ext cx="57209" cy="73705"/>
            </a:xfrm>
            <a:prstGeom prst="ellipse">
              <a:avLst/>
            </a:prstGeom>
            <a:solidFill>
              <a:srgbClr val="00B0F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sz="1000">
                <a:solidFill>
                  <a:srgbClr val="5F5F5F"/>
                </a:solidFill>
              </a:endParaRPr>
            </a:p>
          </p:txBody>
        </p:sp>
        <p:sp>
          <p:nvSpPr>
            <p:cNvPr id="456" name="TextBox 455"/>
            <p:cNvSpPr txBox="1"/>
            <p:nvPr/>
          </p:nvSpPr>
          <p:spPr>
            <a:xfrm>
              <a:off x="416496" y="4132000"/>
              <a:ext cx="792205" cy="276999"/>
            </a:xfrm>
            <a:prstGeom prst="rect">
              <a:avLst/>
            </a:prstGeom>
            <a:noFill/>
          </p:spPr>
          <p:txBody>
            <a:bodyPr wrap="none" rtlCol="0">
              <a:spAutoFit/>
            </a:bodyPr>
            <a:lstStyle/>
            <a:p>
              <a:r>
                <a:rPr lang="pt-BR" sz="600" dirty="0" smtClean="0"/>
                <a:t>Em negociação </a:t>
              </a:r>
            </a:p>
            <a:p>
              <a:r>
                <a:rPr lang="pt-BR" sz="600" dirty="0" smtClean="0"/>
                <a:t>com EMBRATEL</a:t>
              </a:r>
              <a:endParaRPr lang="pt-BR" sz="600" dirty="0"/>
            </a:p>
          </p:txBody>
        </p:sp>
        <p:cxnSp>
          <p:nvCxnSpPr>
            <p:cNvPr id="457" name="Straight Arrow Connector 456"/>
            <p:cNvCxnSpPr>
              <a:stCxn id="273" idx="1"/>
            </p:cNvCxnSpPr>
            <p:nvPr/>
          </p:nvCxnSpPr>
          <p:spPr>
            <a:xfrm flipV="1">
              <a:off x="3720612" y="4543375"/>
              <a:ext cx="604834" cy="21858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458" name="TextBox 457"/>
            <p:cNvSpPr txBox="1"/>
            <p:nvPr/>
          </p:nvSpPr>
          <p:spPr>
            <a:xfrm>
              <a:off x="4215041" y="4360518"/>
              <a:ext cx="768439" cy="276999"/>
            </a:xfrm>
            <a:prstGeom prst="rect">
              <a:avLst/>
            </a:prstGeom>
            <a:noFill/>
          </p:spPr>
          <p:txBody>
            <a:bodyPr wrap="square" rtlCol="0" anchor="ctr">
              <a:spAutoFit/>
            </a:bodyPr>
            <a:lstStyle/>
            <a:p>
              <a:pPr algn="ctr"/>
              <a:r>
                <a:rPr lang="pt-BR" sz="600" dirty="0" smtClean="0"/>
                <a:t>Em Negociação com </a:t>
              </a:r>
              <a:r>
                <a:rPr lang="pt-BR" sz="600" dirty="0" err="1" smtClean="0"/>
                <a:t>Telebras</a:t>
              </a:r>
              <a:r>
                <a:rPr lang="pt-BR" sz="600" dirty="0" smtClean="0"/>
                <a:t>.</a:t>
              </a:r>
              <a:endParaRPr lang="pt-BR" sz="600" dirty="0"/>
            </a:p>
          </p:txBody>
        </p:sp>
        <p:cxnSp>
          <p:nvCxnSpPr>
            <p:cNvPr id="459" name="Straight Arrow Connector 458"/>
            <p:cNvCxnSpPr>
              <a:stCxn id="454" idx="2"/>
            </p:cNvCxnSpPr>
            <p:nvPr/>
          </p:nvCxnSpPr>
          <p:spPr>
            <a:xfrm flipH="1" flipV="1">
              <a:off x="3438551" y="1929382"/>
              <a:ext cx="347066" cy="109879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60" name="Straight Arrow Connector 459"/>
            <p:cNvCxnSpPr>
              <a:stCxn id="452" idx="1"/>
            </p:cNvCxnSpPr>
            <p:nvPr/>
          </p:nvCxnSpPr>
          <p:spPr>
            <a:xfrm flipV="1">
              <a:off x="2852167" y="1929382"/>
              <a:ext cx="611688" cy="43204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461" name="TextBox 460"/>
            <p:cNvSpPr txBox="1"/>
            <p:nvPr/>
          </p:nvSpPr>
          <p:spPr>
            <a:xfrm>
              <a:off x="3147695" y="1665742"/>
              <a:ext cx="796351" cy="276999"/>
            </a:xfrm>
            <a:prstGeom prst="rect">
              <a:avLst/>
            </a:prstGeom>
            <a:noFill/>
          </p:spPr>
          <p:txBody>
            <a:bodyPr wrap="square" rtlCol="0" anchor="ctr">
              <a:spAutoFit/>
            </a:bodyPr>
            <a:lstStyle/>
            <a:p>
              <a:pPr algn="ctr"/>
              <a:r>
                <a:rPr lang="pt-BR" sz="600" dirty="0" smtClean="0"/>
                <a:t>Em Negociação com </a:t>
              </a:r>
              <a:r>
                <a:rPr lang="pt-BR" sz="600" dirty="0" err="1" smtClean="0"/>
                <a:t>Telebras</a:t>
              </a:r>
              <a:r>
                <a:rPr lang="pt-BR" sz="600" dirty="0" smtClean="0"/>
                <a:t>.</a:t>
              </a:r>
              <a:endParaRPr lang="pt-BR" sz="600" dirty="0"/>
            </a:p>
          </p:txBody>
        </p:sp>
        <p:cxnSp>
          <p:nvCxnSpPr>
            <p:cNvPr id="462" name="Straight Arrow Connector 461"/>
            <p:cNvCxnSpPr>
              <a:stCxn id="288" idx="1"/>
            </p:cNvCxnSpPr>
            <p:nvPr/>
          </p:nvCxnSpPr>
          <p:spPr>
            <a:xfrm flipH="1">
              <a:off x="2130163" y="5356463"/>
              <a:ext cx="484283" cy="8713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463" name="TextBox 462"/>
            <p:cNvSpPr txBox="1"/>
            <p:nvPr/>
          </p:nvSpPr>
          <p:spPr>
            <a:xfrm>
              <a:off x="1455027" y="5256952"/>
              <a:ext cx="768439" cy="276999"/>
            </a:xfrm>
            <a:prstGeom prst="rect">
              <a:avLst/>
            </a:prstGeom>
            <a:noFill/>
          </p:spPr>
          <p:txBody>
            <a:bodyPr wrap="square" rtlCol="0" anchor="ctr">
              <a:spAutoFit/>
            </a:bodyPr>
            <a:lstStyle/>
            <a:p>
              <a:pPr algn="ctr"/>
              <a:r>
                <a:rPr lang="pt-BR" sz="600" dirty="0" smtClean="0"/>
                <a:t>Em Negociação com COPEL.</a:t>
              </a:r>
              <a:endParaRPr lang="pt-BR" sz="600" dirty="0"/>
            </a:p>
          </p:txBody>
        </p:sp>
        <p:cxnSp>
          <p:nvCxnSpPr>
            <p:cNvPr id="464" name="Straight Arrow Connector 463"/>
            <p:cNvCxnSpPr>
              <a:stCxn id="440" idx="3"/>
            </p:cNvCxnSpPr>
            <p:nvPr/>
          </p:nvCxnSpPr>
          <p:spPr>
            <a:xfrm flipH="1">
              <a:off x="1905236" y="5027127"/>
              <a:ext cx="880692" cy="12725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465" name="TextBox 464"/>
            <p:cNvSpPr txBox="1"/>
            <p:nvPr/>
          </p:nvSpPr>
          <p:spPr>
            <a:xfrm>
              <a:off x="1261893" y="4955250"/>
              <a:ext cx="768439" cy="276999"/>
            </a:xfrm>
            <a:prstGeom prst="rect">
              <a:avLst/>
            </a:prstGeom>
            <a:noFill/>
          </p:spPr>
          <p:txBody>
            <a:bodyPr wrap="square" rtlCol="0" anchor="ctr">
              <a:spAutoFit/>
            </a:bodyPr>
            <a:lstStyle/>
            <a:p>
              <a:pPr algn="ctr"/>
              <a:r>
                <a:rPr lang="pt-BR" sz="600" dirty="0" smtClean="0"/>
                <a:t>Em Negociação com CPFL.</a:t>
              </a:r>
              <a:endParaRPr lang="pt-BR" sz="600" dirty="0"/>
            </a:p>
          </p:txBody>
        </p:sp>
        <p:sp>
          <p:nvSpPr>
            <p:cNvPr id="466" name="TextBox 465"/>
            <p:cNvSpPr txBox="1"/>
            <p:nvPr/>
          </p:nvSpPr>
          <p:spPr>
            <a:xfrm>
              <a:off x="1336865" y="5688176"/>
              <a:ext cx="768439" cy="276999"/>
            </a:xfrm>
            <a:prstGeom prst="rect">
              <a:avLst/>
            </a:prstGeom>
            <a:noFill/>
          </p:spPr>
          <p:txBody>
            <a:bodyPr wrap="square" rtlCol="0" anchor="ctr">
              <a:spAutoFit/>
            </a:bodyPr>
            <a:lstStyle/>
            <a:p>
              <a:pPr algn="ctr"/>
              <a:r>
                <a:rPr lang="pt-BR" sz="600" dirty="0" smtClean="0"/>
                <a:t>SWAP Fechado com VIVO.</a:t>
              </a:r>
              <a:endParaRPr lang="pt-BR" sz="600" dirty="0"/>
            </a:p>
          </p:txBody>
        </p:sp>
        <p:cxnSp>
          <p:nvCxnSpPr>
            <p:cNvPr id="467" name="Straight Arrow Connector 466"/>
            <p:cNvCxnSpPr>
              <a:stCxn id="259" idx="1"/>
            </p:cNvCxnSpPr>
            <p:nvPr/>
          </p:nvCxnSpPr>
          <p:spPr>
            <a:xfrm flipH="1">
              <a:off x="1998624" y="5831626"/>
              <a:ext cx="582506" cy="7912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68" name="Straight Arrow Connector 467"/>
            <p:cNvCxnSpPr>
              <a:stCxn id="252" idx="8"/>
            </p:cNvCxnSpPr>
            <p:nvPr/>
          </p:nvCxnSpPr>
          <p:spPr>
            <a:xfrm flipH="1">
              <a:off x="4302841" y="5338098"/>
              <a:ext cx="91370" cy="35019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469" name="TextBox 468"/>
            <p:cNvSpPr txBox="1"/>
            <p:nvPr/>
          </p:nvSpPr>
          <p:spPr>
            <a:xfrm>
              <a:off x="3728864" y="5648786"/>
              <a:ext cx="1166235" cy="369332"/>
            </a:xfrm>
            <a:prstGeom prst="rect">
              <a:avLst/>
            </a:prstGeom>
            <a:noFill/>
          </p:spPr>
          <p:txBody>
            <a:bodyPr wrap="square" rtlCol="0" anchor="ctr">
              <a:spAutoFit/>
            </a:bodyPr>
            <a:lstStyle/>
            <a:p>
              <a:pPr algn="ctr"/>
              <a:r>
                <a:rPr lang="pt-BR" sz="600" dirty="0" smtClean="0"/>
                <a:t>SWAP Capacidade Submarina (10Gbps) em Negociação</a:t>
              </a:r>
              <a:endParaRPr lang="pt-BR" sz="600" dirty="0"/>
            </a:p>
          </p:txBody>
        </p:sp>
        <p:cxnSp>
          <p:nvCxnSpPr>
            <p:cNvPr id="480" name="Straight Arrow Connector 479"/>
            <p:cNvCxnSpPr>
              <a:stCxn id="282" idx="6"/>
            </p:cNvCxnSpPr>
            <p:nvPr/>
          </p:nvCxnSpPr>
          <p:spPr>
            <a:xfrm flipH="1">
              <a:off x="776543" y="3208278"/>
              <a:ext cx="602816" cy="93151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81" name="Straight Arrow Connector 480"/>
            <p:cNvCxnSpPr>
              <a:stCxn id="281" idx="11"/>
            </p:cNvCxnSpPr>
            <p:nvPr/>
          </p:nvCxnSpPr>
          <p:spPr>
            <a:xfrm flipH="1">
              <a:off x="776543" y="3672197"/>
              <a:ext cx="837724" cy="46759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grpSp>
      <p:graphicFrame>
        <p:nvGraphicFramePr>
          <p:cNvPr id="482" name="Table 481"/>
          <p:cNvGraphicFramePr>
            <a:graphicFrameLocks noGrp="1"/>
          </p:cNvGraphicFramePr>
          <p:nvPr>
            <p:extLst>
              <p:ext uri="{D42A27DB-BD31-4B8C-83A1-F6EECF244321}">
                <p14:modId xmlns="" xmlns:p14="http://schemas.microsoft.com/office/powerpoint/2010/main" val="1281017455"/>
              </p:ext>
            </p:extLst>
          </p:nvPr>
        </p:nvGraphicFramePr>
        <p:xfrm>
          <a:off x="5889104" y="1284770"/>
          <a:ext cx="3309863" cy="5384590"/>
        </p:xfrm>
        <a:graphic>
          <a:graphicData uri="http://schemas.openxmlformats.org/drawingml/2006/table">
            <a:tbl>
              <a:tblPr>
                <a:tableStyleId>{5C22544A-7EE6-4342-B048-85BDC9FD1C3A}</a:tableStyleId>
              </a:tblPr>
              <a:tblGrid>
                <a:gridCol w="818933"/>
                <a:gridCol w="415155"/>
                <a:gridCol w="415155"/>
                <a:gridCol w="415155"/>
                <a:gridCol w="415155"/>
                <a:gridCol w="415155"/>
                <a:gridCol w="415155"/>
              </a:tblGrid>
              <a:tr h="140524">
                <a:tc gridSpan="7">
                  <a:txBody>
                    <a:bodyPr/>
                    <a:lstStyle/>
                    <a:p>
                      <a:pPr algn="ctr" fontAlgn="b"/>
                      <a:r>
                        <a:rPr lang="pt-BR" sz="700" u="none" strike="noStrike" dirty="0">
                          <a:solidFill>
                            <a:schemeClr val="bg1"/>
                          </a:solidFill>
                          <a:effectLst/>
                          <a:latin typeface="Calibri" pitchFamily="34" charset="0"/>
                          <a:cs typeface="Calibri" pitchFamily="34" charset="0"/>
                        </a:rPr>
                        <a:t>EVOLUÇÃO </a:t>
                      </a:r>
                      <a:r>
                        <a:rPr lang="pt-BR" sz="700" u="none" strike="noStrike" dirty="0" smtClean="0">
                          <a:solidFill>
                            <a:schemeClr val="bg1"/>
                          </a:solidFill>
                          <a:effectLst/>
                          <a:latin typeface="Calibri" pitchFamily="34" charset="0"/>
                          <a:cs typeface="Calibri" pitchFamily="34" charset="0"/>
                        </a:rPr>
                        <a:t>PARA </a:t>
                      </a:r>
                      <a:r>
                        <a:rPr lang="pt-BR" sz="700" u="none" strike="noStrike" dirty="0">
                          <a:solidFill>
                            <a:schemeClr val="bg1"/>
                          </a:solidFill>
                          <a:effectLst/>
                          <a:latin typeface="Calibri" pitchFamily="34" charset="0"/>
                          <a:cs typeface="Calibri" pitchFamily="34" charset="0"/>
                        </a:rPr>
                        <a:t>REDE </a:t>
                      </a:r>
                      <a:r>
                        <a:rPr lang="pt-BR" sz="700" u="none" strike="noStrike" dirty="0" smtClean="0">
                          <a:solidFill>
                            <a:schemeClr val="bg1"/>
                          </a:solidFill>
                          <a:effectLst/>
                          <a:latin typeface="Calibri" pitchFamily="34" charset="0"/>
                          <a:cs typeface="Calibri" pitchFamily="34" charset="0"/>
                        </a:rPr>
                        <a:t>PRÓPRIA E DA REDE PRÓPRIA</a:t>
                      </a:r>
                      <a:endParaRPr lang="pt-BR" sz="700" b="1" i="0" u="none" strike="noStrike" dirty="0">
                        <a:solidFill>
                          <a:schemeClr val="bg1"/>
                        </a:solidFill>
                        <a:effectLst/>
                        <a:latin typeface="Calibri" pitchFamily="34" charset="0"/>
                        <a:cs typeface="Calibri" pitchFamily="34" charset="0"/>
                      </a:endParaRPr>
                    </a:p>
                  </a:txBody>
                  <a:tcPr marL="6175" marR="6175" marT="6175" marB="0" anchor="ctr">
                    <a:solidFill>
                      <a:schemeClr val="accent1"/>
                    </a:solidFill>
                  </a:tcPr>
                </a:tc>
                <a:tc hMerge="1">
                  <a:txBody>
                    <a:bodyPr/>
                    <a:lstStyle/>
                    <a:p>
                      <a:endParaRPr lang="pt-BR"/>
                    </a:p>
                  </a:txBody>
                  <a:tcPr/>
                </a:tc>
                <a:tc hMerge="1">
                  <a:txBody>
                    <a:bodyPr/>
                    <a:lstStyle/>
                    <a:p>
                      <a:endParaRPr lang="pt-BR"/>
                    </a:p>
                  </a:txBody>
                  <a:tcPr/>
                </a:tc>
                <a:tc hMerge="1">
                  <a:txBody>
                    <a:bodyPr/>
                    <a:lstStyle/>
                    <a:p>
                      <a:endParaRPr lang="pt-BR"/>
                    </a:p>
                  </a:txBody>
                  <a:tcPr/>
                </a:tc>
                <a:tc hMerge="1">
                  <a:txBody>
                    <a:bodyPr/>
                    <a:lstStyle/>
                    <a:p>
                      <a:endParaRPr lang="pt-BR"/>
                    </a:p>
                  </a:txBody>
                  <a:tcPr/>
                </a:tc>
                <a:tc hMerge="1">
                  <a:txBody>
                    <a:bodyPr/>
                    <a:lstStyle/>
                    <a:p>
                      <a:endParaRPr lang="pt-BR"/>
                    </a:p>
                  </a:txBody>
                  <a:tcPr/>
                </a:tc>
                <a:tc hMerge="1">
                  <a:txBody>
                    <a:bodyPr/>
                    <a:lstStyle/>
                    <a:p>
                      <a:pPr algn="ctr" fontAlgn="b"/>
                      <a:endParaRPr lang="pt-BR" sz="700" b="1" i="0" u="none" strike="noStrike" dirty="0">
                        <a:solidFill>
                          <a:schemeClr val="bg1"/>
                        </a:solidFill>
                        <a:effectLst/>
                        <a:latin typeface="Calibri"/>
                      </a:endParaRPr>
                    </a:p>
                  </a:txBody>
                  <a:tcPr marL="6175" marR="6175" marT="6175" marB="0" anchor="ctr">
                    <a:solidFill>
                      <a:schemeClr val="accent1"/>
                    </a:solidFill>
                  </a:tcPr>
                </a:tc>
              </a:tr>
              <a:tr h="140524">
                <a:tc>
                  <a:txBody>
                    <a:bodyPr/>
                    <a:lstStyle/>
                    <a:p>
                      <a:pPr algn="ctr" fontAlgn="b"/>
                      <a:r>
                        <a:rPr lang="pt-BR" sz="700" u="none" strike="noStrike">
                          <a:solidFill>
                            <a:schemeClr val="bg1"/>
                          </a:solidFill>
                          <a:effectLst/>
                          <a:latin typeface="Calibri" pitchFamily="34" charset="0"/>
                          <a:cs typeface="Calibri" pitchFamily="34" charset="0"/>
                        </a:rPr>
                        <a:t>CIDADES</a:t>
                      </a:r>
                      <a:endParaRPr lang="pt-BR" sz="700" b="1" i="0" u="none" strike="noStrike">
                        <a:solidFill>
                          <a:schemeClr val="bg1"/>
                        </a:solidFill>
                        <a:effectLst/>
                        <a:latin typeface="Calibri" pitchFamily="34" charset="0"/>
                        <a:cs typeface="Calibri" pitchFamily="34" charset="0"/>
                      </a:endParaRPr>
                    </a:p>
                  </a:txBody>
                  <a:tcPr marL="6175" marR="6175" marT="6175" marB="0" anchor="ctr">
                    <a:solidFill>
                      <a:schemeClr val="accent1"/>
                    </a:solidFill>
                  </a:tcPr>
                </a:tc>
                <a:tc>
                  <a:txBody>
                    <a:bodyPr/>
                    <a:lstStyle/>
                    <a:p>
                      <a:pPr algn="ctr" fontAlgn="b"/>
                      <a:r>
                        <a:rPr lang="pt-BR" sz="700" b="1" i="0" u="none" strike="noStrike" dirty="0" smtClean="0">
                          <a:solidFill>
                            <a:schemeClr val="bg1"/>
                          </a:solidFill>
                          <a:effectLst/>
                          <a:latin typeface="Calibri" pitchFamily="34" charset="0"/>
                          <a:cs typeface="Calibri" pitchFamily="34" charset="0"/>
                        </a:rPr>
                        <a:t>L.L</a:t>
                      </a:r>
                      <a:endParaRPr lang="pt-BR" sz="700" b="1" i="0" u="none" strike="noStrike" dirty="0">
                        <a:solidFill>
                          <a:schemeClr val="bg1"/>
                        </a:solidFill>
                        <a:effectLst/>
                        <a:latin typeface="Calibri" pitchFamily="34" charset="0"/>
                        <a:cs typeface="Calibri" pitchFamily="34" charset="0"/>
                      </a:endParaRPr>
                    </a:p>
                  </a:txBody>
                  <a:tcPr marL="6175" marR="6175" marT="6175" marB="0" anchor="ctr">
                    <a:solidFill>
                      <a:schemeClr val="accent1"/>
                    </a:solidFill>
                  </a:tcPr>
                </a:tc>
                <a:tc>
                  <a:txBody>
                    <a:bodyPr/>
                    <a:lstStyle/>
                    <a:p>
                      <a:pPr algn="ctr" fontAlgn="b"/>
                      <a:r>
                        <a:rPr lang="pt-BR" sz="700" u="none" strike="noStrike" dirty="0">
                          <a:solidFill>
                            <a:schemeClr val="bg1"/>
                          </a:solidFill>
                          <a:effectLst/>
                          <a:latin typeface="Calibri" pitchFamily="34" charset="0"/>
                          <a:cs typeface="Calibri" pitchFamily="34" charset="0"/>
                        </a:rPr>
                        <a:t>1 VIA</a:t>
                      </a:r>
                      <a:endParaRPr lang="pt-BR" sz="700" b="1" i="0" u="none" strike="noStrike" dirty="0">
                        <a:solidFill>
                          <a:schemeClr val="bg1"/>
                        </a:solidFill>
                        <a:effectLst/>
                        <a:latin typeface="Calibri" pitchFamily="34" charset="0"/>
                        <a:cs typeface="Calibri" pitchFamily="34" charset="0"/>
                      </a:endParaRPr>
                    </a:p>
                  </a:txBody>
                  <a:tcPr marL="6175" marR="6175" marT="6175" marB="0" anchor="ctr">
                    <a:solidFill>
                      <a:schemeClr val="accent1"/>
                    </a:solidFill>
                  </a:tcPr>
                </a:tc>
                <a:tc>
                  <a:txBody>
                    <a:bodyPr/>
                    <a:lstStyle/>
                    <a:p>
                      <a:pPr algn="ctr" fontAlgn="b"/>
                      <a:r>
                        <a:rPr lang="pt-BR" sz="700" u="none" strike="noStrike" dirty="0">
                          <a:solidFill>
                            <a:schemeClr val="bg1"/>
                          </a:solidFill>
                          <a:effectLst/>
                          <a:latin typeface="Calibri" pitchFamily="34" charset="0"/>
                          <a:cs typeface="Calibri" pitchFamily="34" charset="0"/>
                        </a:rPr>
                        <a:t>2 VIAS</a:t>
                      </a:r>
                      <a:endParaRPr lang="pt-BR" sz="700" b="1" i="0" u="none" strike="noStrike" dirty="0">
                        <a:solidFill>
                          <a:schemeClr val="bg1"/>
                        </a:solidFill>
                        <a:effectLst/>
                        <a:latin typeface="Calibri" pitchFamily="34" charset="0"/>
                        <a:cs typeface="Calibri" pitchFamily="34" charset="0"/>
                      </a:endParaRPr>
                    </a:p>
                  </a:txBody>
                  <a:tcPr marL="6175" marR="6175" marT="6175" marB="0" anchor="ctr">
                    <a:solidFill>
                      <a:schemeClr val="accent1"/>
                    </a:solidFill>
                  </a:tcPr>
                </a:tc>
                <a:tc>
                  <a:txBody>
                    <a:bodyPr/>
                    <a:lstStyle/>
                    <a:p>
                      <a:pPr algn="ctr" fontAlgn="b"/>
                      <a:r>
                        <a:rPr lang="pt-BR" sz="700" u="none" strike="noStrike" dirty="0">
                          <a:solidFill>
                            <a:schemeClr val="bg1"/>
                          </a:solidFill>
                          <a:effectLst/>
                          <a:latin typeface="Calibri" pitchFamily="34" charset="0"/>
                          <a:cs typeface="Calibri" pitchFamily="34" charset="0"/>
                        </a:rPr>
                        <a:t>3 VIAS</a:t>
                      </a:r>
                      <a:endParaRPr lang="pt-BR" sz="700" b="1" i="0" u="none" strike="noStrike" dirty="0">
                        <a:solidFill>
                          <a:schemeClr val="bg1"/>
                        </a:solidFill>
                        <a:effectLst/>
                        <a:latin typeface="Calibri" pitchFamily="34" charset="0"/>
                        <a:cs typeface="Calibri" pitchFamily="34" charset="0"/>
                      </a:endParaRPr>
                    </a:p>
                  </a:txBody>
                  <a:tcPr marL="6175" marR="6175" marT="6175" marB="0" anchor="ctr">
                    <a:solidFill>
                      <a:schemeClr val="accent1"/>
                    </a:solidFill>
                  </a:tcPr>
                </a:tc>
                <a:tc>
                  <a:txBody>
                    <a:bodyPr/>
                    <a:lstStyle/>
                    <a:p>
                      <a:pPr algn="ctr" fontAlgn="b"/>
                      <a:r>
                        <a:rPr lang="pt-BR" sz="700" u="none" strike="noStrike" dirty="0">
                          <a:solidFill>
                            <a:schemeClr val="bg1"/>
                          </a:solidFill>
                          <a:effectLst/>
                          <a:latin typeface="Calibri" pitchFamily="34" charset="0"/>
                          <a:cs typeface="Calibri" pitchFamily="34" charset="0"/>
                        </a:rPr>
                        <a:t>4 VIAS</a:t>
                      </a:r>
                      <a:endParaRPr lang="pt-BR" sz="700" b="1" i="0" u="none" strike="noStrike" dirty="0">
                        <a:solidFill>
                          <a:schemeClr val="bg1"/>
                        </a:solidFill>
                        <a:effectLst/>
                        <a:latin typeface="Calibri" pitchFamily="34" charset="0"/>
                        <a:cs typeface="Calibri" pitchFamily="34" charset="0"/>
                      </a:endParaRPr>
                    </a:p>
                  </a:txBody>
                  <a:tcPr marL="6175" marR="6175" marT="6175" marB="0" anchor="ctr">
                    <a:solidFill>
                      <a:schemeClr val="accent1"/>
                    </a:solidFill>
                  </a:tcPr>
                </a:tc>
                <a:tc>
                  <a:txBody>
                    <a:bodyPr/>
                    <a:lstStyle/>
                    <a:p>
                      <a:pPr algn="ctr" fontAlgn="b"/>
                      <a:r>
                        <a:rPr lang="pt-BR" sz="700" b="1" i="0" u="none" strike="noStrike" dirty="0" smtClean="0">
                          <a:solidFill>
                            <a:schemeClr val="bg1"/>
                          </a:solidFill>
                          <a:effectLst/>
                          <a:latin typeface="Calibri" pitchFamily="34" charset="0"/>
                          <a:cs typeface="Calibri" pitchFamily="34" charset="0"/>
                        </a:rPr>
                        <a:t>5 VIAS</a:t>
                      </a:r>
                      <a:endParaRPr lang="pt-BR" sz="700" b="1" i="0" u="none" strike="noStrike" dirty="0">
                        <a:solidFill>
                          <a:schemeClr val="bg1"/>
                        </a:solidFill>
                        <a:effectLst/>
                        <a:latin typeface="Calibri" pitchFamily="34" charset="0"/>
                        <a:cs typeface="Calibri" pitchFamily="34" charset="0"/>
                      </a:endParaRPr>
                    </a:p>
                  </a:txBody>
                  <a:tcPr marL="6175" marR="6175" marT="6175" marB="0" anchor="ctr">
                    <a:solidFill>
                      <a:schemeClr val="accent1"/>
                    </a:solidFill>
                  </a:tcPr>
                </a:tc>
              </a:tr>
              <a:tr h="166073">
                <a:tc>
                  <a:txBody>
                    <a:bodyPr/>
                    <a:lstStyle/>
                    <a:p>
                      <a:pPr algn="l" fontAlgn="ctr"/>
                      <a:r>
                        <a:rPr lang="pt-BR" sz="700" u="none" strike="noStrike" dirty="0">
                          <a:effectLst/>
                        </a:rPr>
                        <a:t>Manaus</a:t>
                      </a:r>
                      <a:endParaRPr lang="pt-BR" sz="700" b="0" i="0" u="none" strike="noStrike" dirty="0">
                        <a:solidFill>
                          <a:srgbClr val="000000"/>
                        </a:solidFill>
                        <a:effectLst/>
                        <a:latin typeface="Calibri"/>
                      </a:endParaRPr>
                    </a:p>
                  </a:txBody>
                  <a:tcPr marL="6175" marR="6175" marT="6175" marB="0" anchor="ctr">
                    <a:lnB w="12700" cap="flat" cmpd="sng" algn="ctr">
                      <a:solidFill>
                        <a:schemeClr val="accent5">
                          <a:lumMod val="60000"/>
                          <a:lumOff val="40000"/>
                        </a:schemeClr>
                      </a:solidFill>
                      <a:prstDash val="solid"/>
                      <a:round/>
                      <a:headEnd type="none" w="med" len="med"/>
                      <a:tailEnd type="none" w="med" len="med"/>
                    </a:lnB>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pt-BR" sz="900" b="0" i="0" u="none" strike="noStrike" dirty="0" smtClean="0">
                        <a:solidFill>
                          <a:schemeClr val="bg1">
                            <a:lumMod val="85000"/>
                          </a:schemeClr>
                        </a:solidFill>
                        <a:effectLst/>
                        <a:latin typeface="Webdings" pitchFamily="18" charset="2"/>
                      </a:endParaRPr>
                    </a:p>
                  </a:txBody>
                  <a:tcPr marL="6175" marR="6175" marT="6175" marB="0" anchor="ctr">
                    <a:lnB w="12700" cap="flat" cmpd="sng" algn="ctr">
                      <a:solidFill>
                        <a:schemeClr val="accent5">
                          <a:lumMod val="60000"/>
                          <a:lumOff val="40000"/>
                        </a:schemeClr>
                      </a:solidFill>
                      <a:prstDash val="solid"/>
                      <a:round/>
                      <a:headEnd type="none" w="med" len="med"/>
                      <a:tailEnd type="none" w="med" len="med"/>
                    </a:lnB>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pt-BR" sz="900" u="none" strike="noStrike" dirty="0" smtClean="0">
                          <a:solidFill>
                            <a:schemeClr val="bg1">
                              <a:lumMod val="75000"/>
                            </a:schemeClr>
                          </a:solidFill>
                          <a:effectLst/>
                          <a:latin typeface="Webdings" pitchFamily="18" charset="2"/>
                        </a:rPr>
                        <a:t>a</a:t>
                      </a:r>
                      <a:endParaRPr lang="pt-BR" sz="900" b="0" i="0" u="none" strike="noStrike" dirty="0" smtClean="0">
                        <a:solidFill>
                          <a:schemeClr val="bg1">
                            <a:lumMod val="75000"/>
                          </a:schemeClr>
                        </a:solidFill>
                        <a:effectLst/>
                        <a:latin typeface="Webdings" pitchFamily="18" charset="2"/>
                      </a:endParaRPr>
                    </a:p>
                  </a:txBody>
                  <a:tcPr marL="6175" marR="6175" marT="6175" marB="0" anchor="ctr">
                    <a:lnB w="12700" cap="flat" cmpd="sng" algn="ctr">
                      <a:solidFill>
                        <a:schemeClr val="accent5">
                          <a:lumMod val="60000"/>
                          <a:lumOff val="40000"/>
                        </a:schemeClr>
                      </a:solidFill>
                      <a:prstDash val="solid"/>
                      <a:round/>
                      <a:headEnd type="none" w="med" len="med"/>
                      <a:tailEnd type="none" w="med" len="med"/>
                    </a:lnB>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pt-BR" sz="900" u="none" strike="noStrike" dirty="0" smtClean="0">
                          <a:solidFill>
                            <a:srgbClr val="00B050"/>
                          </a:solidFill>
                          <a:effectLst/>
                          <a:latin typeface="Webdings" pitchFamily="18" charset="2"/>
                        </a:rPr>
                        <a:t>a</a:t>
                      </a:r>
                      <a:endParaRPr lang="pt-BR" sz="900" b="0" i="0" u="none" strike="noStrike" dirty="0" smtClean="0">
                        <a:solidFill>
                          <a:srgbClr val="00B050"/>
                        </a:solidFill>
                        <a:effectLst/>
                        <a:latin typeface="Webdings" pitchFamily="18" charset="2"/>
                      </a:endParaRPr>
                    </a:p>
                  </a:txBody>
                  <a:tcPr marL="6175" marR="6175" marT="6175" marB="0" anchor="ctr">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a:solidFill>
                          <a:srgbClr val="00B050"/>
                        </a:solidFill>
                        <a:effectLst/>
                        <a:latin typeface="Webdings" pitchFamily="18" charset="2"/>
                      </a:endParaRPr>
                    </a:p>
                  </a:txBody>
                  <a:tcPr marL="6175" marR="6175" marT="6175" marB="0" anchor="ctr">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a:solidFill>
                          <a:srgbClr val="00B050"/>
                        </a:solidFill>
                        <a:effectLst/>
                        <a:latin typeface="Webdings" pitchFamily="18" charset="2"/>
                      </a:endParaRPr>
                    </a:p>
                  </a:txBody>
                  <a:tcPr marL="6175" marR="6175" marT="6175" marB="0" anchor="ctr">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a:solidFill>
                          <a:srgbClr val="00B050"/>
                        </a:solidFill>
                        <a:effectLst/>
                        <a:latin typeface="Webdings" pitchFamily="18" charset="2"/>
                      </a:endParaRPr>
                    </a:p>
                  </a:txBody>
                  <a:tcPr marL="6175" marR="6175" marT="6175" marB="0" anchor="ctr">
                    <a:lnB w="12700" cap="flat" cmpd="sng" algn="ctr">
                      <a:solidFill>
                        <a:schemeClr val="accent5">
                          <a:lumMod val="60000"/>
                          <a:lumOff val="40000"/>
                        </a:schemeClr>
                      </a:solidFill>
                      <a:prstDash val="solid"/>
                      <a:round/>
                      <a:headEnd type="none" w="med" len="med"/>
                      <a:tailEnd type="none" w="med" len="med"/>
                    </a:lnB>
                    <a:noFill/>
                  </a:tcPr>
                </a:tc>
              </a:tr>
              <a:tr h="172460">
                <a:tc>
                  <a:txBody>
                    <a:bodyPr/>
                    <a:lstStyle/>
                    <a:p>
                      <a:pPr algn="l" fontAlgn="ctr"/>
                      <a:r>
                        <a:rPr lang="pt-BR" sz="700" u="none" strike="noStrike" dirty="0">
                          <a:effectLst/>
                        </a:rPr>
                        <a:t>Macapá</a:t>
                      </a:r>
                      <a:endParaRPr lang="pt-BR" sz="700" b="0" i="0" u="none" strike="noStrike" dirty="0">
                        <a:solidFill>
                          <a:srgbClr val="000000"/>
                        </a:solidFill>
                        <a:effectLst/>
                        <a:latin typeface="Calibri"/>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pt-BR" sz="900" b="0" i="0" u="none" strike="noStrike" dirty="0" smtClean="0">
                        <a:solidFill>
                          <a:schemeClr val="bg1">
                            <a:lumMod val="85000"/>
                          </a:schemeClr>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pt-BR" sz="900" u="none" strike="noStrike" dirty="0" smtClean="0">
                          <a:solidFill>
                            <a:srgbClr val="00B050"/>
                          </a:solidFill>
                          <a:effectLst/>
                          <a:latin typeface="Webdings" pitchFamily="18" charset="2"/>
                        </a:rPr>
                        <a:t>a</a:t>
                      </a:r>
                      <a:endParaRPr lang="pt-BR" sz="900" b="0" i="0" u="none" strike="noStrike" dirty="0" smtClean="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pt-BR" sz="900" b="0" i="0" u="none" strike="noStrike" dirty="0" smtClean="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r>
              <a:tr h="204397">
                <a:tc>
                  <a:txBody>
                    <a:bodyPr/>
                    <a:lstStyle/>
                    <a:p>
                      <a:pPr algn="l" fontAlgn="ctr"/>
                      <a:r>
                        <a:rPr lang="pt-BR" sz="700" u="none" strike="noStrike" dirty="0" err="1">
                          <a:effectLst/>
                        </a:rPr>
                        <a:t>Belem</a:t>
                      </a:r>
                      <a:endParaRPr lang="pt-BR" sz="700" b="0" i="0" u="none" strike="noStrike" dirty="0">
                        <a:solidFill>
                          <a:srgbClr val="000000"/>
                        </a:solidFill>
                        <a:effectLst/>
                        <a:latin typeface="Calibri"/>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pt-BR" sz="900" b="0" i="0" u="none" strike="noStrike" dirty="0" smtClean="0">
                        <a:solidFill>
                          <a:schemeClr val="bg1">
                            <a:lumMod val="85000"/>
                          </a:schemeClr>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pt-BR" sz="900" b="0" i="0" u="none" strike="noStrike" dirty="0" smtClean="0">
                        <a:solidFill>
                          <a:schemeClr val="bg1">
                            <a:lumMod val="85000"/>
                          </a:schemeClr>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pt-BR" sz="900" u="none" strike="noStrike" dirty="0" smtClean="0">
                          <a:solidFill>
                            <a:schemeClr val="bg1">
                              <a:lumMod val="75000"/>
                            </a:schemeClr>
                          </a:solidFill>
                          <a:effectLst/>
                          <a:latin typeface="Webdings" pitchFamily="18" charset="2"/>
                        </a:rPr>
                        <a:t>a</a:t>
                      </a:r>
                      <a:endParaRPr lang="pt-BR" sz="900" b="0" i="0" u="none" strike="noStrike" dirty="0" smtClean="0">
                        <a:solidFill>
                          <a:schemeClr val="bg1">
                            <a:lumMod val="75000"/>
                          </a:schemeClr>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pt-BR" sz="900" u="none" strike="noStrike" dirty="0" smtClean="0">
                          <a:solidFill>
                            <a:srgbClr val="00B050"/>
                          </a:solidFill>
                          <a:effectLst/>
                          <a:latin typeface="Webdings" pitchFamily="18" charset="2"/>
                        </a:rPr>
                        <a:t>a</a:t>
                      </a:r>
                      <a:endParaRPr lang="pt-BR" sz="900" b="0" i="0" u="none" strike="noStrike" dirty="0" smtClean="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r>
              <a:tr h="204397">
                <a:tc>
                  <a:txBody>
                    <a:bodyPr/>
                    <a:lstStyle/>
                    <a:p>
                      <a:pPr algn="l" fontAlgn="ctr"/>
                      <a:r>
                        <a:rPr lang="pt-BR" sz="700" u="none" strike="noStrike" dirty="0" smtClean="0">
                          <a:effectLst/>
                        </a:rPr>
                        <a:t>Curitiba</a:t>
                      </a:r>
                      <a:endParaRPr lang="pt-BR" sz="700" b="0" i="0" u="none" strike="noStrike" dirty="0">
                        <a:solidFill>
                          <a:srgbClr val="000000"/>
                        </a:solidFill>
                        <a:effectLst/>
                        <a:latin typeface="Calibri"/>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pt-BR" sz="900" b="0" i="0" u="none" strike="noStrike" dirty="0" smtClean="0">
                        <a:solidFill>
                          <a:schemeClr val="bg1">
                            <a:lumMod val="85000"/>
                          </a:schemeClr>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pt-BR" sz="900" b="0" i="0" u="none" strike="noStrike" dirty="0" smtClean="0">
                        <a:solidFill>
                          <a:schemeClr val="bg1">
                            <a:lumMod val="85000"/>
                          </a:schemeClr>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pt-BR" sz="900" u="none" strike="noStrike" dirty="0" smtClean="0">
                          <a:solidFill>
                            <a:schemeClr val="bg1">
                              <a:lumMod val="75000"/>
                            </a:schemeClr>
                          </a:solidFill>
                          <a:effectLst/>
                          <a:latin typeface="Webdings" pitchFamily="18" charset="2"/>
                        </a:rPr>
                        <a:t>a</a:t>
                      </a:r>
                      <a:endParaRPr lang="pt-BR" sz="900" b="0" i="0" u="none" strike="noStrike" dirty="0" smtClean="0">
                        <a:solidFill>
                          <a:schemeClr val="bg1">
                            <a:lumMod val="75000"/>
                          </a:schemeClr>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pt-BR" sz="900" u="none" strike="noStrike" dirty="0" smtClean="0">
                          <a:solidFill>
                            <a:srgbClr val="00B050"/>
                          </a:solidFill>
                          <a:effectLst/>
                          <a:latin typeface="Webdings" pitchFamily="18" charset="2"/>
                        </a:rPr>
                        <a:t>a</a:t>
                      </a:r>
                      <a:endParaRPr lang="pt-BR" sz="900" b="0" i="0" u="none" strike="noStrike" dirty="0" smtClean="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r>
              <a:tr h="204397">
                <a:tc>
                  <a:txBody>
                    <a:bodyPr/>
                    <a:lstStyle/>
                    <a:p>
                      <a:pPr algn="l" fontAlgn="ctr"/>
                      <a:r>
                        <a:rPr lang="pt-BR" sz="700" u="none" strike="noStrike">
                          <a:effectLst/>
                        </a:rPr>
                        <a:t>Porto Alegre</a:t>
                      </a:r>
                      <a:endParaRPr lang="pt-BR" sz="700" b="0" i="0" u="none" strike="noStrike">
                        <a:solidFill>
                          <a:srgbClr val="000000"/>
                        </a:solidFill>
                        <a:effectLst/>
                        <a:latin typeface="Calibri"/>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pt-BR" sz="900" b="0" i="0" u="none" strike="noStrike" dirty="0" smtClean="0">
                        <a:solidFill>
                          <a:schemeClr val="bg1">
                            <a:lumMod val="85000"/>
                          </a:schemeClr>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pt-BR" sz="900" b="0" i="0" u="none" strike="noStrike" dirty="0" smtClean="0">
                        <a:solidFill>
                          <a:schemeClr val="bg1">
                            <a:lumMod val="85000"/>
                          </a:schemeClr>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pt-BR" sz="900" u="none" strike="noStrike" dirty="0" smtClean="0">
                          <a:solidFill>
                            <a:schemeClr val="bg1">
                              <a:lumMod val="75000"/>
                            </a:schemeClr>
                          </a:solidFill>
                          <a:effectLst/>
                          <a:latin typeface="Webdings" pitchFamily="18" charset="2"/>
                        </a:rPr>
                        <a:t>a</a:t>
                      </a:r>
                      <a:endParaRPr lang="pt-BR" sz="900" b="0" i="0" u="none" strike="noStrike" dirty="0" smtClean="0">
                        <a:solidFill>
                          <a:schemeClr val="bg1">
                            <a:lumMod val="75000"/>
                          </a:schemeClr>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pt-BR" sz="800" u="none" strike="noStrike" dirty="0" smtClean="0">
                          <a:solidFill>
                            <a:srgbClr val="00B050"/>
                          </a:solidFill>
                          <a:effectLst/>
                          <a:latin typeface="Webdings" pitchFamily="18" charset="2"/>
                        </a:rPr>
                        <a:t>a</a:t>
                      </a:r>
                      <a:endParaRPr lang="pt-BR" sz="800" b="0" i="0" u="none" strike="noStrike" dirty="0" smtClean="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l" fontAlgn="b"/>
                      <a:endParaRPr lang="pt-BR" sz="7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l" fontAlgn="b"/>
                      <a:endParaRPr lang="pt-BR" sz="7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r>
              <a:tr h="204397">
                <a:tc>
                  <a:txBody>
                    <a:bodyPr/>
                    <a:lstStyle/>
                    <a:p>
                      <a:pPr algn="l" fontAlgn="ctr"/>
                      <a:r>
                        <a:rPr lang="pt-BR" sz="700" u="none" strike="noStrike">
                          <a:effectLst/>
                        </a:rPr>
                        <a:t>Natal</a:t>
                      </a:r>
                      <a:endParaRPr lang="pt-BR" sz="700" b="0" i="0" u="none" strike="noStrike">
                        <a:solidFill>
                          <a:srgbClr val="000000"/>
                        </a:solidFill>
                        <a:effectLst/>
                        <a:latin typeface="Calibri"/>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r>
                        <a:rPr lang="pt-BR" sz="900" u="none" strike="noStrike" dirty="0">
                          <a:solidFill>
                            <a:srgbClr val="00B050"/>
                          </a:solidFill>
                          <a:effectLst/>
                          <a:latin typeface="Webdings" pitchFamily="18" charset="2"/>
                        </a:rPr>
                        <a:t>a</a:t>
                      </a:r>
                      <a:endParaRPr lang="pt-BR" sz="9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r>
              <a:tr h="204397">
                <a:tc>
                  <a:txBody>
                    <a:bodyPr/>
                    <a:lstStyle/>
                    <a:p>
                      <a:pPr algn="l" fontAlgn="ctr"/>
                      <a:r>
                        <a:rPr lang="pt-BR" sz="700" u="none" strike="noStrike">
                          <a:effectLst/>
                        </a:rPr>
                        <a:t>João Pessoa</a:t>
                      </a:r>
                      <a:endParaRPr lang="pt-BR" sz="700" b="0" i="0" u="none" strike="noStrike">
                        <a:solidFill>
                          <a:srgbClr val="000000"/>
                        </a:solidFill>
                        <a:effectLst/>
                        <a:latin typeface="Calibri"/>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r>
                        <a:rPr lang="pt-BR" sz="900" u="none" strike="noStrike" dirty="0">
                          <a:solidFill>
                            <a:srgbClr val="00B050"/>
                          </a:solidFill>
                          <a:effectLst/>
                          <a:latin typeface="Webdings" pitchFamily="18" charset="2"/>
                        </a:rPr>
                        <a:t>a</a:t>
                      </a:r>
                      <a:endParaRPr lang="pt-BR" sz="9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r>
              <a:tr h="204397">
                <a:tc>
                  <a:txBody>
                    <a:bodyPr/>
                    <a:lstStyle/>
                    <a:p>
                      <a:pPr algn="l" fontAlgn="ctr"/>
                      <a:r>
                        <a:rPr lang="pt-BR" sz="700" u="none" strike="noStrike">
                          <a:effectLst/>
                        </a:rPr>
                        <a:t>Recife</a:t>
                      </a:r>
                      <a:endParaRPr lang="pt-BR" sz="700" b="0" i="0" u="none" strike="noStrike">
                        <a:solidFill>
                          <a:srgbClr val="000000"/>
                        </a:solidFill>
                        <a:effectLst/>
                        <a:latin typeface="Calibri"/>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l" fontAlgn="ctr"/>
                      <a:endParaRPr lang="pt-BR" sz="7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l" fontAlgn="ctr"/>
                      <a:endParaRPr lang="pt-BR" sz="700" b="0" i="0" u="none" strike="noStrike">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r>
                        <a:rPr lang="pt-BR" sz="900" u="none" strike="noStrike" dirty="0">
                          <a:solidFill>
                            <a:schemeClr val="bg1">
                              <a:lumMod val="75000"/>
                            </a:schemeClr>
                          </a:solidFill>
                          <a:effectLst/>
                          <a:latin typeface="Webdings" pitchFamily="18" charset="2"/>
                        </a:rPr>
                        <a:t>a</a:t>
                      </a:r>
                      <a:endParaRPr lang="pt-BR" sz="900" b="0" i="0" u="none" strike="noStrike" dirty="0">
                        <a:solidFill>
                          <a:schemeClr val="bg1">
                            <a:lumMod val="75000"/>
                          </a:schemeClr>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pt-BR" sz="800" u="none" strike="noStrike" dirty="0" smtClean="0">
                          <a:solidFill>
                            <a:srgbClr val="00B050"/>
                          </a:solidFill>
                          <a:effectLst/>
                          <a:latin typeface="Webdings" pitchFamily="18" charset="2"/>
                        </a:rPr>
                        <a:t>a</a:t>
                      </a:r>
                      <a:endParaRPr lang="pt-BR" sz="800" b="0" i="0" u="none" strike="noStrike" dirty="0" smtClean="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r>
              <a:tr h="204397">
                <a:tc>
                  <a:txBody>
                    <a:bodyPr/>
                    <a:lstStyle/>
                    <a:p>
                      <a:pPr algn="l" fontAlgn="ctr"/>
                      <a:r>
                        <a:rPr lang="pt-BR" sz="700" u="none" strike="noStrike">
                          <a:effectLst/>
                        </a:rPr>
                        <a:t>Salvador</a:t>
                      </a:r>
                      <a:endParaRPr lang="pt-BR" sz="700" b="0" i="0" u="none" strike="noStrike">
                        <a:solidFill>
                          <a:srgbClr val="000000"/>
                        </a:solidFill>
                        <a:effectLst/>
                        <a:latin typeface="Calibri"/>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l" fontAlgn="ctr"/>
                      <a:endParaRPr lang="pt-BR" sz="700" b="0" i="0" u="none" strike="noStrike">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l" fontAlgn="ctr"/>
                      <a:endParaRPr lang="pt-BR" sz="7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dirty="0">
                        <a:solidFill>
                          <a:schemeClr val="bg1">
                            <a:lumMod val="85000"/>
                          </a:schemeClr>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pt-BR" sz="900" u="none" strike="noStrike" dirty="0" smtClean="0">
                          <a:solidFill>
                            <a:srgbClr val="00B050"/>
                          </a:solidFill>
                          <a:effectLst/>
                          <a:latin typeface="Webdings" pitchFamily="18" charset="2"/>
                        </a:rPr>
                        <a:t>a</a:t>
                      </a:r>
                      <a:endParaRPr lang="pt-BR" sz="900" b="0" i="0" u="none" strike="noStrike" dirty="0" smtClean="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r>
              <a:tr h="204397">
                <a:tc>
                  <a:txBody>
                    <a:bodyPr/>
                    <a:lstStyle/>
                    <a:p>
                      <a:pPr algn="l" fontAlgn="ctr"/>
                      <a:r>
                        <a:rPr lang="pt-BR" sz="700" u="none" strike="noStrike">
                          <a:effectLst/>
                        </a:rPr>
                        <a:t>Aracaju</a:t>
                      </a:r>
                      <a:endParaRPr lang="pt-BR" sz="700" b="0" i="0" u="none" strike="noStrike">
                        <a:solidFill>
                          <a:srgbClr val="000000"/>
                        </a:solidFill>
                        <a:effectLst/>
                        <a:latin typeface="Calibri"/>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l" fontAlgn="ctr"/>
                      <a:endParaRPr lang="pt-BR" sz="700" b="0" i="0" u="none" strike="noStrike">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l" fontAlgn="ctr"/>
                      <a:endParaRPr lang="pt-BR" sz="7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r>
                        <a:rPr lang="pt-BR" sz="900" u="none" strike="noStrike" dirty="0">
                          <a:solidFill>
                            <a:srgbClr val="00B050"/>
                          </a:solidFill>
                          <a:effectLst/>
                          <a:latin typeface="Webdings" pitchFamily="18" charset="2"/>
                        </a:rPr>
                        <a:t>a</a:t>
                      </a:r>
                      <a:endParaRPr lang="pt-BR" sz="9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r>
              <a:tr h="204397">
                <a:tc>
                  <a:txBody>
                    <a:bodyPr/>
                    <a:lstStyle/>
                    <a:p>
                      <a:pPr algn="l" fontAlgn="ctr"/>
                      <a:r>
                        <a:rPr lang="pt-BR" sz="700" u="none" strike="noStrike" dirty="0">
                          <a:effectLst/>
                        </a:rPr>
                        <a:t>Maceió</a:t>
                      </a:r>
                      <a:endParaRPr lang="pt-BR" sz="700" b="0" i="0" u="none" strike="noStrike" dirty="0">
                        <a:solidFill>
                          <a:srgbClr val="000000"/>
                        </a:solidFill>
                        <a:effectLst/>
                        <a:latin typeface="Calibri"/>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l" fontAlgn="ctr"/>
                      <a:endParaRPr lang="pt-BR" sz="700" b="0" i="0" u="none" strike="noStrike">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l" fontAlgn="ctr"/>
                      <a:endParaRPr lang="pt-BR" sz="7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r>
                        <a:rPr lang="pt-BR" sz="900" u="none" strike="noStrike" dirty="0">
                          <a:solidFill>
                            <a:srgbClr val="00B050"/>
                          </a:solidFill>
                          <a:effectLst/>
                          <a:latin typeface="Webdings" pitchFamily="18" charset="2"/>
                        </a:rPr>
                        <a:t>a</a:t>
                      </a:r>
                      <a:endParaRPr lang="pt-BR" sz="9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r>
              <a:tr h="204397">
                <a:tc>
                  <a:txBody>
                    <a:bodyPr/>
                    <a:lstStyle/>
                    <a:p>
                      <a:pPr algn="l" fontAlgn="ctr"/>
                      <a:r>
                        <a:rPr lang="pt-BR" sz="700" u="none" strike="noStrike" dirty="0">
                          <a:effectLst/>
                        </a:rPr>
                        <a:t>Goiânia</a:t>
                      </a:r>
                      <a:endParaRPr lang="pt-BR" sz="700" b="0" i="0" u="none" strike="noStrike" dirty="0">
                        <a:solidFill>
                          <a:srgbClr val="000000"/>
                        </a:solidFill>
                        <a:effectLst/>
                        <a:latin typeface="Calibri"/>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l" fontAlgn="ctr"/>
                      <a:endParaRPr lang="pt-BR" sz="700" b="0" i="0" u="none" strike="noStrike">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l" fontAlgn="ctr"/>
                      <a:endParaRPr lang="pt-BR" sz="7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dirty="0">
                        <a:solidFill>
                          <a:schemeClr val="bg1">
                            <a:lumMod val="85000"/>
                          </a:schemeClr>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pt-BR" sz="900" u="none" strike="noStrike" dirty="0" smtClean="0">
                          <a:solidFill>
                            <a:srgbClr val="00B050"/>
                          </a:solidFill>
                          <a:effectLst/>
                          <a:latin typeface="Webdings" pitchFamily="18" charset="2"/>
                        </a:rPr>
                        <a:t>a</a:t>
                      </a:r>
                      <a:endParaRPr lang="pt-BR" sz="900" b="0" i="0" u="none" strike="noStrike" dirty="0" smtClean="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r>
              <a:tr h="204397">
                <a:tc>
                  <a:txBody>
                    <a:bodyPr/>
                    <a:lstStyle/>
                    <a:p>
                      <a:pPr algn="l" fontAlgn="ctr"/>
                      <a:r>
                        <a:rPr lang="pt-BR" sz="700" u="none" strike="noStrike" dirty="0">
                          <a:effectLst/>
                        </a:rPr>
                        <a:t>Florianópolis</a:t>
                      </a:r>
                      <a:endParaRPr lang="pt-BR" sz="700" b="0" i="0" u="none" strike="noStrike" dirty="0">
                        <a:solidFill>
                          <a:srgbClr val="000000"/>
                        </a:solidFill>
                        <a:effectLst/>
                        <a:latin typeface="Calibri"/>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l" fontAlgn="ctr"/>
                      <a:endParaRPr lang="pt-BR" sz="700" b="0" i="0" u="none" strike="noStrike">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l" fontAlgn="ctr"/>
                      <a:endParaRPr lang="pt-BR" sz="700" b="0" i="0" u="none" strike="noStrike">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r>
                        <a:rPr lang="pt-BR" sz="900" u="none" strike="noStrike" dirty="0">
                          <a:solidFill>
                            <a:srgbClr val="00B050"/>
                          </a:solidFill>
                          <a:effectLst/>
                          <a:latin typeface="Webdings" pitchFamily="18" charset="2"/>
                        </a:rPr>
                        <a:t>a</a:t>
                      </a:r>
                      <a:endParaRPr lang="pt-BR" sz="9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r>
              <a:tr h="204397">
                <a:tc>
                  <a:txBody>
                    <a:bodyPr/>
                    <a:lstStyle/>
                    <a:p>
                      <a:pPr algn="l" fontAlgn="ctr"/>
                      <a:r>
                        <a:rPr lang="pt-BR" sz="700" u="none" strike="noStrike" dirty="0" smtClean="0">
                          <a:effectLst/>
                        </a:rPr>
                        <a:t>Brasília</a:t>
                      </a:r>
                      <a:endParaRPr lang="pt-BR" sz="700" b="0" i="0" u="none" strike="noStrike" dirty="0">
                        <a:solidFill>
                          <a:srgbClr val="000000"/>
                        </a:solidFill>
                        <a:effectLst/>
                        <a:latin typeface="Calibri"/>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l" fontAlgn="ctr"/>
                      <a:endParaRPr lang="pt-BR" sz="700" b="0" i="0" u="none" strike="noStrike">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l" fontAlgn="ctr"/>
                      <a:endParaRPr lang="pt-BR" sz="700" b="0" i="0" u="none" strike="noStrike">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dirty="0">
                        <a:solidFill>
                          <a:schemeClr val="bg1">
                            <a:lumMod val="85000"/>
                          </a:schemeClr>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pt-BR" sz="900" u="none" strike="noStrike" dirty="0" smtClean="0">
                          <a:solidFill>
                            <a:srgbClr val="00B050"/>
                          </a:solidFill>
                          <a:effectLst/>
                          <a:latin typeface="Webdings" pitchFamily="18" charset="2"/>
                        </a:rPr>
                        <a:t>a</a:t>
                      </a:r>
                      <a:endParaRPr lang="pt-BR" sz="900" b="0" i="0" u="none" strike="noStrike" dirty="0" smtClean="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r>
              <a:tr h="204397">
                <a:tc>
                  <a:txBody>
                    <a:bodyPr/>
                    <a:lstStyle/>
                    <a:p>
                      <a:pPr algn="l" fontAlgn="ctr"/>
                      <a:r>
                        <a:rPr lang="pt-BR" sz="700" u="none" strike="noStrike">
                          <a:effectLst/>
                        </a:rPr>
                        <a:t>Belo Horizonte</a:t>
                      </a:r>
                      <a:endParaRPr lang="pt-BR" sz="700" b="0" i="0" u="none" strike="noStrike">
                        <a:solidFill>
                          <a:srgbClr val="000000"/>
                        </a:solidFill>
                        <a:effectLst/>
                        <a:latin typeface="Calibri"/>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l" fontAlgn="b"/>
                      <a:endParaRPr lang="pt-BR" sz="700" b="0" i="0" u="none" strike="noStrike">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l" fontAlgn="b"/>
                      <a:endParaRPr lang="pt-BR" sz="700" b="0" i="0" u="none" strike="noStrike">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l" fontAlgn="b"/>
                      <a:endParaRPr lang="pt-BR" sz="7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dirty="0">
                        <a:solidFill>
                          <a:schemeClr val="bg1">
                            <a:lumMod val="85000"/>
                          </a:schemeClr>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r>
                        <a:rPr lang="pt-BR" sz="900" u="none" strike="noStrike" dirty="0">
                          <a:solidFill>
                            <a:schemeClr val="bg1">
                              <a:lumMod val="75000"/>
                            </a:schemeClr>
                          </a:solidFill>
                          <a:effectLst/>
                          <a:latin typeface="Webdings" pitchFamily="18" charset="2"/>
                        </a:rPr>
                        <a:t>a</a:t>
                      </a:r>
                      <a:endParaRPr lang="pt-BR" sz="900" b="0" i="0" u="none" strike="noStrike" dirty="0">
                        <a:solidFill>
                          <a:schemeClr val="bg1">
                            <a:lumMod val="75000"/>
                          </a:schemeClr>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pt-BR" sz="900" u="none" strike="noStrike" dirty="0" smtClean="0">
                          <a:solidFill>
                            <a:srgbClr val="00B050"/>
                          </a:solidFill>
                          <a:effectLst/>
                          <a:latin typeface="Webdings" pitchFamily="18" charset="2"/>
                        </a:rPr>
                        <a:t>a</a:t>
                      </a:r>
                      <a:endParaRPr lang="pt-BR" sz="900" b="0" i="0" u="none" strike="noStrike" dirty="0" smtClean="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r>
              <a:tr h="204397">
                <a:tc>
                  <a:txBody>
                    <a:bodyPr/>
                    <a:lstStyle/>
                    <a:p>
                      <a:pPr algn="l" fontAlgn="ctr"/>
                      <a:r>
                        <a:rPr lang="pt-BR" sz="700" u="none" strike="noStrike" dirty="0">
                          <a:effectLst/>
                        </a:rPr>
                        <a:t>Rio de Janeiro</a:t>
                      </a:r>
                      <a:endParaRPr lang="pt-BR" sz="700" b="0" i="0" u="none" strike="noStrike" dirty="0">
                        <a:solidFill>
                          <a:srgbClr val="000000"/>
                        </a:solidFill>
                        <a:effectLst/>
                        <a:latin typeface="Calibri"/>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l" fontAlgn="ctr"/>
                      <a:endParaRPr lang="pt-BR" sz="700" b="0" i="0" u="none" strike="noStrike">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l" fontAlgn="ctr"/>
                      <a:endParaRPr lang="pt-BR" sz="700" b="0" i="0" u="none" strike="noStrike">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dirty="0">
                        <a:solidFill>
                          <a:schemeClr val="bg1">
                            <a:lumMod val="85000"/>
                          </a:schemeClr>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r>
                        <a:rPr lang="pt-BR" sz="900" u="none" strike="noStrike" dirty="0">
                          <a:solidFill>
                            <a:srgbClr val="00B050"/>
                          </a:solidFill>
                          <a:effectLst/>
                          <a:latin typeface="Webdings" pitchFamily="18" charset="2"/>
                        </a:rPr>
                        <a:t>a</a:t>
                      </a:r>
                      <a:endParaRPr lang="pt-BR" sz="9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r>
              <a:tr h="204397">
                <a:tc>
                  <a:txBody>
                    <a:bodyPr/>
                    <a:lstStyle/>
                    <a:p>
                      <a:pPr marL="0" algn="l" defTabSz="914400" rtl="0" eaLnBrk="1" fontAlgn="ctr" latinLnBrk="0" hangingPunct="1"/>
                      <a:r>
                        <a:rPr lang="pt-BR" sz="700" u="none" strike="noStrike" kern="1200" dirty="0" smtClean="0">
                          <a:solidFill>
                            <a:schemeClr val="dk1"/>
                          </a:solidFill>
                          <a:effectLst/>
                          <a:latin typeface="+mn-lt"/>
                          <a:ea typeface="+mn-ea"/>
                          <a:cs typeface="+mn-cs"/>
                        </a:rPr>
                        <a:t>São Paulo</a:t>
                      </a:r>
                      <a:endParaRPr lang="pt-BR" sz="700" u="none" strike="noStrike" kern="1200" dirty="0">
                        <a:solidFill>
                          <a:schemeClr val="dk1"/>
                        </a:solidFill>
                        <a:effectLst/>
                        <a:latin typeface="+mn-lt"/>
                        <a:ea typeface="+mn-ea"/>
                        <a:cs typeface="+mn-cs"/>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l" fontAlgn="ctr"/>
                      <a:endParaRPr lang="pt-BR" sz="700" b="0" i="0" u="none" strike="noStrike">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l" fontAlgn="ctr"/>
                      <a:endParaRPr lang="pt-BR" sz="700" b="0" i="0" u="none" strike="noStrike">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dirty="0">
                        <a:solidFill>
                          <a:schemeClr val="bg1">
                            <a:lumMod val="85000"/>
                          </a:schemeClr>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pt-BR" sz="900" u="none" strike="noStrike" dirty="0" smtClean="0">
                          <a:solidFill>
                            <a:srgbClr val="00B050"/>
                          </a:solidFill>
                          <a:effectLst/>
                          <a:latin typeface="Webdings" pitchFamily="18" charset="2"/>
                        </a:rPr>
                        <a:t>a</a:t>
                      </a:r>
                      <a:endParaRPr lang="pt-BR" sz="900" b="0" i="0" u="none" strike="noStrike" dirty="0" smtClean="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pt-BR" sz="900" b="0" i="0" u="none" strike="noStrike" dirty="0" smtClean="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r>
              <a:tr h="204397">
                <a:tc>
                  <a:txBody>
                    <a:bodyPr/>
                    <a:lstStyle/>
                    <a:p>
                      <a:pPr algn="l" fontAlgn="ctr"/>
                      <a:r>
                        <a:rPr lang="pt-BR" sz="700" u="none" strike="noStrike">
                          <a:effectLst/>
                        </a:rPr>
                        <a:t>Fortaleza</a:t>
                      </a:r>
                      <a:endParaRPr lang="pt-BR" sz="700" b="0" i="0" u="none" strike="noStrike">
                        <a:solidFill>
                          <a:srgbClr val="000000"/>
                        </a:solidFill>
                        <a:effectLst/>
                        <a:latin typeface="Calibri"/>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l" fontAlgn="ctr"/>
                      <a:endParaRPr lang="pt-BR" sz="700" b="0" i="0" u="none" strike="noStrike">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l" fontAlgn="ctr"/>
                      <a:endParaRPr lang="pt-BR" sz="700" b="0" i="0" u="none" strike="noStrike">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dirty="0">
                        <a:solidFill>
                          <a:schemeClr val="bg1">
                            <a:lumMod val="85000"/>
                          </a:schemeClr>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r>
                        <a:rPr lang="pt-BR" sz="900" u="none" strike="noStrike" dirty="0">
                          <a:solidFill>
                            <a:srgbClr val="00B050"/>
                          </a:solidFill>
                          <a:effectLst/>
                          <a:latin typeface="Webdings" pitchFamily="18" charset="2"/>
                        </a:rPr>
                        <a:t>a</a:t>
                      </a:r>
                      <a:endParaRPr lang="pt-BR" sz="9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r>
              <a:tr h="166073">
                <a:tc>
                  <a:txBody>
                    <a:bodyPr/>
                    <a:lstStyle/>
                    <a:p>
                      <a:pPr algn="l" fontAlgn="ctr"/>
                      <a:r>
                        <a:rPr lang="pt-BR" sz="700" u="none" strike="noStrike">
                          <a:effectLst/>
                        </a:rPr>
                        <a:t>São Luiz</a:t>
                      </a:r>
                      <a:endParaRPr lang="pt-BR" sz="700" b="0" i="0" u="none" strike="noStrike">
                        <a:solidFill>
                          <a:srgbClr val="000000"/>
                        </a:solidFill>
                        <a:effectLst/>
                        <a:latin typeface="Calibri"/>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dirty="0">
                        <a:solidFill>
                          <a:schemeClr val="bg1">
                            <a:lumMod val="85000"/>
                          </a:schemeClr>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pt-BR" sz="900" u="none" strike="noStrike" dirty="0" smtClean="0">
                          <a:solidFill>
                            <a:srgbClr val="00B050"/>
                          </a:solidFill>
                          <a:effectLst/>
                          <a:latin typeface="Webdings" pitchFamily="18" charset="2"/>
                        </a:rPr>
                        <a:t>a</a:t>
                      </a:r>
                      <a:endParaRPr lang="pt-BR" sz="900" b="0" i="0" u="none" strike="noStrike" dirty="0" smtClean="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r>
              <a:tr h="166073">
                <a:tc>
                  <a:txBody>
                    <a:bodyPr/>
                    <a:lstStyle/>
                    <a:p>
                      <a:pPr algn="l" fontAlgn="ctr"/>
                      <a:r>
                        <a:rPr lang="pt-BR" sz="700" u="none" strike="noStrike">
                          <a:effectLst/>
                        </a:rPr>
                        <a:t>Teresina</a:t>
                      </a:r>
                      <a:endParaRPr lang="pt-BR" sz="700" b="0" i="0" u="none" strike="noStrike">
                        <a:solidFill>
                          <a:srgbClr val="000000"/>
                        </a:solidFill>
                        <a:effectLst/>
                        <a:latin typeface="Calibri"/>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pt-BR" sz="800" b="0" i="0" u="none" strike="noStrike" dirty="0" smtClean="0">
                        <a:solidFill>
                          <a:schemeClr val="bg1">
                            <a:lumMod val="85000"/>
                          </a:schemeClr>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pt-BR" sz="800" b="0" i="0" u="none" strike="noStrike" dirty="0" smtClean="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pt-BR" sz="800" u="none" strike="noStrike" dirty="0" smtClean="0">
                          <a:solidFill>
                            <a:schemeClr val="bg1">
                              <a:lumMod val="75000"/>
                            </a:schemeClr>
                          </a:solidFill>
                          <a:effectLst/>
                          <a:latin typeface="Webdings" pitchFamily="18" charset="2"/>
                        </a:rPr>
                        <a:t>a</a:t>
                      </a:r>
                      <a:endParaRPr lang="pt-BR" sz="800" b="0" i="0" u="none" strike="noStrike" dirty="0" smtClean="0">
                        <a:solidFill>
                          <a:schemeClr val="bg1">
                            <a:lumMod val="75000"/>
                          </a:schemeClr>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pt-BR" sz="900" u="none" strike="noStrike" dirty="0" smtClean="0">
                          <a:solidFill>
                            <a:srgbClr val="00B050"/>
                          </a:solidFill>
                          <a:effectLst/>
                          <a:latin typeface="Webdings" pitchFamily="18" charset="2"/>
                        </a:rPr>
                        <a:t>a</a:t>
                      </a:r>
                      <a:endParaRPr lang="pt-BR" sz="900" b="0" i="0" u="none" strike="noStrike" dirty="0" smtClean="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r>
              <a:tr h="166073">
                <a:tc>
                  <a:txBody>
                    <a:bodyPr/>
                    <a:lstStyle/>
                    <a:p>
                      <a:pPr algn="l" fontAlgn="ctr"/>
                      <a:r>
                        <a:rPr lang="pt-BR" sz="700" u="none" strike="noStrike">
                          <a:effectLst/>
                        </a:rPr>
                        <a:t>Palmas</a:t>
                      </a:r>
                      <a:endParaRPr lang="pt-BR" sz="700" b="0" i="0" u="none" strike="noStrike">
                        <a:solidFill>
                          <a:srgbClr val="000000"/>
                        </a:solidFill>
                        <a:effectLst/>
                        <a:latin typeface="Calibri"/>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pt-BR" sz="800" b="0" i="0" u="none" strike="noStrike" dirty="0" smtClean="0">
                        <a:solidFill>
                          <a:schemeClr val="bg1">
                            <a:lumMod val="85000"/>
                          </a:schemeClr>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l" fontAlgn="ctr"/>
                      <a:endParaRPr lang="pt-BR" sz="700" b="0" i="0" u="none" strike="noStrike">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pt-BR" sz="900" u="none" strike="noStrike" dirty="0" smtClean="0">
                          <a:solidFill>
                            <a:srgbClr val="00B050"/>
                          </a:solidFill>
                          <a:effectLst/>
                          <a:latin typeface="Webdings" pitchFamily="18" charset="2"/>
                        </a:rPr>
                        <a:t>a</a:t>
                      </a:r>
                      <a:endParaRPr lang="pt-BR" sz="900" b="0" i="0" u="none" strike="noStrike" dirty="0" smtClean="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r>
              <a:tr h="166073">
                <a:tc>
                  <a:txBody>
                    <a:bodyPr/>
                    <a:lstStyle/>
                    <a:p>
                      <a:pPr algn="l" fontAlgn="ctr"/>
                      <a:r>
                        <a:rPr lang="pt-BR" sz="700" u="none" strike="noStrike">
                          <a:effectLst/>
                        </a:rPr>
                        <a:t>Cuiabá</a:t>
                      </a:r>
                      <a:endParaRPr lang="pt-BR" sz="700" b="0" i="0" u="none" strike="noStrike">
                        <a:solidFill>
                          <a:srgbClr val="000000"/>
                        </a:solidFill>
                        <a:effectLst/>
                        <a:latin typeface="Calibri"/>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pt-BR" sz="900" b="0" i="0" u="none" strike="noStrike" dirty="0" smtClean="0">
                        <a:solidFill>
                          <a:schemeClr val="bg1">
                            <a:lumMod val="85000"/>
                          </a:schemeClr>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pt-BR" sz="900" u="none" strike="noStrike" dirty="0" smtClean="0">
                          <a:solidFill>
                            <a:srgbClr val="00B050"/>
                          </a:solidFill>
                          <a:effectLst/>
                          <a:latin typeface="Webdings" pitchFamily="18" charset="2"/>
                        </a:rPr>
                        <a:t>a</a:t>
                      </a:r>
                      <a:endParaRPr lang="pt-BR" sz="900" b="0" i="0" u="none" strike="noStrike" dirty="0" smtClean="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pt-BR" sz="900" u="none" strike="noStrike" dirty="0" smtClean="0">
                          <a:solidFill>
                            <a:srgbClr val="00B050"/>
                          </a:solidFill>
                          <a:effectLst/>
                          <a:latin typeface="Webdings" pitchFamily="18" charset="2"/>
                        </a:rPr>
                        <a:t>a</a:t>
                      </a:r>
                      <a:endParaRPr lang="pt-BR" sz="900" b="0" i="0" u="none" strike="noStrike" dirty="0" smtClean="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r>
              <a:tr h="166073">
                <a:tc>
                  <a:txBody>
                    <a:bodyPr/>
                    <a:lstStyle/>
                    <a:p>
                      <a:pPr algn="l" fontAlgn="ctr"/>
                      <a:r>
                        <a:rPr lang="pt-BR" sz="700" u="none" strike="noStrike" dirty="0">
                          <a:effectLst/>
                        </a:rPr>
                        <a:t>Campo Grande</a:t>
                      </a:r>
                      <a:endParaRPr lang="pt-BR" sz="700" b="0" i="0" u="none" strike="noStrike" dirty="0">
                        <a:solidFill>
                          <a:srgbClr val="000000"/>
                        </a:solidFill>
                        <a:effectLst/>
                        <a:latin typeface="Calibri"/>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dirty="0">
                        <a:solidFill>
                          <a:schemeClr val="bg1">
                            <a:lumMod val="85000"/>
                          </a:schemeClr>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r>
                        <a:rPr lang="pt-BR" sz="900" u="none" strike="noStrike" dirty="0">
                          <a:solidFill>
                            <a:srgbClr val="00B050"/>
                          </a:solidFill>
                          <a:effectLst/>
                          <a:latin typeface="Webdings" pitchFamily="18" charset="2"/>
                        </a:rPr>
                        <a:t>a</a:t>
                      </a:r>
                      <a:endParaRPr lang="pt-BR" sz="9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r>
              <a:tr h="166073">
                <a:tc>
                  <a:txBody>
                    <a:bodyPr/>
                    <a:lstStyle/>
                    <a:p>
                      <a:pPr algn="l" fontAlgn="ctr"/>
                      <a:r>
                        <a:rPr lang="pt-BR" sz="700" u="none" strike="noStrike" dirty="0">
                          <a:effectLst/>
                        </a:rPr>
                        <a:t>Vitória</a:t>
                      </a:r>
                      <a:endParaRPr lang="pt-BR" sz="700" b="0" i="0" u="none" strike="noStrike" dirty="0">
                        <a:solidFill>
                          <a:srgbClr val="000000"/>
                        </a:solidFill>
                        <a:effectLst/>
                        <a:latin typeface="Calibri"/>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dirty="0">
                        <a:solidFill>
                          <a:schemeClr val="bg1">
                            <a:lumMod val="85000"/>
                          </a:schemeClr>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l" fontAlgn="b"/>
                      <a:endParaRPr lang="pt-BR" sz="7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r>
                        <a:rPr lang="pt-BR" sz="900" u="none" strike="noStrike" dirty="0">
                          <a:solidFill>
                            <a:schemeClr val="bg1">
                              <a:lumMod val="75000"/>
                            </a:schemeClr>
                          </a:solidFill>
                          <a:effectLst/>
                          <a:latin typeface="Webdings" pitchFamily="18" charset="2"/>
                        </a:rPr>
                        <a:t>a</a:t>
                      </a:r>
                      <a:endParaRPr lang="pt-BR" sz="900" b="0" i="0" u="none" strike="noStrike" dirty="0">
                        <a:solidFill>
                          <a:schemeClr val="bg1">
                            <a:lumMod val="75000"/>
                          </a:schemeClr>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pt-BR" sz="800" u="none" strike="noStrike" dirty="0" smtClean="0">
                          <a:solidFill>
                            <a:srgbClr val="00B050"/>
                          </a:solidFill>
                          <a:effectLst/>
                          <a:latin typeface="Webdings" pitchFamily="18" charset="2"/>
                        </a:rPr>
                        <a:t>a</a:t>
                      </a:r>
                      <a:endParaRPr lang="pt-BR" sz="800" b="0" i="0" u="none" strike="noStrike" dirty="0" smtClean="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l" fontAlgn="b"/>
                      <a:endParaRPr lang="pt-BR" sz="7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l" fontAlgn="b"/>
                      <a:endParaRPr lang="pt-BR" sz="7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r>
              <a:tr h="166073">
                <a:tc>
                  <a:txBody>
                    <a:bodyPr/>
                    <a:lstStyle/>
                    <a:p>
                      <a:pPr marL="0" algn="l" defTabSz="914400" rtl="0" eaLnBrk="1" fontAlgn="ctr" latinLnBrk="0" hangingPunct="1"/>
                      <a:r>
                        <a:rPr lang="pt-BR" sz="700" u="none" strike="noStrike" kern="1200" dirty="0" smtClean="0">
                          <a:solidFill>
                            <a:schemeClr val="dk1"/>
                          </a:solidFill>
                          <a:effectLst/>
                          <a:latin typeface="+mn-lt"/>
                          <a:ea typeface="+mn-ea"/>
                          <a:cs typeface="+mn-cs"/>
                        </a:rPr>
                        <a:t>Rio Branco</a:t>
                      </a:r>
                      <a:endParaRPr lang="pt-BR" sz="700" u="none" strike="noStrike" kern="1200" dirty="0">
                        <a:solidFill>
                          <a:schemeClr val="dk1"/>
                        </a:solidFill>
                        <a:effectLst/>
                        <a:latin typeface="+mn-lt"/>
                        <a:ea typeface="+mn-ea"/>
                        <a:cs typeface="+mn-cs"/>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pt-BR" sz="900" u="none" strike="noStrike" kern="1200" dirty="0" smtClean="0">
                          <a:solidFill>
                            <a:srgbClr val="00B050"/>
                          </a:solidFill>
                          <a:effectLst/>
                          <a:latin typeface="Webdings" pitchFamily="18" charset="2"/>
                          <a:ea typeface="+mn-ea"/>
                          <a:cs typeface="+mn-cs"/>
                        </a:rPr>
                        <a:t>a</a:t>
                      </a: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l" fontAlgn="b"/>
                      <a:endParaRPr lang="pt-BR" sz="7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ctr" fontAlgn="b"/>
                      <a:endParaRPr lang="pt-BR" sz="9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l" fontAlgn="b"/>
                      <a:endParaRPr lang="pt-BR" sz="7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l" fontAlgn="b"/>
                      <a:endParaRPr lang="pt-BR" sz="7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l" fontAlgn="b"/>
                      <a:endParaRPr lang="pt-BR" sz="7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r>
              <a:tr h="166073">
                <a:tc>
                  <a:txBody>
                    <a:bodyPr/>
                    <a:lstStyle/>
                    <a:p>
                      <a:pPr marL="0" algn="l" defTabSz="914400" rtl="0" eaLnBrk="1" fontAlgn="ctr" latinLnBrk="0" hangingPunct="1"/>
                      <a:r>
                        <a:rPr lang="pt-BR" sz="700" u="none" strike="noStrike" kern="1200" dirty="0" smtClean="0">
                          <a:solidFill>
                            <a:schemeClr val="dk1"/>
                          </a:solidFill>
                          <a:effectLst/>
                          <a:latin typeface="+mn-lt"/>
                          <a:ea typeface="+mn-ea"/>
                          <a:cs typeface="+mn-cs"/>
                        </a:rPr>
                        <a:t>Porto Velho</a:t>
                      </a:r>
                      <a:endParaRPr lang="pt-BR" sz="700" u="none" strike="noStrike" kern="1200" dirty="0">
                        <a:solidFill>
                          <a:schemeClr val="dk1"/>
                        </a:solidFill>
                        <a:effectLst/>
                        <a:latin typeface="+mn-lt"/>
                        <a:ea typeface="+mn-ea"/>
                        <a:cs typeface="+mn-cs"/>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pt-BR" sz="900" u="none" strike="noStrike" kern="1200" dirty="0" smtClean="0">
                          <a:solidFill>
                            <a:schemeClr val="bg1">
                              <a:lumMod val="75000"/>
                            </a:schemeClr>
                          </a:solidFill>
                          <a:effectLst/>
                          <a:latin typeface="Webdings" pitchFamily="18" charset="2"/>
                          <a:ea typeface="+mn-ea"/>
                          <a:cs typeface="+mn-cs"/>
                        </a:rPr>
                        <a:t>a</a:t>
                      </a: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l" fontAlgn="b"/>
                      <a:endParaRPr lang="pt-BR" sz="7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pt-BR" sz="900" u="none" strike="noStrike" kern="1200" dirty="0" smtClean="0">
                          <a:solidFill>
                            <a:srgbClr val="00B050"/>
                          </a:solidFill>
                          <a:effectLst/>
                          <a:latin typeface="Webdings" pitchFamily="18" charset="2"/>
                          <a:ea typeface="+mn-ea"/>
                          <a:cs typeface="+mn-cs"/>
                        </a:rPr>
                        <a:t>a</a:t>
                      </a: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l" fontAlgn="b"/>
                      <a:endParaRPr lang="pt-BR" sz="7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l" fontAlgn="b"/>
                      <a:endParaRPr lang="pt-BR" sz="7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c>
                  <a:txBody>
                    <a:bodyPr/>
                    <a:lstStyle/>
                    <a:p>
                      <a:pPr algn="l" fontAlgn="b"/>
                      <a:endParaRPr lang="pt-BR" sz="7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noFill/>
                  </a:tcPr>
                </a:tc>
              </a:tr>
              <a:tr h="166073">
                <a:tc>
                  <a:txBody>
                    <a:bodyPr/>
                    <a:lstStyle/>
                    <a:p>
                      <a:pPr marL="0" algn="l" defTabSz="914400" rtl="0" eaLnBrk="1" fontAlgn="ctr" latinLnBrk="0" hangingPunct="1"/>
                      <a:r>
                        <a:rPr lang="pt-BR" sz="700" u="none" strike="noStrike" kern="1200" dirty="0" smtClean="0">
                          <a:solidFill>
                            <a:schemeClr val="dk1"/>
                          </a:solidFill>
                          <a:effectLst/>
                          <a:latin typeface="+mn-lt"/>
                          <a:ea typeface="+mn-ea"/>
                          <a:cs typeface="+mn-cs"/>
                        </a:rPr>
                        <a:t>Boa Vista</a:t>
                      </a:r>
                      <a:endParaRPr lang="pt-BR" sz="700" u="none" strike="noStrike" kern="1200" dirty="0">
                        <a:solidFill>
                          <a:schemeClr val="dk1"/>
                        </a:solidFill>
                        <a:effectLst/>
                        <a:latin typeface="+mn-lt"/>
                        <a:ea typeface="+mn-ea"/>
                        <a:cs typeface="+mn-cs"/>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pt-BR" sz="900" u="none" strike="noStrike" kern="1200" dirty="0" smtClean="0">
                          <a:solidFill>
                            <a:srgbClr val="00B050"/>
                          </a:solidFill>
                          <a:effectLst/>
                          <a:latin typeface="Webdings" pitchFamily="18" charset="2"/>
                          <a:ea typeface="+mn-ea"/>
                          <a:cs typeface="+mn-cs"/>
                        </a:rPr>
                        <a:t>a</a:t>
                      </a:r>
                    </a:p>
                  </a:txBody>
                  <a:tcPr marL="6175" marR="6175" marT="6175" marB="0" anchor="ctr">
                    <a:lnT w="12700" cap="flat" cmpd="sng" algn="ctr">
                      <a:solidFill>
                        <a:schemeClr val="accent5">
                          <a:lumMod val="60000"/>
                          <a:lumOff val="40000"/>
                        </a:schemeClr>
                      </a:solidFill>
                      <a:prstDash val="solid"/>
                      <a:round/>
                      <a:headEnd type="none" w="med" len="med"/>
                      <a:tailEnd type="none" w="med" len="med"/>
                    </a:lnT>
                    <a:noFill/>
                  </a:tcPr>
                </a:tc>
                <a:tc>
                  <a:txBody>
                    <a:bodyPr/>
                    <a:lstStyle/>
                    <a:p>
                      <a:pPr algn="l" fontAlgn="b"/>
                      <a:endParaRPr lang="pt-BR" sz="7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noFill/>
                  </a:tcPr>
                </a:tc>
                <a:tc>
                  <a:txBody>
                    <a:bodyPr/>
                    <a:lstStyle/>
                    <a:p>
                      <a:pPr algn="ctr" fontAlgn="b"/>
                      <a:endParaRPr lang="pt-BR" sz="9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noFill/>
                  </a:tcPr>
                </a:tc>
                <a:tc>
                  <a:txBody>
                    <a:bodyPr/>
                    <a:lstStyle/>
                    <a:p>
                      <a:pPr algn="l" fontAlgn="b"/>
                      <a:endParaRPr lang="pt-BR" sz="700" b="0" i="0" u="none" strike="noStrike">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noFill/>
                  </a:tcPr>
                </a:tc>
                <a:tc>
                  <a:txBody>
                    <a:bodyPr/>
                    <a:lstStyle/>
                    <a:p>
                      <a:pPr algn="l" fontAlgn="b"/>
                      <a:endParaRPr lang="pt-BR" sz="7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noFill/>
                  </a:tcPr>
                </a:tc>
                <a:tc>
                  <a:txBody>
                    <a:bodyPr/>
                    <a:lstStyle/>
                    <a:p>
                      <a:pPr algn="l" fontAlgn="b"/>
                      <a:endParaRPr lang="pt-BR" sz="700" b="0" i="0" u="none" strike="noStrike" dirty="0">
                        <a:solidFill>
                          <a:srgbClr val="00B050"/>
                        </a:solidFill>
                        <a:effectLst/>
                        <a:latin typeface="Webdings" pitchFamily="18" charset="2"/>
                      </a:endParaRPr>
                    </a:p>
                  </a:txBody>
                  <a:tcPr marL="6175" marR="6175" marT="6175" marB="0" anchor="ctr">
                    <a:lnT w="12700" cap="flat" cmpd="sng" algn="ctr">
                      <a:solidFill>
                        <a:schemeClr val="accent5">
                          <a:lumMod val="60000"/>
                          <a:lumOff val="40000"/>
                        </a:schemeClr>
                      </a:solidFill>
                      <a:prstDash val="solid"/>
                      <a:round/>
                      <a:headEnd type="none" w="med" len="med"/>
                      <a:tailEnd type="none" w="med" len="med"/>
                    </a:lnT>
                    <a:noFill/>
                  </a:tcPr>
                </a:tc>
              </a:tr>
            </a:tbl>
          </a:graphicData>
        </a:graphic>
      </p:graphicFrame>
      <p:sp>
        <p:nvSpPr>
          <p:cNvPr id="483" name="Oval 482"/>
          <p:cNvSpPr/>
          <p:nvPr/>
        </p:nvSpPr>
        <p:spPr>
          <a:xfrm>
            <a:off x="7239480" y="1611825"/>
            <a:ext cx="144016" cy="94788"/>
          </a:xfrm>
          <a:prstGeom prst="ellipse">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cxnSp>
        <p:nvCxnSpPr>
          <p:cNvPr id="484" name="Straight Arrow Connector 483"/>
          <p:cNvCxnSpPr/>
          <p:nvPr/>
        </p:nvCxnSpPr>
        <p:spPr>
          <a:xfrm>
            <a:off x="7381207" y="1659219"/>
            <a:ext cx="299255" cy="0"/>
          </a:xfrm>
          <a:prstGeom prst="straightConnector1">
            <a:avLst/>
          </a:prstGeom>
          <a:ln w="12700">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5" name="Straight Arrow Connector 484"/>
          <p:cNvCxnSpPr/>
          <p:nvPr/>
        </p:nvCxnSpPr>
        <p:spPr>
          <a:xfrm>
            <a:off x="7817918" y="2017805"/>
            <a:ext cx="272050" cy="0"/>
          </a:xfrm>
          <a:prstGeom prst="straightConnector1">
            <a:avLst/>
          </a:prstGeom>
          <a:ln>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86" name="Oval 485"/>
          <p:cNvSpPr/>
          <p:nvPr/>
        </p:nvSpPr>
        <p:spPr>
          <a:xfrm>
            <a:off x="8496409" y="4415815"/>
            <a:ext cx="144016" cy="94788"/>
          </a:xfrm>
          <a:prstGeom prst="ellipse">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87" name="Oval 486"/>
          <p:cNvSpPr/>
          <p:nvPr/>
        </p:nvSpPr>
        <p:spPr>
          <a:xfrm>
            <a:off x="7268358" y="5720696"/>
            <a:ext cx="144016" cy="94788"/>
          </a:xfrm>
          <a:prstGeom prst="ellipse">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cxnSp>
        <p:nvCxnSpPr>
          <p:cNvPr id="488" name="Straight Arrow Connector 487"/>
          <p:cNvCxnSpPr/>
          <p:nvPr/>
        </p:nvCxnSpPr>
        <p:spPr>
          <a:xfrm>
            <a:off x="7416018" y="5768090"/>
            <a:ext cx="272050" cy="0"/>
          </a:xfrm>
          <a:prstGeom prst="straightConnector1">
            <a:avLst/>
          </a:prstGeom>
          <a:ln>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89" name="Oval 488"/>
          <p:cNvSpPr/>
          <p:nvPr/>
        </p:nvSpPr>
        <p:spPr>
          <a:xfrm>
            <a:off x="7680313" y="1966415"/>
            <a:ext cx="144016" cy="94788"/>
          </a:xfrm>
          <a:prstGeom prst="ellipse">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cxnSp>
        <p:nvCxnSpPr>
          <p:cNvPr id="490" name="Straight Arrow Connector 489"/>
          <p:cNvCxnSpPr/>
          <p:nvPr/>
        </p:nvCxnSpPr>
        <p:spPr>
          <a:xfrm>
            <a:off x="7815777" y="2225203"/>
            <a:ext cx="272050" cy="0"/>
          </a:xfrm>
          <a:prstGeom prst="straightConnector1">
            <a:avLst/>
          </a:prstGeom>
          <a:ln>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91" name="Oval 490"/>
          <p:cNvSpPr/>
          <p:nvPr/>
        </p:nvSpPr>
        <p:spPr>
          <a:xfrm>
            <a:off x="7678172" y="2173813"/>
            <a:ext cx="144016" cy="94788"/>
          </a:xfrm>
          <a:prstGeom prst="ellipse">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cxnSp>
        <p:nvCxnSpPr>
          <p:cNvPr id="492" name="Straight Arrow Connector 491"/>
          <p:cNvCxnSpPr/>
          <p:nvPr/>
        </p:nvCxnSpPr>
        <p:spPr>
          <a:xfrm>
            <a:off x="7812777" y="2423975"/>
            <a:ext cx="272050" cy="0"/>
          </a:xfrm>
          <a:prstGeom prst="straightConnector1">
            <a:avLst/>
          </a:prstGeom>
          <a:ln>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93" name="Oval 492"/>
          <p:cNvSpPr/>
          <p:nvPr/>
        </p:nvSpPr>
        <p:spPr>
          <a:xfrm>
            <a:off x="7675172" y="2372585"/>
            <a:ext cx="144016" cy="94788"/>
          </a:xfrm>
          <a:prstGeom prst="ellipse">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cxnSp>
        <p:nvCxnSpPr>
          <p:cNvPr id="494" name="Straight Arrow Connector 493"/>
          <p:cNvCxnSpPr/>
          <p:nvPr/>
        </p:nvCxnSpPr>
        <p:spPr>
          <a:xfrm>
            <a:off x="7830814" y="3037543"/>
            <a:ext cx="272050" cy="0"/>
          </a:xfrm>
          <a:prstGeom prst="straightConnector1">
            <a:avLst/>
          </a:prstGeom>
          <a:ln>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95" name="Oval 494"/>
          <p:cNvSpPr/>
          <p:nvPr/>
        </p:nvSpPr>
        <p:spPr>
          <a:xfrm>
            <a:off x="7686798" y="2986153"/>
            <a:ext cx="144016" cy="94788"/>
          </a:xfrm>
          <a:prstGeom prst="ellipse">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cxnSp>
        <p:nvCxnSpPr>
          <p:cNvPr id="496" name="Straight Arrow Connector 495"/>
          <p:cNvCxnSpPr/>
          <p:nvPr/>
        </p:nvCxnSpPr>
        <p:spPr>
          <a:xfrm>
            <a:off x="8640154" y="4466345"/>
            <a:ext cx="272050" cy="0"/>
          </a:xfrm>
          <a:prstGeom prst="straightConnector1">
            <a:avLst/>
          </a:prstGeom>
          <a:ln>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97" name="Oval 496"/>
          <p:cNvSpPr/>
          <p:nvPr/>
        </p:nvSpPr>
        <p:spPr>
          <a:xfrm>
            <a:off x="7678172" y="5373571"/>
            <a:ext cx="144016" cy="94788"/>
          </a:xfrm>
          <a:prstGeom prst="ellipse">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cxnSp>
        <p:nvCxnSpPr>
          <p:cNvPr id="498" name="Straight Arrow Connector 497"/>
          <p:cNvCxnSpPr/>
          <p:nvPr/>
        </p:nvCxnSpPr>
        <p:spPr>
          <a:xfrm>
            <a:off x="7821917" y="5424101"/>
            <a:ext cx="272050" cy="0"/>
          </a:xfrm>
          <a:prstGeom prst="straightConnector1">
            <a:avLst/>
          </a:prstGeom>
          <a:ln>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99" name="Oval 498"/>
          <p:cNvSpPr/>
          <p:nvPr/>
        </p:nvSpPr>
        <p:spPr>
          <a:xfrm>
            <a:off x="7673258" y="6044993"/>
            <a:ext cx="144016" cy="94788"/>
          </a:xfrm>
          <a:prstGeom prst="ellipse">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cxnSp>
        <p:nvCxnSpPr>
          <p:cNvPr id="500" name="Straight Arrow Connector 499"/>
          <p:cNvCxnSpPr/>
          <p:nvPr/>
        </p:nvCxnSpPr>
        <p:spPr>
          <a:xfrm>
            <a:off x="7820918" y="6092387"/>
            <a:ext cx="272050" cy="0"/>
          </a:xfrm>
          <a:prstGeom prst="straightConnector1">
            <a:avLst/>
          </a:prstGeom>
          <a:ln>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01" name="Oval 500"/>
          <p:cNvSpPr/>
          <p:nvPr/>
        </p:nvSpPr>
        <p:spPr>
          <a:xfrm>
            <a:off x="6839954" y="6384781"/>
            <a:ext cx="144016" cy="94788"/>
          </a:xfrm>
          <a:prstGeom prst="ellipse">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cxnSp>
        <p:nvCxnSpPr>
          <p:cNvPr id="502" name="Straight Arrow Connector 501"/>
          <p:cNvCxnSpPr/>
          <p:nvPr/>
        </p:nvCxnSpPr>
        <p:spPr>
          <a:xfrm>
            <a:off x="6977494" y="6432175"/>
            <a:ext cx="705628" cy="0"/>
          </a:xfrm>
          <a:prstGeom prst="straightConnector1">
            <a:avLst/>
          </a:prstGeom>
          <a:ln>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1323807830"/>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2"/>
          <p:cNvSpPr>
            <a:spLocks noChangeArrowheads="1"/>
          </p:cNvSpPr>
          <p:nvPr/>
        </p:nvSpPr>
        <p:spPr bwMode="auto">
          <a:xfrm>
            <a:off x="1208584" y="2132913"/>
            <a:ext cx="6480000" cy="503999"/>
          </a:xfrm>
          <a:prstGeom prst="snip2DiagRect">
            <a:avLst/>
          </a:prstGeom>
          <a:solidFill>
            <a:srgbClr val="3E628A"/>
          </a:solidFill>
          <a:ln>
            <a:noFill/>
          </a:ln>
          <a:extLst>
            <a:ext uri="{91240B29-F687-4f45-9708-019B960494DF}">
              <a14:hiddenLine xmlns=""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lIns="87766" tIns="43883" rIns="87766" bIns="43883" rtlCol="0" anchor="ctr"/>
          <a:lstStyle/>
          <a:p>
            <a:pPr algn="ctr" eaLnBrk="0" hangingPunct="0"/>
            <a:endParaRPr lang="en-US" smtClean="0">
              <a:solidFill>
                <a:schemeClr val="lt1"/>
              </a:solidFill>
            </a:endParaRPr>
          </a:p>
        </p:txBody>
      </p:sp>
      <p:sp>
        <p:nvSpPr>
          <p:cNvPr id="7" name="Text Box 4"/>
          <p:cNvSpPr txBox="1">
            <a:spLocks noChangeArrowheads="1"/>
          </p:cNvSpPr>
          <p:nvPr/>
        </p:nvSpPr>
        <p:spPr bwMode="auto">
          <a:xfrm>
            <a:off x="1480300" y="1333918"/>
            <a:ext cx="7687545" cy="1880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03659" tIns="0" rIns="103659" bIns="0"/>
          <a:lstStyle>
            <a:lvl1pPr marL="365125" indent="-365125" defTabSz="450850" eaLnBrk="0" hangingPunct="0">
              <a:defRPr sz="1600" b="1">
                <a:solidFill>
                  <a:schemeClr val="tx1"/>
                </a:solidFill>
                <a:latin typeface="Arial" pitchFamily="34" charset="0"/>
                <a:cs typeface="Arial" pitchFamily="34" charset="0"/>
              </a:defRPr>
            </a:lvl1pPr>
            <a:lvl2pPr marL="742950" indent="-285750" defTabSz="450850" eaLnBrk="0" hangingPunct="0">
              <a:defRPr sz="1600" b="1">
                <a:solidFill>
                  <a:schemeClr val="tx1"/>
                </a:solidFill>
                <a:latin typeface="Arial" pitchFamily="34" charset="0"/>
                <a:cs typeface="Arial" pitchFamily="34" charset="0"/>
              </a:defRPr>
            </a:lvl2pPr>
            <a:lvl3pPr marL="1143000" indent="-228600" defTabSz="450850" eaLnBrk="0" hangingPunct="0">
              <a:defRPr sz="1600" b="1">
                <a:solidFill>
                  <a:schemeClr val="tx1"/>
                </a:solidFill>
                <a:latin typeface="Arial" pitchFamily="34" charset="0"/>
                <a:cs typeface="Arial" pitchFamily="34" charset="0"/>
              </a:defRPr>
            </a:lvl3pPr>
            <a:lvl4pPr marL="1600200" indent="-228600" defTabSz="450850" eaLnBrk="0" hangingPunct="0">
              <a:defRPr sz="1600" b="1">
                <a:solidFill>
                  <a:schemeClr val="tx1"/>
                </a:solidFill>
                <a:latin typeface="Arial" pitchFamily="34" charset="0"/>
                <a:cs typeface="Arial" pitchFamily="34" charset="0"/>
              </a:defRPr>
            </a:lvl4pPr>
            <a:lvl5pPr marL="2057400" indent="-228600" defTabSz="450850" eaLnBrk="0" hangingPunct="0">
              <a:defRPr sz="1600" b="1">
                <a:solidFill>
                  <a:schemeClr val="tx1"/>
                </a:solidFill>
                <a:latin typeface="Arial" pitchFamily="34" charset="0"/>
                <a:cs typeface="Arial" pitchFamily="34" charset="0"/>
              </a:defRPr>
            </a:lvl5pPr>
            <a:lvl6pPr marL="2514600" indent="-228600" defTabSz="450850" eaLnBrk="0" fontAlgn="base" hangingPunct="0">
              <a:spcBef>
                <a:spcPct val="0"/>
              </a:spcBef>
              <a:spcAft>
                <a:spcPct val="0"/>
              </a:spcAft>
              <a:defRPr sz="1600" b="1">
                <a:solidFill>
                  <a:schemeClr val="tx1"/>
                </a:solidFill>
                <a:latin typeface="Arial" pitchFamily="34" charset="0"/>
                <a:cs typeface="Arial" pitchFamily="34" charset="0"/>
              </a:defRPr>
            </a:lvl6pPr>
            <a:lvl7pPr marL="2971800" indent="-228600" defTabSz="450850" eaLnBrk="0" fontAlgn="base" hangingPunct="0">
              <a:spcBef>
                <a:spcPct val="0"/>
              </a:spcBef>
              <a:spcAft>
                <a:spcPct val="0"/>
              </a:spcAft>
              <a:defRPr sz="1600" b="1">
                <a:solidFill>
                  <a:schemeClr val="tx1"/>
                </a:solidFill>
                <a:latin typeface="Arial" pitchFamily="34" charset="0"/>
                <a:cs typeface="Arial" pitchFamily="34" charset="0"/>
              </a:defRPr>
            </a:lvl7pPr>
            <a:lvl8pPr marL="3429000" indent="-228600" defTabSz="450850" eaLnBrk="0" fontAlgn="base" hangingPunct="0">
              <a:spcBef>
                <a:spcPct val="0"/>
              </a:spcBef>
              <a:spcAft>
                <a:spcPct val="0"/>
              </a:spcAft>
              <a:defRPr sz="1600" b="1">
                <a:solidFill>
                  <a:schemeClr val="tx1"/>
                </a:solidFill>
                <a:latin typeface="Arial" pitchFamily="34" charset="0"/>
                <a:cs typeface="Arial" pitchFamily="34" charset="0"/>
              </a:defRPr>
            </a:lvl8pPr>
            <a:lvl9pPr marL="3886200" indent="-228600" defTabSz="450850" eaLnBrk="0" fontAlgn="base" hangingPunct="0">
              <a:spcBef>
                <a:spcPct val="0"/>
              </a:spcBef>
              <a:spcAft>
                <a:spcPct val="0"/>
              </a:spcAft>
              <a:defRPr sz="1600" b="1">
                <a:solidFill>
                  <a:schemeClr val="tx1"/>
                </a:solidFill>
                <a:latin typeface="Arial" pitchFamily="34" charset="0"/>
                <a:cs typeface="Arial" pitchFamily="34" charset="0"/>
              </a:defRPr>
            </a:lvl9pPr>
          </a:lstStyle>
          <a:p>
            <a:pPr eaLnBrk="1" hangingPunct="1">
              <a:lnSpc>
                <a:spcPct val="150000"/>
              </a:lnSpc>
              <a:spcBef>
                <a:spcPct val="60000"/>
              </a:spcBef>
              <a:buClr>
                <a:schemeClr val="bg1">
                  <a:lumMod val="65000"/>
                </a:schemeClr>
              </a:buClr>
              <a:buFont typeface="Webdings" pitchFamily="18" charset="2"/>
              <a:buChar char="4"/>
            </a:pPr>
            <a:r>
              <a:rPr lang="en-US" sz="2300" b="0" dirty="0">
                <a:solidFill>
                  <a:schemeClr val="bg1">
                    <a:lumMod val="75000"/>
                  </a:schemeClr>
                </a:solidFill>
                <a:latin typeface="Calibri" pitchFamily="34" charset="0"/>
              </a:rPr>
              <a:t>BACKBONE LD EVOLUTION</a:t>
            </a:r>
          </a:p>
          <a:p>
            <a:pPr eaLnBrk="1" hangingPunct="1">
              <a:lnSpc>
                <a:spcPct val="150000"/>
              </a:lnSpc>
              <a:spcBef>
                <a:spcPct val="60000"/>
              </a:spcBef>
              <a:buClr>
                <a:schemeClr val="bg1">
                  <a:lumMod val="65000"/>
                </a:schemeClr>
              </a:buClr>
              <a:buFont typeface="Webdings" pitchFamily="18" charset="2"/>
              <a:buChar char="4"/>
            </a:pPr>
            <a:r>
              <a:rPr lang="en-US" sz="2300" b="0" dirty="0">
                <a:solidFill>
                  <a:schemeClr val="bg1"/>
                </a:solidFill>
                <a:latin typeface="Calibri" pitchFamily="34" charset="0"/>
              </a:rPr>
              <a:t>CASE LT AMAZONAS</a:t>
            </a:r>
          </a:p>
          <a:p>
            <a:pPr eaLnBrk="1" hangingPunct="1">
              <a:lnSpc>
                <a:spcPct val="150000"/>
              </a:lnSpc>
              <a:spcBef>
                <a:spcPct val="60000"/>
              </a:spcBef>
              <a:buClr>
                <a:schemeClr val="bg1">
                  <a:lumMod val="65000"/>
                </a:schemeClr>
              </a:buClr>
              <a:buFont typeface="Webdings" pitchFamily="18" charset="2"/>
              <a:buChar char="4"/>
            </a:pPr>
            <a:r>
              <a:rPr lang="en-US" sz="2300" b="0" dirty="0">
                <a:solidFill>
                  <a:schemeClr val="bg1">
                    <a:lumMod val="75000"/>
                  </a:schemeClr>
                </a:solidFill>
                <a:latin typeface="Calibri" pitchFamily="34" charset="0"/>
              </a:rPr>
              <a:t>FTTS</a:t>
            </a:r>
            <a:endParaRPr lang="pt-BR" sz="2300" b="0" dirty="0">
              <a:solidFill>
                <a:schemeClr val="bg1">
                  <a:lumMod val="75000"/>
                </a:schemeClr>
              </a:solidFill>
              <a:latin typeface="Calibri" pitchFamily="34" charset="0"/>
            </a:endParaRPr>
          </a:p>
          <a:p>
            <a:pPr eaLnBrk="1" hangingPunct="1">
              <a:lnSpc>
                <a:spcPct val="150000"/>
              </a:lnSpc>
              <a:spcBef>
                <a:spcPct val="60000"/>
              </a:spcBef>
              <a:buClr>
                <a:schemeClr val="bg1">
                  <a:lumMod val="65000"/>
                </a:schemeClr>
              </a:buClr>
              <a:buFont typeface="Webdings" pitchFamily="18" charset="2"/>
              <a:buChar char="4"/>
            </a:pPr>
            <a:r>
              <a:rPr lang="en-US" sz="2300" b="0" dirty="0">
                <a:solidFill>
                  <a:schemeClr val="bg1">
                    <a:lumMod val="75000"/>
                  </a:schemeClr>
                </a:solidFill>
                <a:latin typeface="Calibri" pitchFamily="34" charset="0"/>
              </a:rPr>
              <a:t>MBB</a:t>
            </a:r>
          </a:p>
          <a:p>
            <a:pPr eaLnBrk="1" hangingPunct="1">
              <a:lnSpc>
                <a:spcPct val="150000"/>
              </a:lnSpc>
              <a:spcBef>
                <a:spcPct val="60000"/>
              </a:spcBef>
              <a:buClr>
                <a:schemeClr val="bg1">
                  <a:lumMod val="65000"/>
                </a:schemeClr>
              </a:buClr>
              <a:buFont typeface="Webdings" pitchFamily="18" charset="2"/>
              <a:buChar char="4"/>
            </a:pPr>
            <a:r>
              <a:rPr lang="en-US" sz="2300" b="0" dirty="0" smtClean="0">
                <a:solidFill>
                  <a:schemeClr val="bg1">
                    <a:lumMod val="75000"/>
                  </a:schemeClr>
                </a:solidFill>
                <a:latin typeface="Calibri" pitchFamily="34" charset="0"/>
              </a:rPr>
              <a:t>LICENSING CHALLENGES</a:t>
            </a:r>
            <a:endParaRPr lang="en-US" sz="2300" b="0" dirty="0">
              <a:solidFill>
                <a:schemeClr val="bg1">
                  <a:lumMod val="75000"/>
                </a:schemeClr>
              </a:solidFill>
              <a:latin typeface="Calibri" pitchFamily="34" charset="0"/>
            </a:endParaRPr>
          </a:p>
        </p:txBody>
      </p:sp>
      <p:sp>
        <p:nvSpPr>
          <p:cNvPr id="8" name="Title 38"/>
          <p:cNvSpPr txBox="1">
            <a:spLocks/>
          </p:cNvSpPr>
          <p:nvPr/>
        </p:nvSpPr>
        <p:spPr>
          <a:xfrm>
            <a:off x="330224" y="227015"/>
            <a:ext cx="7980364" cy="457200"/>
          </a:xfrm>
          <a:prstGeom prst="rect">
            <a:avLst/>
          </a:prstGeom>
          <a:noFill/>
          <a:ln>
            <a:noFill/>
          </a:ln>
        </p:spPr>
        <p:txBody>
          <a:bodyPr vert="horz" wrap="square" lIns="0" tIns="0" rIns="0" bIns="0" numCol="1" anchor="ctr" anchorCtr="0" compatLnSpc="1">
            <a:prstTxWarp prst="textNoShape">
              <a:avLst/>
            </a:prstTxWarp>
          </a:bodyPr>
          <a:lstStyle/>
          <a:p>
            <a:pPr defTabSz="877654" eaLnBrk="0" hangingPunct="0">
              <a:lnSpc>
                <a:spcPct val="80000"/>
              </a:lnSpc>
              <a:defRPr/>
            </a:pPr>
            <a:r>
              <a:rPr lang="en-US" sz="2500" kern="0" dirty="0" smtClean="0">
                <a:solidFill>
                  <a:schemeClr val="bg1"/>
                </a:solidFill>
                <a:latin typeface="Calibri" pitchFamily="34" charset="0"/>
                <a:ea typeface="Arial" charset="0"/>
                <a:cs typeface="+mj-cs"/>
              </a:rPr>
              <a:t>AGENDA</a:t>
            </a:r>
            <a:endParaRPr lang="en-US" sz="2500" kern="0" dirty="0">
              <a:solidFill>
                <a:schemeClr val="bg1"/>
              </a:solidFill>
              <a:latin typeface="Calibri" pitchFamily="34" charset="0"/>
              <a:ea typeface="Arial" charset="0"/>
              <a:cs typeface="+mj-cs"/>
            </a:endParaRPr>
          </a:p>
        </p:txBody>
      </p:sp>
    </p:spTree>
    <p:extLst>
      <p:ext uri="{BB962C8B-B14F-4D97-AF65-F5344CB8AC3E}">
        <p14:creationId xmlns="" xmlns:p14="http://schemas.microsoft.com/office/powerpoint/2010/main" val="259400159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 name="Title 38"/>
          <p:cNvSpPr txBox="1">
            <a:spLocks/>
          </p:cNvSpPr>
          <p:nvPr>
            <p:custDataLst>
              <p:tags r:id="rId2"/>
            </p:custDataLst>
          </p:nvPr>
        </p:nvSpPr>
        <p:spPr bwMode="auto">
          <a:xfrm>
            <a:off x="308018" y="87604"/>
            <a:ext cx="7980363"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eaLnBrk="0" hangingPunct="0">
              <a:lnSpc>
                <a:spcPct val="80000"/>
              </a:lnSpc>
            </a:pPr>
            <a:r>
              <a:rPr lang="en-US" sz="2600" kern="0" dirty="0" smtClean="0">
                <a:solidFill>
                  <a:srgbClr val="FFFFFF"/>
                </a:solidFill>
                <a:latin typeface="Calibri" pitchFamily="34" charset="0"/>
                <a:ea typeface="Arial" charset="0"/>
                <a:cs typeface="Arial"/>
              </a:rPr>
              <a:t/>
            </a:r>
            <a:br>
              <a:rPr lang="en-US" sz="2600" kern="0" dirty="0" smtClean="0">
                <a:solidFill>
                  <a:srgbClr val="FFFFFF"/>
                </a:solidFill>
                <a:latin typeface="Calibri" pitchFamily="34" charset="0"/>
                <a:ea typeface="Arial" charset="0"/>
                <a:cs typeface="Arial"/>
              </a:rPr>
            </a:br>
            <a:r>
              <a:rPr lang="en-US" sz="2600" kern="0" dirty="0" smtClean="0">
                <a:solidFill>
                  <a:srgbClr val="FFFFFF"/>
                </a:solidFill>
                <a:latin typeface="Calibri" pitchFamily="34" charset="0"/>
                <a:ea typeface="Arial" charset="0"/>
                <a:cs typeface="Arial"/>
              </a:rPr>
              <a:t>LT AMAZONAS</a:t>
            </a:r>
            <a:endParaRPr lang="en-US" sz="2800" kern="0" dirty="0" smtClean="0">
              <a:solidFill>
                <a:schemeClr val="bg1"/>
              </a:solidFill>
              <a:latin typeface="Calibri" pitchFamily="34" charset="0"/>
              <a:ea typeface="Arial" charset="0"/>
              <a:cs typeface="+mj-cs"/>
            </a:endParaRPr>
          </a:p>
        </p:txBody>
      </p:sp>
      <p:sp>
        <p:nvSpPr>
          <p:cNvPr id="2" name="Rectangle 1"/>
          <p:cNvSpPr/>
          <p:nvPr/>
        </p:nvSpPr>
        <p:spPr>
          <a:xfrm>
            <a:off x="128464" y="975936"/>
            <a:ext cx="9649072" cy="1200329"/>
          </a:xfrm>
          <a:prstGeom prst="rect">
            <a:avLst/>
          </a:prstGeom>
        </p:spPr>
        <p:txBody>
          <a:bodyPr wrap="square">
            <a:spAutoFit/>
          </a:bodyPr>
          <a:lstStyle/>
          <a:p>
            <a:pPr algn="just"/>
            <a:r>
              <a:rPr lang="pt-BR" sz="1200" u="sng" dirty="0" smtClean="0"/>
              <a:t>PROJECT:</a:t>
            </a:r>
          </a:p>
          <a:p>
            <a:pPr algn="just"/>
            <a:endParaRPr lang="pt-BR" sz="1200" u="sng" dirty="0"/>
          </a:p>
          <a:p>
            <a:pPr algn="just"/>
            <a:r>
              <a:rPr lang="en-US" sz="1200" b="0" dirty="0">
                <a:latin typeface="Calibri" pitchFamily="34" charset="0"/>
                <a:cs typeface="Calibri" pitchFamily="34" charset="0"/>
              </a:rPr>
              <a:t>Connecting via optical network using DWDM technology, the cities of Manaus and </a:t>
            </a:r>
            <a:r>
              <a:rPr lang="en-US" sz="1200" b="0" dirty="0" err="1">
                <a:latin typeface="Calibri" pitchFamily="34" charset="0"/>
                <a:cs typeface="Calibri" pitchFamily="34" charset="0"/>
              </a:rPr>
              <a:t>Macapa</a:t>
            </a:r>
            <a:r>
              <a:rPr lang="en-US" sz="1200" b="0" dirty="0">
                <a:latin typeface="Calibri" pitchFamily="34" charset="0"/>
                <a:cs typeface="Calibri" pitchFamily="34" charset="0"/>
              </a:rPr>
              <a:t> the Backbone of TIM Brazil, providing care to the growing demand for voice and data network with a scalable, high performance and resiliency, thus providing the best experience and service quality TIM in the region. This route is being run using the consortium </a:t>
            </a:r>
            <a:r>
              <a:rPr lang="en-US" sz="1200" b="0" dirty="0" smtClean="0">
                <a:latin typeface="Calibri" pitchFamily="34" charset="0"/>
                <a:cs typeface="Calibri" pitchFamily="34" charset="0"/>
              </a:rPr>
              <a:t>LT AMAZONAS </a:t>
            </a:r>
            <a:r>
              <a:rPr lang="en-US" sz="1200" b="0" dirty="0">
                <a:latin typeface="Calibri" pitchFamily="34" charset="0"/>
                <a:cs typeface="Calibri" pitchFamily="34" charset="0"/>
              </a:rPr>
              <a:t>(using the infrastructure of power transmission towers) to launch the OPGW and partnership with Vivo in the construction of the underground access</a:t>
            </a:r>
            <a:r>
              <a:rPr lang="en-US" sz="1200" b="0" dirty="0" smtClean="0">
                <a:latin typeface="Calibri" pitchFamily="34" charset="0"/>
                <a:cs typeface="Calibri" pitchFamily="34" charset="0"/>
              </a:rPr>
              <a:t>.</a:t>
            </a:r>
            <a:endParaRPr lang="pt-BR" sz="1100" b="0" dirty="0"/>
          </a:p>
        </p:txBody>
      </p:sp>
      <p:grpSp>
        <p:nvGrpSpPr>
          <p:cNvPr id="19" name="Group 18"/>
          <p:cNvGrpSpPr/>
          <p:nvPr/>
        </p:nvGrpSpPr>
        <p:grpSpPr>
          <a:xfrm>
            <a:off x="4010241" y="2282540"/>
            <a:ext cx="4903199" cy="4314825"/>
            <a:chOff x="729117" y="2282540"/>
            <a:chExt cx="4903199" cy="4314825"/>
          </a:xfrm>
        </p:grpSpPr>
        <p:grpSp>
          <p:nvGrpSpPr>
            <p:cNvPr id="160" name="Group 314"/>
            <p:cNvGrpSpPr>
              <a:grpSpLocks/>
            </p:cNvGrpSpPr>
            <p:nvPr/>
          </p:nvGrpSpPr>
          <p:grpSpPr bwMode="auto">
            <a:xfrm>
              <a:off x="729117" y="2282540"/>
              <a:ext cx="4903199" cy="4314825"/>
              <a:chOff x="2643158" y="985839"/>
              <a:chExt cx="6810382" cy="5443529"/>
            </a:xfrm>
          </p:grpSpPr>
          <p:grpSp>
            <p:nvGrpSpPr>
              <p:cNvPr id="163" name="Group 199"/>
              <p:cNvGrpSpPr>
                <a:grpSpLocks/>
              </p:cNvGrpSpPr>
              <p:nvPr/>
            </p:nvGrpSpPr>
            <p:grpSpPr bwMode="auto">
              <a:xfrm>
                <a:off x="2643158" y="985839"/>
                <a:ext cx="6810382" cy="5443529"/>
                <a:chOff x="2643158" y="985839"/>
                <a:chExt cx="6810382" cy="5443529"/>
              </a:xfrm>
            </p:grpSpPr>
            <p:grpSp>
              <p:nvGrpSpPr>
                <p:cNvPr id="180" name="Group 554"/>
                <p:cNvGrpSpPr>
                  <a:grpSpLocks/>
                </p:cNvGrpSpPr>
                <p:nvPr/>
              </p:nvGrpSpPr>
              <p:grpSpPr bwMode="auto">
                <a:xfrm>
                  <a:off x="2643158" y="985839"/>
                  <a:ext cx="6810382" cy="5443529"/>
                  <a:chOff x="2642456" y="985248"/>
                  <a:chExt cx="6811118" cy="5444141"/>
                </a:xfrm>
              </p:grpSpPr>
              <p:grpSp>
                <p:nvGrpSpPr>
                  <p:cNvPr id="186" name="Group 388"/>
                  <p:cNvGrpSpPr>
                    <a:grpSpLocks/>
                  </p:cNvGrpSpPr>
                  <p:nvPr/>
                </p:nvGrpSpPr>
                <p:grpSpPr bwMode="auto">
                  <a:xfrm>
                    <a:off x="2642456" y="985248"/>
                    <a:ext cx="6811118" cy="5444141"/>
                    <a:chOff x="2746322" y="1019142"/>
                    <a:chExt cx="6262083" cy="5237864"/>
                  </a:xfrm>
                </p:grpSpPr>
                <p:grpSp>
                  <p:nvGrpSpPr>
                    <p:cNvPr id="189" name="Group 365"/>
                    <p:cNvGrpSpPr>
                      <a:grpSpLocks/>
                    </p:cNvGrpSpPr>
                    <p:nvPr/>
                  </p:nvGrpSpPr>
                  <p:grpSpPr bwMode="auto">
                    <a:xfrm>
                      <a:off x="2746322" y="1019142"/>
                      <a:ext cx="6262083" cy="5237864"/>
                      <a:chOff x="4900596" y="803599"/>
                      <a:chExt cx="3943732" cy="3173096"/>
                    </a:xfrm>
                  </p:grpSpPr>
                  <p:sp>
                    <p:nvSpPr>
                      <p:cNvPr id="198" name="Freeform 25"/>
                      <p:cNvSpPr>
                        <a:spLocks noChangeArrowheads="1"/>
                      </p:cNvSpPr>
                      <p:nvPr/>
                    </p:nvSpPr>
                    <p:spPr bwMode="auto">
                      <a:xfrm>
                        <a:off x="6525106" y="927193"/>
                        <a:ext cx="385398" cy="420566"/>
                      </a:xfrm>
                      <a:custGeom>
                        <a:avLst/>
                        <a:gdLst>
                          <a:gd name="T0" fmla="*/ 2147483647 w 179"/>
                          <a:gd name="T1" fmla="*/ 2147483647 h 191"/>
                          <a:gd name="T2" fmla="*/ 2147483647 w 179"/>
                          <a:gd name="T3" fmla="*/ 2147483647 h 191"/>
                          <a:gd name="T4" fmla="*/ 2147483647 w 179"/>
                          <a:gd name="T5" fmla="*/ 2147483647 h 191"/>
                          <a:gd name="T6" fmla="*/ 2147483647 w 179"/>
                          <a:gd name="T7" fmla="*/ 2147483647 h 191"/>
                          <a:gd name="T8" fmla="*/ 2147483647 w 179"/>
                          <a:gd name="T9" fmla="*/ 2147483647 h 191"/>
                          <a:gd name="T10" fmla="*/ 2147483647 w 179"/>
                          <a:gd name="T11" fmla="*/ 2147483647 h 191"/>
                          <a:gd name="T12" fmla="*/ 2147483647 w 179"/>
                          <a:gd name="T13" fmla="*/ 2147483647 h 191"/>
                          <a:gd name="T14" fmla="*/ 0 w 179"/>
                          <a:gd name="T15" fmla="*/ 2147483647 h 191"/>
                          <a:gd name="T16" fmla="*/ 0 w 179"/>
                          <a:gd name="T17" fmla="*/ 2147483647 h 191"/>
                          <a:gd name="T18" fmla="*/ 2147483647 w 179"/>
                          <a:gd name="T19" fmla="*/ 2147483647 h 191"/>
                          <a:gd name="T20" fmla="*/ 2147483647 w 179"/>
                          <a:gd name="T21" fmla="*/ 2147483647 h 191"/>
                          <a:gd name="T22" fmla="*/ 2147483647 w 179"/>
                          <a:gd name="T23" fmla="*/ 2147483647 h 191"/>
                          <a:gd name="T24" fmla="*/ 2147483647 w 179"/>
                          <a:gd name="T25" fmla="*/ 2147483647 h 191"/>
                          <a:gd name="T26" fmla="*/ 2147483647 w 179"/>
                          <a:gd name="T27" fmla="*/ 0 h 191"/>
                          <a:gd name="T28" fmla="*/ 2147483647 w 179"/>
                          <a:gd name="T29" fmla="*/ 0 h 191"/>
                          <a:gd name="T30" fmla="*/ 2147483647 w 179"/>
                          <a:gd name="T31" fmla="*/ 2147483647 h 191"/>
                          <a:gd name="T32" fmla="*/ 2147483647 w 179"/>
                          <a:gd name="T33" fmla="*/ 2147483647 h 191"/>
                          <a:gd name="T34" fmla="*/ 2147483647 w 179"/>
                          <a:gd name="T35" fmla="*/ 2147483647 h 191"/>
                          <a:gd name="T36" fmla="*/ 2147483647 w 179"/>
                          <a:gd name="T37" fmla="*/ 2147483647 h 191"/>
                          <a:gd name="T38" fmla="*/ 2147483647 w 179"/>
                          <a:gd name="T39" fmla="*/ 2147483647 h 191"/>
                          <a:gd name="T40" fmla="*/ 2147483647 w 179"/>
                          <a:gd name="T41" fmla="*/ 2147483647 h 191"/>
                          <a:gd name="T42" fmla="*/ 2147483647 w 179"/>
                          <a:gd name="T43" fmla="*/ 2147483647 h 191"/>
                          <a:gd name="T44" fmla="*/ 2147483647 w 179"/>
                          <a:gd name="T45" fmla="*/ 2147483647 h 191"/>
                          <a:gd name="T46" fmla="*/ 2147483647 w 179"/>
                          <a:gd name="T47" fmla="*/ 2147483647 h 19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79"/>
                          <a:gd name="T73" fmla="*/ 0 h 191"/>
                          <a:gd name="T74" fmla="*/ 179 w 179"/>
                          <a:gd name="T75" fmla="*/ 191 h 19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79" h="191">
                            <a:moveTo>
                              <a:pt x="135" y="191"/>
                            </a:moveTo>
                            <a:lnTo>
                              <a:pt x="112" y="191"/>
                            </a:lnTo>
                            <a:lnTo>
                              <a:pt x="88" y="167"/>
                            </a:lnTo>
                            <a:lnTo>
                              <a:pt x="76" y="135"/>
                            </a:lnTo>
                            <a:lnTo>
                              <a:pt x="56" y="99"/>
                            </a:lnTo>
                            <a:lnTo>
                              <a:pt x="32" y="91"/>
                            </a:lnTo>
                            <a:lnTo>
                              <a:pt x="20" y="91"/>
                            </a:lnTo>
                            <a:lnTo>
                              <a:pt x="0" y="79"/>
                            </a:lnTo>
                            <a:lnTo>
                              <a:pt x="0" y="55"/>
                            </a:lnTo>
                            <a:lnTo>
                              <a:pt x="32" y="67"/>
                            </a:lnTo>
                            <a:lnTo>
                              <a:pt x="68" y="67"/>
                            </a:lnTo>
                            <a:lnTo>
                              <a:pt x="100" y="43"/>
                            </a:lnTo>
                            <a:lnTo>
                              <a:pt x="124" y="12"/>
                            </a:lnTo>
                            <a:lnTo>
                              <a:pt x="135" y="0"/>
                            </a:lnTo>
                            <a:lnTo>
                              <a:pt x="143" y="0"/>
                            </a:lnTo>
                            <a:lnTo>
                              <a:pt x="143" y="32"/>
                            </a:lnTo>
                            <a:lnTo>
                              <a:pt x="155" y="67"/>
                            </a:lnTo>
                            <a:lnTo>
                              <a:pt x="167" y="91"/>
                            </a:lnTo>
                            <a:lnTo>
                              <a:pt x="179" y="99"/>
                            </a:lnTo>
                            <a:lnTo>
                              <a:pt x="179" y="111"/>
                            </a:lnTo>
                            <a:lnTo>
                              <a:pt x="167" y="123"/>
                            </a:lnTo>
                            <a:lnTo>
                              <a:pt x="143" y="147"/>
                            </a:lnTo>
                            <a:lnTo>
                              <a:pt x="135" y="179"/>
                            </a:lnTo>
                            <a:lnTo>
                              <a:pt x="135" y="191"/>
                            </a:lnTo>
                            <a:close/>
                          </a:path>
                        </a:pathLst>
                      </a:custGeom>
                      <a:solidFill>
                        <a:srgbClr val="FFFFFF"/>
                      </a:solidFill>
                      <a:ln w="9360">
                        <a:solidFill>
                          <a:srgbClr val="969696"/>
                        </a:solidFill>
                        <a:round/>
                        <a:headEnd/>
                        <a:tailEnd/>
                      </a:ln>
                    </p:spPr>
                    <p:txBody>
                      <a:bodyPr wrap="none" anchor="ctr"/>
                      <a:lstStyle/>
                      <a:p>
                        <a:endParaRPr lang="pt-BR"/>
                      </a:p>
                    </p:txBody>
                  </p:sp>
                  <p:sp>
                    <p:nvSpPr>
                      <p:cNvPr id="199" name="Freeform 26"/>
                      <p:cNvSpPr>
                        <a:spLocks noChangeArrowheads="1"/>
                      </p:cNvSpPr>
                      <p:nvPr/>
                    </p:nvSpPr>
                    <p:spPr bwMode="auto">
                      <a:xfrm>
                        <a:off x="5681124" y="803599"/>
                        <a:ext cx="464908" cy="574166"/>
                      </a:xfrm>
                      <a:custGeom>
                        <a:avLst/>
                        <a:gdLst>
                          <a:gd name="T0" fmla="*/ 2147483647 w 203"/>
                          <a:gd name="T1" fmla="*/ 2147483647 h 247"/>
                          <a:gd name="T2" fmla="*/ 2147483647 w 203"/>
                          <a:gd name="T3" fmla="*/ 2147483647 h 247"/>
                          <a:gd name="T4" fmla="*/ 2147483647 w 203"/>
                          <a:gd name="T5" fmla="*/ 2147483647 h 247"/>
                          <a:gd name="T6" fmla="*/ 2147483647 w 203"/>
                          <a:gd name="T7" fmla="*/ 2147483647 h 247"/>
                          <a:gd name="T8" fmla="*/ 2147483647 w 203"/>
                          <a:gd name="T9" fmla="*/ 2147483647 h 247"/>
                          <a:gd name="T10" fmla="*/ 2147483647 w 203"/>
                          <a:gd name="T11" fmla="*/ 2147483647 h 247"/>
                          <a:gd name="T12" fmla="*/ 2147483647 w 203"/>
                          <a:gd name="T13" fmla="*/ 2147483647 h 247"/>
                          <a:gd name="T14" fmla="*/ 2147483647 w 203"/>
                          <a:gd name="T15" fmla="*/ 2147483647 h 247"/>
                          <a:gd name="T16" fmla="*/ 2147483647 w 203"/>
                          <a:gd name="T17" fmla="*/ 2147483647 h 247"/>
                          <a:gd name="T18" fmla="*/ 2147483647 w 203"/>
                          <a:gd name="T19" fmla="*/ 2147483647 h 247"/>
                          <a:gd name="T20" fmla="*/ 2147483647 w 203"/>
                          <a:gd name="T21" fmla="*/ 2147483647 h 247"/>
                          <a:gd name="T22" fmla="*/ 2147483647 w 203"/>
                          <a:gd name="T23" fmla="*/ 2147483647 h 247"/>
                          <a:gd name="T24" fmla="*/ 2147483647 w 203"/>
                          <a:gd name="T25" fmla="*/ 2147483647 h 247"/>
                          <a:gd name="T26" fmla="*/ 2147483647 w 203"/>
                          <a:gd name="T27" fmla="*/ 2147483647 h 247"/>
                          <a:gd name="T28" fmla="*/ 2147483647 w 203"/>
                          <a:gd name="T29" fmla="*/ 2147483647 h 247"/>
                          <a:gd name="T30" fmla="*/ 2147483647 w 203"/>
                          <a:gd name="T31" fmla="*/ 2147483647 h 247"/>
                          <a:gd name="T32" fmla="*/ 2147483647 w 203"/>
                          <a:gd name="T33" fmla="*/ 2147483647 h 247"/>
                          <a:gd name="T34" fmla="*/ 2147483647 w 203"/>
                          <a:gd name="T35" fmla="*/ 2147483647 h 247"/>
                          <a:gd name="T36" fmla="*/ 2147483647 w 203"/>
                          <a:gd name="T37" fmla="*/ 2147483647 h 247"/>
                          <a:gd name="T38" fmla="*/ 0 w 203"/>
                          <a:gd name="T39" fmla="*/ 2147483647 h 247"/>
                          <a:gd name="T40" fmla="*/ 2147483647 w 203"/>
                          <a:gd name="T41" fmla="*/ 2147483647 h 247"/>
                          <a:gd name="T42" fmla="*/ 2147483647 w 203"/>
                          <a:gd name="T43" fmla="*/ 2147483647 h 247"/>
                          <a:gd name="T44" fmla="*/ 2147483647 w 203"/>
                          <a:gd name="T45" fmla="*/ 2147483647 h 247"/>
                          <a:gd name="T46" fmla="*/ 2147483647 w 203"/>
                          <a:gd name="T47" fmla="*/ 2147483647 h 247"/>
                          <a:gd name="T48" fmla="*/ 2147483647 w 203"/>
                          <a:gd name="T49" fmla="*/ 2147483647 h 247"/>
                          <a:gd name="T50" fmla="*/ 2147483647 w 203"/>
                          <a:gd name="T51" fmla="*/ 2147483647 h 247"/>
                          <a:gd name="T52" fmla="*/ 2147483647 w 203"/>
                          <a:gd name="T53" fmla="*/ 0 h 247"/>
                          <a:gd name="T54" fmla="*/ 2147483647 w 203"/>
                          <a:gd name="T55" fmla="*/ 2147483647 h 247"/>
                          <a:gd name="T56" fmla="*/ 2147483647 w 203"/>
                          <a:gd name="T57" fmla="*/ 2147483647 h 247"/>
                          <a:gd name="T58" fmla="*/ 2147483647 w 203"/>
                          <a:gd name="T59" fmla="*/ 2147483647 h 247"/>
                          <a:gd name="T60" fmla="*/ 2147483647 w 203"/>
                          <a:gd name="T61" fmla="*/ 2147483647 h 247"/>
                          <a:gd name="T62" fmla="*/ 2147483647 w 203"/>
                          <a:gd name="T63" fmla="*/ 2147483647 h 247"/>
                          <a:gd name="T64" fmla="*/ 2147483647 w 203"/>
                          <a:gd name="T65" fmla="*/ 2147483647 h 247"/>
                          <a:gd name="T66" fmla="*/ 2147483647 w 203"/>
                          <a:gd name="T67" fmla="*/ 2147483647 h 247"/>
                          <a:gd name="T68" fmla="*/ 2147483647 w 203"/>
                          <a:gd name="T69" fmla="*/ 2147483647 h 247"/>
                          <a:gd name="T70" fmla="*/ 2147483647 w 203"/>
                          <a:gd name="T71" fmla="*/ 2147483647 h 24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03"/>
                          <a:gd name="T109" fmla="*/ 0 h 247"/>
                          <a:gd name="T110" fmla="*/ 203 w 203"/>
                          <a:gd name="T111" fmla="*/ 247 h 24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03" h="247">
                            <a:moveTo>
                              <a:pt x="203" y="203"/>
                            </a:moveTo>
                            <a:lnTo>
                              <a:pt x="167" y="203"/>
                            </a:lnTo>
                            <a:lnTo>
                              <a:pt x="155" y="211"/>
                            </a:lnTo>
                            <a:lnTo>
                              <a:pt x="155" y="223"/>
                            </a:lnTo>
                            <a:lnTo>
                              <a:pt x="143" y="235"/>
                            </a:lnTo>
                            <a:lnTo>
                              <a:pt x="135" y="235"/>
                            </a:lnTo>
                            <a:lnTo>
                              <a:pt x="124" y="223"/>
                            </a:lnTo>
                            <a:lnTo>
                              <a:pt x="112" y="223"/>
                            </a:lnTo>
                            <a:lnTo>
                              <a:pt x="100" y="247"/>
                            </a:lnTo>
                            <a:lnTo>
                              <a:pt x="76" y="235"/>
                            </a:lnTo>
                            <a:lnTo>
                              <a:pt x="68" y="223"/>
                            </a:lnTo>
                            <a:lnTo>
                              <a:pt x="76" y="211"/>
                            </a:lnTo>
                            <a:lnTo>
                              <a:pt x="76" y="179"/>
                            </a:lnTo>
                            <a:lnTo>
                              <a:pt x="68" y="155"/>
                            </a:lnTo>
                            <a:lnTo>
                              <a:pt x="68" y="135"/>
                            </a:lnTo>
                            <a:lnTo>
                              <a:pt x="56" y="123"/>
                            </a:lnTo>
                            <a:lnTo>
                              <a:pt x="32" y="111"/>
                            </a:lnTo>
                            <a:lnTo>
                              <a:pt x="20" y="87"/>
                            </a:lnTo>
                            <a:lnTo>
                              <a:pt x="20" y="68"/>
                            </a:lnTo>
                            <a:lnTo>
                              <a:pt x="0" y="56"/>
                            </a:lnTo>
                            <a:lnTo>
                              <a:pt x="8" y="44"/>
                            </a:lnTo>
                            <a:lnTo>
                              <a:pt x="56" y="56"/>
                            </a:lnTo>
                            <a:lnTo>
                              <a:pt x="68" y="56"/>
                            </a:lnTo>
                            <a:lnTo>
                              <a:pt x="76" y="68"/>
                            </a:lnTo>
                            <a:lnTo>
                              <a:pt x="88" y="44"/>
                            </a:lnTo>
                            <a:lnTo>
                              <a:pt x="135" y="20"/>
                            </a:lnTo>
                            <a:lnTo>
                              <a:pt x="135" y="0"/>
                            </a:lnTo>
                            <a:lnTo>
                              <a:pt x="155" y="8"/>
                            </a:lnTo>
                            <a:lnTo>
                              <a:pt x="155" y="32"/>
                            </a:lnTo>
                            <a:lnTo>
                              <a:pt x="167" y="32"/>
                            </a:lnTo>
                            <a:lnTo>
                              <a:pt x="179" y="56"/>
                            </a:lnTo>
                            <a:lnTo>
                              <a:pt x="167" y="87"/>
                            </a:lnTo>
                            <a:lnTo>
                              <a:pt x="179" y="135"/>
                            </a:lnTo>
                            <a:lnTo>
                              <a:pt x="191" y="143"/>
                            </a:lnTo>
                            <a:lnTo>
                              <a:pt x="203" y="179"/>
                            </a:lnTo>
                            <a:lnTo>
                              <a:pt x="203" y="203"/>
                            </a:lnTo>
                            <a:close/>
                          </a:path>
                        </a:pathLst>
                      </a:custGeom>
                      <a:solidFill>
                        <a:srgbClr val="FFFFFF"/>
                      </a:solidFill>
                      <a:ln w="9360">
                        <a:solidFill>
                          <a:srgbClr val="969696"/>
                        </a:solidFill>
                        <a:round/>
                        <a:headEnd/>
                        <a:tailEnd/>
                      </a:ln>
                    </p:spPr>
                    <p:txBody>
                      <a:bodyPr wrap="none" anchor="ctr"/>
                      <a:lstStyle/>
                      <a:p>
                        <a:endParaRPr lang="pt-BR"/>
                      </a:p>
                    </p:txBody>
                  </p:sp>
                  <p:grpSp>
                    <p:nvGrpSpPr>
                      <p:cNvPr id="200" name="Group 362"/>
                      <p:cNvGrpSpPr>
                        <a:grpSpLocks/>
                      </p:cNvGrpSpPr>
                      <p:nvPr/>
                    </p:nvGrpSpPr>
                    <p:grpSpPr bwMode="auto">
                      <a:xfrm>
                        <a:off x="4900596" y="1051337"/>
                        <a:ext cx="3943732" cy="2925358"/>
                        <a:chOff x="5795288" y="1167617"/>
                        <a:chExt cx="3063115" cy="2607880"/>
                      </a:xfrm>
                    </p:grpSpPr>
                    <p:sp>
                      <p:nvSpPr>
                        <p:cNvPr id="201" name="Freeform 12"/>
                        <p:cNvSpPr>
                          <a:spLocks noChangeArrowheads="1"/>
                        </p:cNvSpPr>
                        <p:nvPr/>
                      </p:nvSpPr>
                      <p:spPr bwMode="auto">
                        <a:xfrm>
                          <a:off x="8028472" y="1832762"/>
                          <a:ext cx="460869" cy="154577"/>
                        </a:xfrm>
                        <a:custGeom>
                          <a:avLst/>
                          <a:gdLst>
                            <a:gd name="T0" fmla="*/ 2147483647 w 239"/>
                            <a:gd name="T1" fmla="*/ 0 h 79"/>
                            <a:gd name="T2" fmla="*/ 2147483647 w 239"/>
                            <a:gd name="T3" fmla="*/ 0 h 79"/>
                            <a:gd name="T4" fmla="*/ 2147483647 w 239"/>
                            <a:gd name="T5" fmla="*/ 2147483647 h 79"/>
                            <a:gd name="T6" fmla="*/ 2147483647 w 239"/>
                            <a:gd name="T7" fmla="*/ 2147483647 h 79"/>
                            <a:gd name="T8" fmla="*/ 2147483647 w 239"/>
                            <a:gd name="T9" fmla="*/ 2147483647 h 79"/>
                            <a:gd name="T10" fmla="*/ 2147483647 w 239"/>
                            <a:gd name="T11" fmla="*/ 2147483647 h 79"/>
                            <a:gd name="T12" fmla="*/ 2147483647 w 239"/>
                            <a:gd name="T13" fmla="*/ 2147483647 h 79"/>
                            <a:gd name="T14" fmla="*/ 2147483647 w 239"/>
                            <a:gd name="T15" fmla="*/ 2147483647 h 79"/>
                            <a:gd name="T16" fmla="*/ 2147483647 w 239"/>
                            <a:gd name="T17" fmla="*/ 2147483647 h 79"/>
                            <a:gd name="T18" fmla="*/ 2147483647 w 239"/>
                            <a:gd name="T19" fmla="*/ 2147483647 h 79"/>
                            <a:gd name="T20" fmla="*/ 2147483647 w 239"/>
                            <a:gd name="T21" fmla="*/ 2147483647 h 79"/>
                            <a:gd name="T22" fmla="*/ 2147483647 w 239"/>
                            <a:gd name="T23" fmla="*/ 2147483647 h 79"/>
                            <a:gd name="T24" fmla="*/ 2147483647 w 239"/>
                            <a:gd name="T25" fmla="*/ 2147483647 h 79"/>
                            <a:gd name="T26" fmla="*/ 2147483647 w 239"/>
                            <a:gd name="T27" fmla="*/ 2147483647 h 79"/>
                            <a:gd name="T28" fmla="*/ 2147483647 w 239"/>
                            <a:gd name="T29" fmla="*/ 2147483647 h 79"/>
                            <a:gd name="T30" fmla="*/ 2147483647 w 239"/>
                            <a:gd name="T31" fmla="*/ 2147483647 h 79"/>
                            <a:gd name="T32" fmla="*/ 2147483647 w 239"/>
                            <a:gd name="T33" fmla="*/ 2147483647 h 79"/>
                            <a:gd name="T34" fmla="*/ 0 w 239"/>
                            <a:gd name="T35" fmla="*/ 2147483647 h 79"/>
                            <a:gd name="T36" fmla="*/ 2147483647 w 239"/>
                            <a:gd name="T37" fmla="*/ 2147483647 h 79"/>
                            <a:gd name="T38" fmla="*/ 2147483647 w 239"/>
                            <a:gd name="T39" fmla="*/ 2147483647 h 79"/>
                            <a:gd name="T40" fmla="*/ 2147483647 w 239"/>
                            <a:gd name="T41" fmla="*/ 2147483647 h 79"/>
                            <a:gd name="T42" fmla="*/ 2147483647 w 239"/>
                            <a:gd name="T43" fmla="*/ 2147483647 h 79"/>
                            <a:gd name="T44" fmla="*/ 2147483647 w 239"/>
                            <a:gd name="T45" fmla="*/ 2147483647 h 79"/>
                            <a:gd name="T46" fmla="*/ 2147483647 w 239"/>
                            <a:gd name="T47" fmla="*/ 2147483647 h 79"/>
                            <a:gd name="T48" fmla="*/ 2147483647 w 239"/>
                            <a:gd name="T49" fmla="*/ 2147483647 h 79"/>
                            <a:gd name="T50" fmla="*/ 2147483647 w 239"/>
                            <a:gd name="T51" fmla="*/ 2147483647 h 79"/>
                            <a:gd name="T52" fmla="*/ 2147483647 w 239"/>
                            <a:gd name="T53" fmla="*/ 2147483647 h 79"/>
                            <a:gd name="T54" fmla="*/ 2147483647 w 239"/>
                            <a:gd name="T55" fmla="*/ 2147483647 h 79"/>
                            <a:gd name="T56" fmla="*/ 2147483647 w 239"/>
                            <a:gd name="T57" fmla="*/ 2147483647 h 79"/>
                            <a:gd name="T58" fmla="*/ 2147483647 w 239"/>
                            <a:gd name="T59" fmla="*/ 2147483647 h 79"/>
                            <a:gd name="T60" fmla="*/ 2147483647 w 239"/>
                            <a:gd name="T61" fmla="*/ 2147483647 h 79"/>
                            <a:gd name="T62" fmla="*/ 2147483647 w 239"/>
                            <a:gd name="T63" fmla="*/ 2147483647 h 79"/>
                            <a:gd name="T64" fmla="*/ 2147483647 w 239"/>
                            <a:gd name="T65" fmla="*/ 0 h 7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39"/>
                            <a:gd name="T100" fmla="*/ 0 h 79"/>
                            <a:gd name="T101" fmla="*/ 239 w 239"/>
                            <a:gd name="T102" fmla="*/ 79 h 7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39" h="79">
                              <a:moveTo>
                                <a:pt x="239" y="0"/>
                              </a:moveTo>
                              <a:lnTo>
                                <a:pt x="227" y="0"/>
                              </a:lnTo>
                              <a:lnTo>
                                <a:pt x="203" y="23"/>
                              </a:lnTo>
                              <a:lnTo>
                                <a:pt x="179" y="23"/>
                              </a:lnTo>
                              <a:lnTo>
                                <a:pt x="171" y="23"/>
                              </a:lnTo>
                              <a:lnTo>
                                <a:pt x="159" y="35"/>
                              </a:lnTo>
                              <a:lnTo>
                                <a:pt x="136" y="35"/>
                              </a:lnTo>
                              <a:lnTo>
                                <a:pt x="148" y="11"/>
                              </a:lnTo>
                              <a:lnTo>
                                <a:pt x="136" y="11"/>
                              </a:lnTo>
                              <a:lnTo>
                                <a:pt x="112" y="23"/>
                              </a:lnTo>
                              <a:lnTo>
                                <a:pt x="104" y="35"/>
                              </a:lnTo>
                              <a:lnTo>
                                <a:pt x="68" y="23"/>
                              </a:lnTo>
                              <a:lnTo>
                                <a:pt x="56" y="23"/>
                              </a:lnTo>
                              <a:lnTo>
                                <a:pt x="44" y="11"/>
                              </a:lnTo>
                              <a:lnTo>
                                <a:pt x="24" y="11"/>
                              </a:lnTo>
                              <a:lnTo>
                                <a:pt x="12" y="23"/>
                              </a:lnTo>
                              <a:lnTo>
                                <a:pt x="12" y="43"/>
                              </a:lnTo>
                              <a:lnTo>
                                <a:pt x="0" y="55"/>
                              </a:lnTo>
                              <a:lnTo>
                                <a:pt x="12" y="67"/>
                              </a:lnTo>
                              <a:lnTo>
                                <a:pt x="12" y="79"/>
                              </a:lnTo>
                              <a:lnTo>
                                <a:pt x="36" y="79"/>
                              </a:lnTo>
                              <a:lnTo>
                                <a:pt x="56" y="55"/>
                              </a:lnTo>
                              <a:lnTo>
                                <a:pt x="104" y="67"/>
                              </a:lnTo>
                              <a:lnTo>
                                <a:pt x="104" y="79"/>
                              </a:lnTo>
                              <a:lnTo>
                                <a:pt x="112" y="79"/>
                              </a:lnTo>
                              <a:lnTo>
                                <a:pt x="124" y="67"/>
                              </a:lnTo>
                              <a:lnTo>
                                <a:pt x="148" y="67"/>
                              </a:lnTo>
                              <a:lnTo>
                                <a:pt x="171" y="79"/>
                              </a:lnTo>
                              <a:lnTo>
                                <a:pt x="179" y="79"/>
                              </a:lnTo>
                              <a:lnTo>
                                <a:pt x="191" y="67"/>
                              </a:lnTo>
                              <a:lnTo>
                                <a:pt x="227" y="67"/>
                              </a:lnTo>
                              <a:lnTo>
                                <a:pt x="239" y="35"/>
                              </a:lnTo>
                              <a:lnTo>
                                <a:pt x="239" y="0"/>
                              </a:lnTo>
                              <a:close/>
                            </a:path>
                          </a:pathLst>
                        </a:custGeom>
                        <a:solidFill>
                          <a:srgbClr val="FFFFFF"/>
                        </a:solidFill>
                        <a:ln w="9360">
                          <a:solidFill>
                            <a:srgbClr val="969696"/>
                          </a:solidFill>
                          <a:round/>
                          <a:headEnd/>
                          <a:tailEnd/>
                        </a:ln>
                      </p:spPr>
                      <p:txBody>
                        <a:bodyPr wrap="none" anchor="ctr"/>
                        <a:lstStyle/>
                        <a:p>
                          <a:endParaRPr lang="pt-BR"/>
                        </a:p>
                      </p:txBody>
                    </p:sp>
                    <p:sp>
                      <p:nvSpPr>
                        <p:cNvPr id="202" name="Freeform 15"/>
                        <p:cNvSpPr>
                          <a:spLocks noChangeArrowheads="1"/>
                        </p:cNvSpPr>
                        <p:nvPr/>
                      </p:nvSpPr>
                      <p:spPr bwMode="auto">
                        <a:xfrm>
                          <a:off x="8007010" y="1543516"/>
                          <a:ext cx="306116" cy="333743"/>
                        </a:xfrm>
                        <a:custGeom>
                          <a:avLst/>
                          <a:gdLst>
                            <a:gd name="T0" fmla="*/ 2147483647 w 160"/>
                            <a:gd name="T1" fmla="*/ 2147483647 h 171"/>
                            <a:gd name="T2" fmla="*/ 2147483647 w 160"/>
                            <a:gd name="T3" fmla="*/ 2147483647 h 171"/>
                            <a:gd name="T4" fmla="*/ 2147483647 w 160"/>
                            <a:gd name="T5" fmla="*/ 2147483647 h 171"/>
                            <a:gd name="T6" fmla="*/ 2147483647 w 160"/>
                            <a:gd name="T7" fmla="*/ 2147483647 h 171"/>
                            <a:gd name="T8" fmla="*/ 2147483647 w 160"/>
                            <a:gd name="T9" fmla="*/ 0 h 171"/>
                            <a:gd name="T10" fmla="*/ 0 w 160"/>
                            <a:gd name="T11" fmla="*/ 0 h 171"/>
                            <a:gd name="T12" fmla="*/ 0 w 160"/>
                            <a:gd name="T13" fmla="*/ 2147483647 h 171"/>
                            <a:gd name="T14" fmla="*/ 0 w 160"/>
                            <a:gd name="T15" fmla="*/ 2147483647 h 171"/>
                            <a:gd name="T16" fmla="*/ 2147483647 w 160"/>
                            <a:gd name="T17" fmla="*/ 2147483647 h 171"/>
                            <a:gd name="T18" fmla="*/ 2147483647 w 160"/>
                            <a:gd name="T19" fmla="*/ 2147483647 h 171"/>
                            <a:gd name="T20" fmla="*/ 2147483647 w 160"/>
                            <a:gd name="T21" fmla="*/ 2147483647 h 171"/>
                            <a:gd name="T22" fmla="*/ 2147483647 w 160"/>
                            <a:gd name="T23" fmla="*/ 2147483647 h 171"/>
                            <a:gd name="T24" fmla="*/ 2147483647 w 160"/>
                            <a:gd name="T25" fmla="*/ 2147483647 h 171"/>
                            <a:gd name="T26" fmla="*/ 2147483647 w 160"/>
                            <a:gd name="T27" fmla="*/ 2147483647 h 171"/>
                            <a:gd name="T28" fmla="*/ 2147483647 w 160"/>
                            <a:gd name="T29" fmla="*/ 2147483647 h 171"/>
                            <a:gd name="T30" fmla="*/ 2147483647 w 160"/>
                            <a:gd name="T31" fmla="*/ 2147483647 h 171"/>
                            <a:gd name="T32" fmla="*/ 2147483647 w 160"/>
                            <a:gd name="T33" fmla="*/ 2147483647 h 171"/>
                            <a:gd name="T34" fmla="*/ 2147483647 w 160"/>
                            <a:gd name="T35" fmla="*/ 2147483647 h 171"/>
                            <a:gd name="T36" fmla="*/ 2147483647 w 160"/>
                            <a:gd name="T37" fmla="*/ 2147483647 h 171"/>
                            <a:gd name="T38" fmla="*/ 2147483647 w 160"/>
                            <a:gd name="T39" fmla="*/ 2147483647 h 171"/>
                            <a:gd name="T40" fmla="*/ 2147483647 w 160"/>
                            <a:gd name="T41" fmla="*/ 2147483647 h 17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60"/>
                            <a:gd name="T64" fmla="*/ 0 h 171"/>
                            <a:gd name="T65" fmla="*/ 160 w 160"/>
                            <a:gd name="T66" fmla="*/ 171 h 17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60" h="171">
                              <a:moveTo>
                                <a:pt x="160" y="56"/>
                              </a:moveTo>
                              <a:lnTo>
                                <a:pt x="124" y="36"/>
                              </a:lnTo>
                              <a:lnTo>
                                <a:pt x="116" y="36"/>
                              </a:lnTo>
                              <a:lnTo>
                                <a:pt x="92" y="12"/>
                              </a:lnTo>
                              <a:lnTo>
                                <a:pt x="56" y="0"/>
                              </a:lnTo>
                              <a:lnTo>
                                <a:pt x="0" y="0"/>
                              </a:lnTo>
                              <a:lnTo>
                                <a:pt x="0" y="24"/>
                              </a:lnTo>
                              <a:lnTo>
                                <a:pt x="0" y="48"/>
                              </a:lnTo>
                              <a:lnTo>
                                <a:pt x="12" y="92"/>
                              </a:lnTo>
                              <a:lnTo>
                                <a:pt x="12" y="116"/>
                              </a:lnTo>
                              <a:lnTo>
                                <a:pt x="36" y="148"/>
                              </a:lnTo>
                              <a:lnTo>
                                <a:pt x="36" y="159"/>
                              </a:lnTo>
                              <a:lnTo>
                                <a:pt x="56" y="159"/>
                              </a:lnTo>
                              <a:lnTo>
                                <a:pt x="68" y="171"/>
                              </a:lnTo>
                              <a:lnTo>
                                <a:pt x="80" y="171"/>
                              </a:lnTo>
                              <a:lnTo>
                                <a:pt x="92" y="159"/>
                              </a:lnTo>
                              <a:lnTo>
                                <a:pt x="104" y="124"/>
                              </a:lnTo>
                              <a:lnTo>
                                <a:pt x="124" y="92"/>
                              </a:lnTo>
                              <a:lnTo>
                                <a:pt x="136" y="68"/>
                              </a:lnTo>
                              <a:lnTo>
                                <a:pt x="148" y="56"/>
                              </a:lnTo>
                              <a:lnTo>
                                <a:pt x="160" y="56"/>
                              </a:lnTo>
                              <a:close/>
                            </a:path>
                          </a:pathLst>
                        </a:custGeom>
                        <a:solidFill>
                          <a:srgbClr val="FFFFFF"/>
                        </a:solidFill>
                        <a:ln w="9360">
                          <a:solidFill>
                            <a:srgbClr val="969696"/>
                          </a:solidFill>
                          <a:round/>
                          <a:headEnd/>
                          <a:tailEnd/>
                        </a:ln>
                      </p:spPr>
                      <p:txBody>
                        <a:bodyPr wrap="none" anchor="ctr"/>
                        <a:lstStyle/>
                        <a:p>
                          <a:endParaRPr lang="pt-BR"/>
                        </a:p>
                      </p:txBody>
                    </p:sp>
                    <p:sp>
                      <p:nvSpPr>
                        <p:cNvPr id="203" name="Freeform 5"/>
                        <p:cNvSpPr>
                          <a:spLocks noChangeArrowheads="1"/>
                        </p:cNvSpPr>
                        <p:nvPr/>
                      </p:nvSpPr>
                      <p:spPr bwMode="auto">
                        <a:xfrm>
                          <a:off x="7230986" y="2762557"/>
                          <a:ext cx="558014" cy="370046"/>
                        </a:xfrm>
                        <a:custGeom>
                          <a:avLst/>
                          <a:gdLst>
                            <a:gd name="T0" fmla="*/ 2147483647 w 294"/>
                            <a:gd name="T1" fmla="*/ 2147483647 h 191"/>
                            <a:gd name="T2" fmla="*/ 2147483647 w 294"/>
                            <a:gd name="T3" fmla="*/ 2147483647 h 191"/>
                            <a:gd name="T4" fmla="*/ 2147483647 w 294"/>
                            <a:gd name="T5" fmla="*/ 2147483647 h 191"/>
                            <a:gd name="T6" fmla="*/ 2147483647 w 294"/>
                            <a:gd name="T7" fmla="*/ 2147483647 h 191"/>
                            <a:gd name="T8" fmla="*/ 2147483647 w 294"/>
                            <a:gd name="T9" fmla="*/ 2147483647 h 191"/>
                            <a:gd name="T10" fmla="*/ 2147483647 w 294"/>
                            <a:gd name="T11" fmla="*/ 2147483647 h 191"/>
                            <a:gd name="T12" fmla="*/ 2147483647 w 294"/>
                            <a:gd name="T13" fmla="*/ 2147483647 h 191"/>
                            <a:gd name="T14" fmla="*/ 2147483647 w 294"/>
                            <a:gd name="T15" fmla="*/ 2147483647 h 191"/>
                            <a:gd name="T16" fmla="*/ 2147483647 w 294"/>
                            <a:gd name="T17" fmla="*/ 2147483647 h 191"/>
                            <a:gd name="T18" fmla="*/ 2147483647 w 294"/>
                            <a:gd name="T19" fmla="*/ 2147483647 h 191"/>
                            <a:gd name="T20" fmla="*/ 2147483647 w 294"/>
                            <a:gd name="T21" fmla="*/ 2147483647 h 191"/>
                            <a:gd name="T22" fmla="*/ 2147483647 w 294"/>
                            <a:gd name="T23" fmla="*/ 0 h 191"/>
                            <a:gd name="T24" fmla="*/ 2147483647 w 294"/>
                            <a:gd name="T25" fmla="*/ 2147483647 h 191"/>
                            <a:gd name="T26" fmla="*/ 2147483647 w 294"/>
                            <a:gd name="T27" fmla="*/ 0 h 191"/>
                            <a:gd name="T28" fmla="*/ 2147483647 w 294"/>
                            <a:gd name="T29" fmla="*/ 0 h 191"/>
                            <a:gd name="T30" fmla="*/ 2147483647 w 294"/>
                            <a:gd name="T31" fmla="*/ 2147483647 h 191"/>
                            <a:gd name="T32" fmla="*/ 2147483647 w 294"/>
                            <a:gd name="T33" fmla="*/ 2147483647 h 191"/>
                            <a:gd name="T34" fmla="*/ 2147483647 w 294"/>
                            <a:gd name="T35" fmla="*/ 2147483647 h 191"/>
                            <a:gd name="T36" fmla="*/ 0 w 294"/>
                            <a:gd name="T37" fmla="*/ 2147483647 h 191"/>
                            <a:gd name="T38" fmla="*/ 2147483647 w 294"/>
                            <a:gd name="T39" fmla="*/ 2147483647 h 191"/>
                            <a:gd name="T40" fmla="*/ 2147483647 w 294"/>
                            <a:gd name="T41" fmla="*/ 2147483647 h 191"/>
                            <a:gd name="T42" fmla="*/ 2147483647 w 294"/>
                            <a:gd name="T43" fmla="*/ 2147483647 h 191"/>
                            <a:gd name="T44" fmla="*/ 2147483647 w 294"/>
                            <a:gd name="T45" fmla="*/ 2147483647 h 191"/>
                            <a:gd name="T46" fmla="*/ 2147483647 w 294"/>
                            <a:gd name="T47" fmla="*/ 2147483647 h 191"/>
                            <a:gd name="T48" fmla="*/ 2147483647 w 294"/>
                            <a:gd name="T49" fmla="*/ 2147483647 h 191"/>
                            <a:gd name="T50" fmla="*/ 2147483647 w 294"/>
                            <a:gd name="T51" fmla="*/ 2147483647 h 191"/>
                            <a:gd name="T52" fmla="*/ 2147483647 w 294"/>
                            <a:gd name="T53" fmla="*/ 2147483647 h 191"/>
                            <a:gd name="T54" fmla="*/ 2147483647 w 294"/>
                            <a:gd name="T55" fmla="*/ 2147483647 h 191"/>
                            <a:gd name="T56" fmla="*/ 2147483647 w 294"/>
                            <a:gd name="T57" fmla="*/ 2147483647 h 191"/>
                            <a:gd name="T58" fmla="*/ 2147483647 w 294"/>
                            <a:gd name="T59" fmla="*/ 2147483647 h 191"/>
                            <a:gd name="T60" fmla="*/ 2147483647 w 294"/>
                            <a:gd name="T61" fmla="*/ 2147483647 h 191"/>
                            <a:gd name="T62" fmla="*/ 2147483647 w 294"/>
                            <a:gd name="T63" fmla="*/ 2147483647 h 19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4"/>
                            <a:gd name="T97" fmla="*/ 0 h 191"/>
                            <a:gd name="T98" fmla="*/ 294 w 294"/>
                            <a:gd name="T99" fmla="*/ 191 h 19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4" h="191">
                              <a:moveTo>
                                <a:pt x="282" y="123"/>
                              </a:moveTo>
                              <a:lnTo>
                                <a:pt x="282" y="115"/>
                              </a:lnTo>
                              <a:lnTo>
                                <a:pt x="294" y="103"/>
                              </a:lnTo>
                              <a:lnTo>
                                <a:pt x="270" y="103"/>
                              </a:lnTo>
                              <a:lnTo>
                                <a:pt x="250" y="103"/>
                              </a:lnTo>
                              <a:lnTo>
                                <a:pt x="226" y="91"/>
                              </a:lnTo>
                              <a:lnTo>
                                <a:pt x="215" y="68"/>
                              </a:lnTo>
                              <a:lnTo>
                                <a:pt x="215" y="56"/>
                              </a:lnTo>
                              <a:lnTo>
                                <a:pt x="203" y="48"/>
                              </a:lnTo>
                              <a:lnTo>
                                <a:pt x="203" y="24"/>
                              </a:lnTo>
                              <a:lnTo>
                                <a:pt x="191" y="12"/>
                              </a:lnTo>
                              <a:lnTo>
                                <a:pt x="171" y="0"/>
                              </a:lnTo>
                              <a:lnTo>
                                <a:pt x="135" y="12"/>
                              </a:lnTo>
                              <a:lnTo>
                                <a:pt x="115" y="0"/>
                              </a:lnTo>
                              <a:lnTo>
                                <a:pt x="79" y="0"/>
                              </a:lnTo>
                              <a:lnTo>
                                <a:pt x="55" y="36"/>
                              </a:lnTo>
                              <a:lnTo>
                                <a:pt x="36" y="68"/>
                              </a:lnTo>
                              <a:lnTo>
                                <a:pt x="12" y="91"/>
                              </a:lnTo>
                              <a:lnTo>
                                <a:pt x="0" y="103"/>
                              </a:lnTo>
                              <a:lnTo>
                                <a:pt x="24" y="103"/>
                              </a:lnTo>
                              <a:lnTo>
                                <a:pt x="55" y="115"/>
                              </a:lnTo>
                              <a:lnTo>
                                <a:pt x="91" y="115"/>
                              </a:lnTo>
                              <a:lnTo>
                                <a:pt x="103" y="123"/>
                              </a:lnTo>
                              <a:lnTo>
                                <a:pt x="115" y="135"/>
                              </a:lnTo>
                              <a:lnTo>
                                <a:pt x="135" y="171"/>
                              </a:lnTo>
                              <a:lnTo>
                                <a:pt x="147" y="171"/>
                              </a:lnTo>
                              <a:lnTo>
                                <a:pt x="171" y="191"/>
                              </a:lnTo>
                              <a:lnTo>
                                <a:pt x="183" y="191"/>
                              </a:lnTo>
                              <a:lnTo>
                                <a:pt x="191" y="183"/>
                              </a:lnTo>
                              <a:lnTo>
                                <a:pt x="226" y="159"/>
                              </a:lnTo>
                              <a:lnTo>
                                <a:pt x="258" y="135"/>
                              </a:lnTo>
                              <a:lnTo>
                                <a:pt x="282" y="123"/>
                              </a:lnTo>
                              <a:close/>
                            </a:path>
                          </a:pathLst>
                        </a:custGeom>
                        <a:solidFill>
                          <a:srgbClr val="FFFFFF"/>
                        </a:solidFill>
                        <a:ln w="9360">
                          <a:solidFill>
                            <a:srgbClr val="969696"/>
                          </a:solidFill>
                          <a:round/>
                          <a:headEnd/>
                          <a:tailEnd/>
                        </a:ln>
                      </p:spPr>
                      <p:txBody>
                        <a:bodyPr wrap="none" anchor="ctr"/>
                        <a:lstStyle/>
                        <a:p>
                          <a:endParaRPr lang="pt-BR"/>
                        </a:p>
                      </p:txBody>
                    </p:sp>
                    <p:sp>
                      <p:nvSpPr>
                        <p:cNvPr id="204" name="Freeform 5"/>
                        <p:cNvSpPr>
                          <a:spLocks noChangeArrowheads="1"/>
                        </p:cNvSpPr>
                        <p:nvPr/>
                      </p:nvSpPr>
                      <p:spPr bwMode="auto">
                        <a:xfrm>
                          <a:off x="7229858" y="2757874"/>
                          <a:ext cx="0" cy="63235"/>
                        </a:xfrm>
                        <a:custGeom>
                          <a:avLst/>
                          <a:gdLst>
                            <a:gd name="T0" fmla="*/ 0 w 294"/>
                            <a:gd name="T1" fmla="*/ 2147483647 h 191"/>
                            <a:gd name="T2" fmla="*/ 0 w 294"/>
                            <a:gd name="T3" fmla="*/ 2147483647 h 191"/>
                            <a:gd name="T4" fmla="*/ 0 w 294"/>
                            <a:gd name="T5" fmla="*/ 2147483647 h 191"/>
                            <a:gd name="T6" fmla="*/ 0 w 294"/>
                            <a:gd name="T7" fmla="*/ 2147483647 h 191"/>
                            <a:gd name="T8" fmla="*/ 0 w 294"/>
                            <a:gd name="T9" fmla="*/ 2147483647 h 191"/>
                            <a:gd name="T10" fmla="*/ 0 w 294"/>
                            <a:gd name="T11" fmla="*/ 2147483647 h 191"/>
                            <a:gd name="T12" fmla="*/ 0 w 294"/>
                            <a:gd name="T13" fmla="*/ 2147483647 h 191"/>
                            <a:gd name="T14" fmla="*/ 0 w 294"/>
                            <a:gd name="T15" fmla="*/ 2147483647 h 191"/>
                            <a:gd name="T16" fmla="*/ 0 w 294"/>
                            <a:gd name="T17" fmla="*/ 2147483647 h 191"/>
                            <a:gd name="T18" fmla="*/ 0 w 294"/>
                            <a:gd name="T19" fmla="*/ 2147483647 h 191"/>
                            <a:gd name="T20" fmla="*/ 0 w 294"/>
                            <a:gd name="T21" fmla="*/ 2147483647 h 191"/>
                            <a:gd name="T22" fmla="*/ 0 w 294"/>
                            <a:gd name="T23" fmla="*/ 0 h 191"/>
                            <a:gd name="T24" fmla="*/ 0 w 294"/>
                            <a:gd name="T25" fmla="*/ 2147483647 h 191"/>
                            <a:gd name="T26" fmla="*/ 0 w 294"/>
                            <a:gd name="T27" fmla="*/ 0 h 191"/>
                            <a:gd name="T28" fmla="*/ 0 w 294"/>
                            <a:gd name="T29" fmla="*/ 0 h 191"/>
                            <a:gd name="T30" fmla="*/ 0 w 294"/>
                            <a:gd name="T31" fmla="*/ 2147483647 h 191"/>
                            <a:gd name="T32" fmla="*/ 0 w 294"/>
                            <a:gd name="T33" fmla="*/ 2147483647 h 191"/>
                            <a:gd name="T34" fmla="*/ 0 w 294"/>
                            <a:gd name="T35" fmla="*/ 2147483647 h 191"/>
                            <a:gd name="T36" fmla="*/ 0 w 294"/>
                            <a:gd name="T37" fmla="*/ 2147483647 h 191"/>
                            <a:gd name="T38" fmla="*/ 0 w 294"/>
                            <a:gd name="T39" fmla="*/ 2147483647 h 191"/>
                            <a:gd name="T40" fmla="*/ 0 w 294"/>
                            <a:gd name="T41" fmla="*/ 2147483647 h 191"/>
                            <a:gd name="T42" fmla="*/ 0 w 294"/>
                            <a:gd name="T43" fmla="*/ 2147483647 h 191"/>
                            <a:gd name="T44" fmla="*/ 0 w 294"/>
                            <a:gd name="T45" fmla="*/ 2147483647 h 191"/>
                            <a:gd name="T46" fmla="*/ 0 w 294"/>
                            <a:gd name="T47" fmla="*/ 2147483647 h 191"/>
                            <a:gd name="T48" fmla="*/ 0 w 294"/>
                            <a:gd name="T49" fmla="*/ 2147483647 h 191"/>
                            <a:gd name="T50" fmla="*/ 0 w 294"/>
                            <a:gd name="T51" fmla="*/ 2147483647 h 191"/>
                            <a:gd name="T52" fmla="*/ 0 w 294"/>
                            <a:gd name="T53" fmla="*/ 2147483647 h 191"/>
                            <a:gd name="T54" fmla="*/ 0 w 294"/>
                            <a:gd name="T55" fmla="*/ 2147483647 h 191"/>
                            <a:gd name="T56" fmla="*/ 0 w 294"/>
                            <a:gd name="T57" fmla="*/ 2147483647 h 191"/>
                            <a:gd name="T58" fmla="*/ 0 w 294"/>
                            <a:gd name="T59" fmla="*/ 2147483647 h 191"/>
                            <a:gd name="T60" fmla="*/ 0 w 294"/>
                            <a:gd name="T61" fmla="*/ 2147483647 h 191"/>
                            <a:gd name="T62" fmla="*/ 0 w 294"/>
                            <a:gd name="T63" fmla="*/ 2147483647 h 19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4"/>
                            <a:gd name="T97" fmla="*/ 0 h 191"/>
                            <a:gd name="T98" fmla="*/ 0 w 294"/>
                            <a:gd name="T99" fmla="*/ 191 h 19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4" h="191">
                              <a:moveTo>
                                <a:pt x="282" y="123"/>
                              </a:moveTo>
                              <a:lnTo>
                                <a:pt x="282" y="115"/>
                              </a:lnTo>
                              <a:lnTo>
                                <a:pt x="294" y="103"/>
                              </a:lnTo>
                              <a:lnTo>
                                <a:pt x="270" y="103"/>
                              </a:lnTo>
                              <a:lnTo>
                                <a:pt x="250" y="103"/>
                              </a:lnTo>
                              <a:lnTo>
                                <a:pt x="226" y="91"/>
                              </a:lnTo>
                              <a:lnTo>
                                <a:pt x="215" y="68"/>
                              </a:lnTo>
                              <a:lnTo>
                                <a:pt x="215" y="56"/>
                              </a:lnTo>
                              <a:lnTo>
                                <a:pt x="203" y="48"/>
                              </a:lnTo>
                              <a:lnTo>
                                <a:pt x="203" y="24"/>
                              </a:lnTo>
                              <a:lnTo>
                                <a:pt x="191" y="12"/>
                              </a:lnTo>
                              <a:lnTo>
                                <a:pt x="171" y="0"/>
                              </a:lnTo>
                              <a:lnTo>
                                <a:pt x="135" y="12"/>
                              </a:lnTo>
                              <a:lnTo>
                                <a:pt x="115" y="0"/>
                              </a:lnTo>
                              <a:lnTo>
                                <a:pt x="79" y="0"/>
                              </a:lnTo>
                              <a:lnTo>
                                <a:pt x="55" y="36"/>
                              </a:lnTo>
                              <a:lnTo>
                                <a:pt x="36" y="68"/>
                              </a:lnTo>
                              <a:lnTo>
                                <a:pt x="12" y="91"/>
                              </a:lnTo>
                              <a:lnTo>
                                <a:pt x="0" y="103"/>
                              </a:lnTo>
                              <a:lnTo>
                                <a:pt x="24" y="103"/>
                              </a:lnTo>
                              <a:lnTo>
                                <a:pt x="55" y="115"/>
                              </a:lnTo>
                              <a:lnTo>
                                <a:pt x="91" y="115"/>
                              </a:lnTo>
                              <a:lnTo>
                                <a:pt x="103" y="123"/>
                              </a:lnTo>
                              <a:lnTo>
                                <a:pt x="115" y="135"/>
                              </a:lnTo>
                              <a:lnTo>
                                <a:pt x="135" y="171"/>
                              </a:lnTo>
                              <a:lnTo>
                                <a:pt x="147" y="171"/>
                              </a:lnTo>
                              <a:lnTo>
                                <a:pt x="171" y="191"/>
                              </a:lnTo>
                              <a:lnTo>
                                <a:pt x="183" y="191"/>
                              </a:lnTo>
                              <a:lnTo>
                                <a:pt x="191" y="183"/>
                              </a:lnTo>
                              <a:lnTo>
                                <a:pt x="226" y="159"/>
                              </a:lnTo>
                              <a:lnTo>
                                <a:pt x="258" y="135"/>
                              </a:lnTo>
                              <a:lnTo>
                                <a:pt x="282" y="123"/>
                              </a:lnTo>
                              <a:close/>
                            </a:path>
                          </a:pathLst>
                        </a:custGeom>
                        <a:noFill/>
                        <a:ln w="9525" algn="ctr">
                          <a:noFill/>
                          <a:round/>
                          <a:headEnd/>
                          <a:tailEnd/>
                        </a:ln>
                      </p:spPr>
                      <p:txBody>
                        <a:bodyPr wrap="none" lIns="0" tIns="0" rIns="0" bIns="0">
                          <a:spAutoFit/>
                        </a:bodyPr>
                        <a:lstStyle/>
                        <a:p>
                          <a:endParaRPr lang="pt-BR"/>
                        </a:p>
                      </p:txBody>
                    </p:sp>
                    <p:sp>
                      <p:nvSpPr>
                        <p:cNvPr id="205" name="Freeform 3"/>
                        <p:cNvSpPr>
                          <a:spLocks noChangeArrowheads="1"/>
                        </p:cNvSpPr>
                        <p:nvPr/>
                      </p:nvSpPr>
                      <p:spPr bwMode="auto">
                        <a:xfrm>
                          <a:off x="7210654" y="3198182"/>
                          <a:ext cx="325319" cy="241232"/>
                        </a:xfrm>
                        <a:custGeom>
                          <a:avLst/>
                          <a:gdLst>
                            <a:gd name="T0" fmla="*/ 2147483647 w 171"/>
                            <a:gd name="T1" fmla="*/ 2147483647 h 123"/>
                            <a:gd name="T2" fmla="*/ 2147483647 w 171"/>
                            <a:gd name="T3" fmla="*/ 2147483647 h 123"/>
                            <a:gd name="T4" fmla="*/ 2147483647 w 171"/>
                            <a:gd name="T5" fmla="*/ 2147483647 h 123"/>
                            <a:gd name="T6" fmla="*/ 2147483647 w 171"/>
                            <a:gd name="T7" fmla="*/ 2147483647 h 123"/>
                            <a:gd name="T8" fmla="*/ 2147483647 w 171"/>
                            <a:gd name="T9" fmla="*/ 2147483647 h 123"/>
                            <a:gd name="T10" fmla="*/ 2147483647 w 171"/>
                            <a:gd name="T11" fmla="*/ 0 h 123"/>
                            <a:gd name="T12" fmla="*/ 2147483647 w 171"/>
                            <a:gd name="T13" fmla="*/ 0 h 123"/>
                            <a:gd name="T14" fmla="*/ 2147483647 w 171"/>
                            <a:gd name="T15" fmla="*/ 2147483647 h 123"/>
                            <a:gd name="T16" fmla="*/ 2147483647 w 171"/>
                            <a:gd name="T17" fmla="*/ 2147483647 h 123"/>
                            <a:gd name="T18" fmla="*/ 2147483647 w 171"/>
                            <a:gd name="T19" fmla="*/ 2147483647 h 123"/>
                            <a:gd name="T20" fmla="*/ 0 w 171"/>
                            <a:gd name="T21" fmla="*/ 2147483647 h 123"/>
                            <a:gd name="T22" fmla="*/ 0 w 171"/>
                            <a:gd name="T23" fmla="*/ 2147483647 h 123"/>
                            <a:gd name="T24" fmla="*/ 2147483647 w 171"/>
                            <a:gd name="T25" fmla="*/ 2147483647 h 123"/>
                            <a:gd name="T26" fmla="*/ 2147483647 w 171"/>
                            <a:gd name="T27" fmla="*/ 2147483647 h 123"/>
                            <a:gd name="T28" fmla="*/ 2147483647 w 171"/>
                            <a:gd name="T29" fmla="*/ 2147483647 h 123"/>
                            <a:gd name="T30" fmla="*/ 2147483647 w 171"/>
                            <a:gd name="T31" fmla="*/ 2147483647 h 123"/>
                            <a:gd name="T32" fmla="*/ 2147483647 w 171"/>
                            <a:gd name="T33" fmla="*/ 2147483647 h 123"/>
                            <a:gd name="T34" fmla="*/ 2147483647 w 171"/>
                            <a:gd name="T35" fmla="*/ 2147483647 h 123"/>
                            <a:gd name="T36" fmla="*/ 2147483647 w 171"/>
                            <a:gd name="T37" fmla="*/ 2147483647 h 123"/>
                            <a:gd name="T38" fmla="*/ 2147483647 w 171"/>
                            <a:gd name="T39" fmla="*/ 2147483647 h 12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71"/>
                            <a:gd name="T61" fmla="*/ 0 h 123"/>
                            <a:gd name="T62" fmla="*/ 171 w 171"/>
                            <a:gd name="T63" fmla="*/ 123 h 12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71" h="123">
                              <a:moveTo>
                                <a:pt x="135" y="123"/>
                              </a:moveTo>
                              <a:lnTo>
                                <a:pt x="159" y="91"/>
                              </a:lnTo>
                              <a:lnTo>
                                <a:pt x="171" y="43"/>
                              </a:lnTo>
                              <a:lnTo>
                                <a:pt x="171" y="12"/>
                              </a:lnTo>
                              <a:lnTo>
                                <a:pt x="159" y="12"/>
                              </a:lnTo>
                              <a:lnTo>
                                <a:pt x="135" y="0"/>
                              </a:lnTo>
                              <a:lnTo>
                                <a:pt x="115" y="0"/>
                              </a:lnTo>
                              <a:lnTo>
                                <a:pt x="91" y="12"/>
                              </a:lnTo>
                              <a:lnTo>
                                <a:pt x="79" y="24"/>
                              </a:lnTo>
                              <a:lnTo>
                                <a:pt x="36" y="12"/>
                              </a:lnTo>
                              <a:lnTo>
                                <a:pt x="0" y="12"/>
                              </a:lnTo>
                              <a:lnTo>
                                <a:pt x="0" y="43"/>
                              </a:lnTo>
                              <a:lnTo>
                                <a:pt x="36" y="43"/>
                              </a:lnTo>
                              <a:lnTo>
                                <a:pt x="67" y="55"/>
                              </a:lnTo>
                              <a:lnTo>
                                <a:pt x="79" y="67"/>
                              </a:lnTo>
                              <a:lnTo>
                                <a:pt x="103" y="79"/>
                              </a:lnTo>
                              <a:lnTo>
                                <a:pt x="115" y="91"/>
                              </a:lnTo>
                              <a:lnTo>
                                <a:pt x="127" y="91"/>
                              </a:lnTo>
                              <a:lnTo>
                                <a:pt x="127" y="111"/>
                              </a:lnTo>
                              <a:lnTo>
                                <a:pt x="135" y="123"/>
                              </a:lnTo>
                              <a:close/>
                            </a:path>
                          </a:pathLst>
                        </a:custGeom>
                        <a:solidFill>
                          <a:srgbClr val="FFFFFF"/>
                        </a:solidFill>
                        <a:ln w="9360">
                          <a:solidFill>
                            <a:srgbClr val="969696"/>
                          </a:solidFill>
                          <a:round/>
                          <a:headEnd/>
                          <a:tailEnd/>
                        </a:ln>
                      </p:spPr>
                      <p:txBody>
                        <a:bodyPr wrap="none" anchor="ctr"/>
                        <a:lstStyle/>
                        <a:p>
                          <a:endParaRPr lang="pt-BR"/>
                        </a:p>
                      </p:txBody>
                    </p:sp>
                    <p:sp>
                      <p:nvSpPr>
                        <p:cNvPr id="206" name="Freeform 4"/>
                        <p:cNvSpPr>
                          <a:spLocks noChangeArrowheads="1"/>
                        </p:cNvSpPr>
                        <p:nvPr/>
                      </p:nvSpPr>
                      <p:spPr bwMode="auto">
                        <a:xfrm>
                          <a:off x="7148527" y="2958119"/>
                          <a:ext cx="433760" cy="285731"/>
                        </a:xfrm>
                        <a:custGeom>
                          <a:avLst/>
                          <a:gdLst>
                            <a:gd name="T0" fmla="*/ 2147483647 w 227"/>
                            <a:gd name="T1" fmla="*/ 2147483647 h 148"/>
                            <a:gd name="T2" fmla="*/ 2147483647 w 227"/>
                            <a:gd name="T3" fmla="*/ 2147483647 h 148"/>
                            <a:gd name="T4" fmla="*/ 2147483647 w 227"/>
                            <a:gd name="T5" fmla="*/ 2147483647 h 148"/>
                            <a:gd name="T6" fmla="*/ 2147483647 w 227"/>
                            <a:gd name="T7" fmla="*/ 2147483647 h 148"/>
                            <a:gd name="T8" fmla="*/ 2147483647 w 227"/>
                            <a:gd name="T9" fmla="*/ 2147483647 h 148"/>
                            <a:gd name="T10" fmla="*/ 2147483647 w 227"/>
                            <a:gd name="T11" fmla="*/ 2147483647 h 148"/>
                            <a:gd name="T12" fmla="*/ 2147483647 w 227"/>
                            <a:gd name="T13" fmla="*/ 2147483647 h 148"/>
                            <a:gd name="T14" fmla="*/ 2147483647 w 227"/>
                            <a:gd name="T15" fmla="*/ 2147483647 h 148"/>
                            <a:gd name="T16" fmla="*/ 2147483647 w 227"/>
                            <a:gd name="T17" fmla="*/ 2147483647 h 148"/>
                            <a:gd name="T18" fmla="*/ 2147483647 w 227"/>
                            <a:gd name="T19" fmla="*/ 2147483647 h 148"/>
                            <a:gd name="T20" fmla="*/ 2147483647 w 227"/>
                            <a:gd name="T21" fmla="*/ 2147483647 h 148"/>
                            <a:gd name="T22" fmla="*/ 2147483647 w 227"/>
                            <a:gd name="T23" fmla="*/ 2147483647 h 148"/>
                            <a:gd name="T24" fmla="*/ 2147483647 w 227"/>
                            <a:gd name="T25" fmla="*/ 2147483647 h 148"/>
                            <a:gd name="T26" fmla="*/ 2147483647 w 227"/>
                            <a:gd name="T27" fmla="*/ 2147483647 h 148"/>
                            <a:gd name="T28" fmla="*/ 2147483647 w 227"/>
                            <a:gd name="T29" fmla="*/ 2147483647 h 148"/>
                            <a:gd name="T30" fmla="*/ 2147483647 w 227"/>
                            <a:gd name="T31" fmla="*/ 2147483647 h 148"/>
                            <a:gd name="T32" fmla="*/ 2147483647 w 227"/>
                            <a:gd name="T33" fmla="*/ 2147483647 h 148"/>
                            <a:gd name="T34" fmla="*/ 2147483647 w 227"/>
                            <a:gd name="T35" fmla="*/ 0 h 148"/>
                            <a:gd name="T36" fmla="*/ 2147483647 w 227"/>
                            <a:gd name="T37" fmla="*/ 0 h 148"/>
                            <a:gd name="T38" fmla="*/ 2147483647 w 227"/>
                            <a:gd name="T39" fmla="*/ 2147483647 h 148"/>
                            <a:gd name="T40" fmla="*/ 2147483647 w 227"/>
                            <a:gd name="T41" fmla="*/ 2147483647 h 148"/>
                            <a:gd name="T42" fmla="*/ 2147483647 w 227"/>
                            <a:gd name="T43" fmla="*/ 2147483647 h 148"/>
                            <a:gd name="T44" fmla="*/ 2147483647 w 227"/>
                            <a:gd name="T45" fmla="*/ 2147483647 h 148"/>
                            <a:gd name="T46" fmla="*/ 0 w 227"/>
                            <a:gd name="T47" fmla="*/ 2147483647 h 148"/>
                            <a:gd name="T48" fmla="*/ 0 w 227"/>
                            <a:gd name="T49" fmla="*/ 2147483647 h 148"/>
                            <a:gd name="T50" fmla="*/ 2147483647 w 227"/>
                            <a:gd name="T51" fmla="*/ 2147483647 h 148"/>
                            <a:gd name="T52" fmla="*/ 2147483647 w 227"/>
                            <a:gd name="T53" fmla="*/ 2147483647 h 14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27"/>
                            <a:gd name="T82" fmla="*/ 0 h 148"/>
                            <a:gd name="T83" fmla="*/ 227 w 227"/>
                            <a:gd name="T84" fmla="*/ 148 h 14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27" h="148">
                              <a:moveTo>
                                <a:pt x="32" y="136"/>
                              </a:moveTo>
                              <a:lnTo>
                                <a:pt x="68" y="136"/>
                              </a:lnTo>
                              <a:lnTo>
                                <a:pt x="111" y="148"/>
                              </a:lnTo>
                              <a:lnTo>
                                <a:pt x="123" y="136"/>
                              </a:lnTo>
                              <a:lnTo>
                                <a:pt x="147" y="124"/>
                              </a:lnTo>
                              <a:lnTo>
                                <a:pt x="167" y="124"/>
                              </a:lnTo>
                              <a:lnTo>
                                <a:pt x="191" y="136"/>
                              </a:lnTo>
                              <a:lnTo>
                                <a:pt x="203" y="136"/>
                              </a:lnTo>
                              <a:lnTo>
                                <a:pt x="203" y="112"/>
                              </a:lnTo>
                              <a:lnTo>
                                <a:pt x="227" y="88"/>
                              </a:lnTo>
                              <a:lnTo>
                                <a:pt x="215" y="88"/>
                              </a:lnTo>
                              <a:lnTo>
                                <a:pt x="191" y="68"/>
                              </a:lnTo>
                              <a:lnTo>
                                <a:pt x="179" y="68"/>
                              </a:lnTo>
                              <a:lnTo>
                                <a:pt x="159" y="32"/>
                              </a:lnTo>
                              <a:lnTo>
                                <a:pt x="147" y="20"/>
                              </a:lnTo>
                              <a:lnTo>
                                <a:pt x="135" y="12"/>
                              </a:lnTo>
                              <a:lnTo>
                                <a:pt x="99" y="12"/>
                              </a:lnTo>
                              <a:lnTo>
                                <a:pt x="68" y="0"/>
                              </a:lnTo>
                              <a:lnTo>
                                <a:pt x="44" y="0"/>
                              </a:lnTo>
                              <a:lnTo>
                                <a:pt x="32" y="12"/>
                              </a:lnTo>
                              <a:lnTo>
                                <a:pt x="12" y="44"/>
                              </a:lnTo>
                              <a:lnTo>
                                <a:pt x="12" y="68"/>
                              </a:lnTo>
                              <a:lnTo>
                                <a:pt x="12" y="88"/>
                              </a:lnTo>
                              <a:lnTo>
                                <a:pt x="0" y="100"/>
                              </a:lnTo>
                              <a:lnTo>
                                <a:pt x="0" y="112"/>
                              </a:lnTo>
                              <a:lnTo>
                                <a:pt x="24" y="124"/>
                              </a:lnTo>
                              <a:lnTo>
                                <a:pt x="32" y="136"/>
                              </a:lnTo>
                              <a:close/>
                            </a:path>
                          </a:pathLst>
                        </a:custGeom>
                        <a:solidFill>
                          <a:srgbClr val="FFFFFF"/>
                        </a:solidFill>
                        <a:ln w="9360">
                          <a:solidFill>
                            <a:srgbClr val="969696"/>
                          </a:solidFill>
                          <a:round/>
                          <a:headEnd/>
                          <a:tailEnd/>
                        </a:ln>
                      </p:spPr>
                      <p:txBody>
                        <a:bodyPr wrap="none" anchor="ctr"/>
                        <a:lstStyle/>
                        <a:p>
                          <a:endParaRPr lang="pt-BR"/>
                        </a:p>
                      </p:txBody>
                    </p:sp>
                    <p:sp>
                      <p:nvSpPr>
                        <p:cNvPr id="207" name="Freeform 19"/>
                        <p:cNvSpPr>
                          <a:spLocks noChangeArrowheads="1"/>
                        </p:cNvSpPr>
                        <p:nvPr/>
                      </p:nvSpPr>
                      <p:spPr bwMode="auto">
                        <a:xfrm>
                          <a:off x="7203877" y="2298831"/>
                          <a:ext cx="502665" cy="420399"/>
                        </a:xfrm>
                        <a:custGeom>
                          <a:avLst/>
                          <a:gdLst>
                            <a:gd name="T0" fmla="*/ 2147483647 w 262"/>
                            <a:gd name="T1" fmla="*/ 2147483647 h 215"/>
                            <a:gd name="T2" fmla="*/ 2147483647 w 262"/>
                            <a:gd name="T3" fmla="*/ 2147483647 h 215"/>
                            <a:gd name="T4" fmla="*/ 2147483647 w 262"/>
                            <a:gd name="T5" fmla="*/ 2147483647 h 215"/>
                            <a:gd name="T6" fmla="*/ 2147483647 w 262"/>
                            <a:gd name="T7" fmla="*/ 2147483647 h 215"/>
                            <a:gd name="T8" fmla="*/ 2147483647 w 262"/>
                            <a:gd name="T9" fmla="*/ 2147483647 h 215"/>
                            <a:gd name="T10" fmla="*/ 2147483647 w 262"/>
                            <a:gd name="T11" fmla="*/ 2147483647 h 215"/>
                            <a:gd name="T12" fmla="*/ 0 w 262"/>
                            <a:gd name="T13" fmla="*/ 2147483647 h 215"/>
                            <a:gd name="T14" fmla="*/ 0 w 262"/>
                            <a:gd name="T15" fmla="*/ 2147483647 h 215"/>
                            <a:gd name="T16" fmla="*/ 2147483647 w 262"/>
                            <a:gd name="T17" fmla="*/ 2147483647 h 215"/>
                            <a:gd name="T18" fmla="*/ 2147483647 w 262"/>
                            <a:gd name="T19" fmla="*/ 2147483647 h 215"/>
                            <a:gd name="T20" fmla="*/ 2147483647 w 262"/>
                            <a:gd name="T21" fmla="*/ 2147483647 h 215"/>
                            <a:gd name="T22" fmla="*/ 2147483647 w 262"/>
                            <a:gd name="T23" fmla="*/ 2147483647 h 215"/>
                            <a:gd name="T24" fmla="*/ 2147483647 w 262"/>
                            <a:gd name="T25" fmla="*/ 2147483647 h 215"/>
                            <a:gd name="T26" fmla="*/ 2147483647 w 262"/>
                            <a:gd name="T27" fmla="*/ 2147483647 h 215"/>
                            <a:gd name="T28" fmla="*/ 2147483647 w 262"/>
                            <a:gd name="T29" fmla="*/ 2147483647 h 215"/>
                            <a:gd name="T30" fmla="*/ 2147483647 w 262"/>
                            <a:gd name="T31" fmla="*/ 2147483647 h 215"/>
                            <a:gd name="T32" fmla="*/ 2147483647 w 262"/>
                            <a:gd name="T33" fmla="*/ 2147483647 h 215"/>
                            <a:gd name="T34" fmla="*/ 2147483647 w 262"/>
                            <a:gd name="T35" fmla="*/ 2147483647 h 215"/>
                            <a:gd name="T36" fmla="*/ 2147483647 w 262"/>
                            <a:gd name="T37" fmla="*/ 2147483647 h 215"/>
                            <a:gd name="T38" fmla="*/ 2147483647 w 262"/>
                            <a:gd name="T39" fmla="*/ 2147483647 h 215"/>
                            <a:gd name="T40" fmla="*/ 2147483647 w 262"/>
                            <a:gd name="T41" fmla="*/ 2147483647 h 215"/>
                            <a:gd name="T42" fmla="*/ 2147483647 w 262"/>
                            <a:gd name="T43" fmla="*/ 2147483647 h 215"/>
                            <a:gd name="T44" fmla="*/ 2147483647 w 262"/>
                            <a:gd name="T45" fmla="*/ 2147483647 h 215"/>
                            <a:gd name="T46" fmla="*/ 2147483647 w 262"/>
                            <a:gd name="T47" fmla="*/ 2147483647 h 215"/>
                            <a:gd name="T48" fmla="*/ 2147483647 w 262"/>
                            <a:gd name="T49" fmla="*/ 0 h 215"/>
                            <a:gd name="T50" fmla="*/ 2147483647 w 262"/>
                            <a:gd name="T51" fmla="*/ 2147483647 h 215"/>
                            <a:gd name="T52" fmla="*/ 2147483647 w 262"/>
                            <a:gd name="T53" fmla="*/ 2147483647 h 215"/>
                            <a:gd name="T54" fmla="*/ 2147483647 w 262"/>
                            <a:gd name="T55" fmla="*/ 2147483647 h 215"/>
                            <a:gd name="T56" fmla="*/ 2147483647 w 262"/>
                            <a:gd name="T57" fmla="*/ 0 h 215"/>
                            <a:gd name="T58" fmla="*/ 2147483647 w 262"/>
                            <a:gd name="T59" fmla="*/ 0 h 215"/>
                            <a:gd name="T60" fmla="*/ 2147483647 w 262"/>
                            <a:gd name="T61" fmla="*/ 2147483647 h 215"/>
                            <a:gd name="T62" fmla="*/ 2147483647 w 262"/>
                            <a:gd name="T63" fmla="*/ 2147483647 h 21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62"/>
                            <a:gd name="T97" fmla="*/ 0 h 215"/>
                            <a:gd name="T98" fmla="*/ 262 w 262"/>
                            <a:gd name="T99" fmla="*/ 215 h 21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62" h="215">
                              <a:moveTo>
                                <a:pt x="79" y="8"/>
                              </a:moveTo>
                              <a:lnTo>
                                <a:pt x="79" y="32"/>
                              </a:lnTo>
                              <a:lnTo>
                                <a:pt x="67" y="56"/>
                              </a:lnTo>
                              <a:lnTo>
                                <a:pt x="48" y="68"/>
                              </a:lnTo>
                              <a:lnTo>
                                <a:pt x="36" y="88"/>
                              </a:lnTo>
                              <a:lnTo>
                                <a:pt x="12" y="112"/>
                              </a:lnTo>
                              <a:lnTo>
                                <a:pt x="0" y="147"/>
                              </a:lnTo>
                              <a:lnTo>
                                <a:pt x="0" y="167"/>
                              </a:lnTo>
                              <a:lnTo>
                                <a:pt x="24" y="179"/>
                              </a:lnTo>
                              <a:lnTo>
                                <a:pt x="67" y="215"/>
                              </a:lnTo>
                              <a:lnTo>
                                <a:pt x="91" y="215"/>
                              </a:lnTo>
                              <a:lnTo>
                                <a:pt x="115" y="191"/>
                              </a:lnTo>
                              <a:lnTo>
                                <a:pt x="147" y="179"/>
                              </a:lnTo>
                              <a:lnTo>
                                <a:pt x="195" y="179"/>
                              </a:lnTo>
                              <a:lnTo>
                                <a:pt x="215" y="155"/>
                              </a:lnTo>
                              <a:lnTo>
                                <a:pt x="215" y="147"/>
                              </a:lnTo>
                              <a:lnTo>
                                <a:pt x="203" y="124"/>
                              </a:lnTo>
                              <a:lnTo>
                                <a:pt x="215" y="112"/>
                              </a:lnTo>
                              <a:lnTo>
                                <a:pt x="215" y="88"/>
                              </a:lnTo>
                              <a:lnTo>
                                <a:pt x="227" y="80"/>
                              </a:lnTo>
                              <a:lnTo>
                                <a:pt x="238" y="56"/>
                              </a:lnTo>
                              <a:lnTo>
                                <a:pt x="262" y="68"/>
                              </a:lnTo>
                              <a:lnTo>
                                <a:pt x="262" y="32"/>
                              </a:lnTo>
                              <a:lnTo>
                                <a:pt x="250" y="8"/>
                              </a:lnTo>
                              <a:lnTo>
                                <a:pt x="203" y="0"/>
                              </a:lnTo>
                              <a:lnTo>
                                <a:pt x="183" y="8"/>
                              </a:lnTo>
                              <a:lnTo>
                                <a:pt x="171" y="20"/>
                              </a:lnTo>
                              <a:lnTo>
                                <a:pt x="147" y="8"/>
                              </a:lnTo>
                              <a:lnTo>
                                <a:pt x="135" y="0"/>
                              </a:lnTo>
                              <a:lnTo>
                                <a:pt x="115" y="0"/>
                              </a:lnTo>
                              <a:lnTo>
                                <a:pt x="91" y="8"/>
                              </a:lnTo>
                              <a:lnTo>
                                <a:pt x="79" y="8"/>
                              </a:lnTo>
                              <a:close/>
                            </a:path>
                          </a:pathLst>
                        </a:custGeom>
                        <a:solidFill>
                          <a:srgbClr val="FFFFFF"/>
                        </a:solidFill>
                        <a:ln w="9360">
                          <a:solidFill>
                            <a:srgbClr val="969696"/>
                          </a:solidFill>
                          <a:round/>
                          <a:headEnd/>
                          <a:tailEnd/>
                        </a:ln>
                      </p:spPr>
                      <p:txBody>
                        <a:bodyPr wrap="none" anchor="ctr"/>
                        <a:lstStyle/>
                        <a:p>
                          <a:endParaRPr lang="pt-BR"/>
                        </a:p>
                      </p:txBody>
                    </p:sp>
                    <p:sp>
                      <p:nvSpPr>
                        <p:cNvPr id="208" name="Freeform 7"/>
                        <p:cNvSpPr>
                          <a:spLocks noChangeArrowheads="1"/>
                        </p:cNvSpPr>
                        <p:nvPr/>
                      </p:nvSpPr>
                      <p:spPr bwMode="auto">
                        <a:xfrm>
                          <a:off x="7968604" y="2624377"/>
                          <a:ext cx="169438" cy="241232"/>
                        </a:xfrm>
                        <a:custGeom>
                          <a:avLst/>
                          <a:gdLst>
                            <a:gd name="T0" fmla="*/ 2147483647 w 87"/>
                            <a:gd name="T1" fmla="*/ 2147483647 h 124"/>
                            <a:gd name="T2" fmla="*/ 2147483647 w 87"/>
                            <a:gd name="T3" fmla="*/ 2147483647 h 124"/>
                            <a:gd name="T4" fmla="*/ 2147483647 w 87"/>
                            <a:gd name="T5" fmla="*/ 2147483647 h 124"/>
                            <a:gd name="T6" fmla="*/ 2147483647 w 87"/>
                            <a:gd name="T7" fmla="*/ 2147483647 h 124"/>
                            <a:gd name="T8" fmla="*/ 2147483647 w 87"/>
                            <a:gd name="T9" fmla="*/ 0 h 124"/>
                            <a:gd name="T10" fmla="*/ 2147483647 w 87"/>
                            <a:gd name="T11" fmla="*/ 0 h 124"/>
                            <a:gd name="T12" fmla="*/ 2147483647 w 87"/>
                            <a:gd name="T13" fmla="*/ 2147483647 h 124"/>
                            <a:gd name="T14" fmla="*/ 2147483647 w 87"/>
                            <a:gd name="T15" fmla="*/ 2147483647 h 124"/>
                            <a:gd name="T16" fmla="*/ 2147483647 w 87"/>
                            <a:gd name="T17" fmla="*/ 2147483647 h 124"/>
                            <a:gd name="T18" fmla="*/ 2147483647 w 87"/>
                            <a:gd name="T19" fmla="*/ 2147483647 h 124"/>
                            <a:gd name="T20" fmla="*/ 2147483647 w 87"/>
                            <a:gd name="T21" fmla="*/ 2147483647 h 124"/>
                            <a:gd name="T22" fmla="*/ 0 w 87"/>
                            <a:gd name="T23" fmla="*/ 2147483647 h 124"/>
                            <a:gd name="T24" fmla="*/ 2147483647 w 87"/>
                            <a:gd name="T25" fmla="*/ 2147483647 h 124"/>
                            <a:gd name="T26" fmla="*/ 2147483647 w 87"/>
                            <a:gd name="T27" fmla="*/ 2147483647 h 12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7"/>
                            <a:gd name="T43" fmla="*/ 0 h 124"/>
                            <a:gd name="T44" fmla="*/ 87 w 87"/>
                            <a:gd name="T45" fmla="*/ 124 h 12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7" h="124">
                              <a:moveTo>
                                <a:pt x="43" y="124"/>
                              </a:moveTo>
                              <a:lnTo>
                                <a:pt x="67" y="80"/>
                              </a:lnTo>
                              <a:lnTo>
                                <a:pt x="75" y="36"/>
                              </a:lnTo>
                              <a:lnTo>
                                <a:pt x="87" y="12"/>
                              </a:lnTo>
                              <a:lnTo>
                                <a:pt x="75" y="0"/>
                              </a:lnTo>
                              <a:lnTo>
                                <a:pt x="55" y="0"/>
                              </a:lnTo>
                              <a:lnTo>
                                <a:pt x="43" y="12"/>
                              </a:lnTo>
                              <a:lnTo>
                                <a:pt x="43" y="24"/>
                              </a:lnTo>
                              <a:lnTo>
                                <a:pt x="31" y="48"/>
                              </a:lnTo>
                              <a:lnTo>
                                <a:pt x="31" y="56"/>
                              </a:lnTo>
                              <a:lnTo>
                                <a:pt x="8" y="80"/>
                              </a:lnTo>
                              <a:lnTo>
                                <a:pt x="0" y="104"/>
                              </a:lnTo>
                              <a:lnTo>
                                <a:pt x="8" y="124"/>
                              </a:lnTo>
                              <a:lnTo>
                                <a:pt x="43" y="124"/>
                              </a:lnTo>
                              <a:close/>
                            </a:path>
                          </a:pathLst>
                        </a:custGeom>
                        <a:solidFill>
                          <a:srgbClr val="FFFFFF"/>
                        </a:solidFill>
                        <a:ln w="9360">
                          <a:solidFill>
                            <a:srgbClr val="969696"/>
                          </a:solidFill>
                          <a:round/>
                          <a:headEnd/>
                          <a:tailEnd/>
                        </a:ln>
                      </p:spPr>
                      <p:txBody>
                        <a:bodyPr wrap="none" anchor="ctr"/>
                        <a:lstStyle/>
                        <a:p>
                          <a:endParaRPr lang="pt-BR"/>
                        </a:p>
                      </p:txBody>
                    </p:sp>
                    <p:sp>
                      <p:nvSpPr>
                        <p:cNvPr id="209" name="Freeform 6"/>
                        <p:cNvSpPr>
                          <a:spLocks noChangeArrowheads="1"/>
                        </p:cNvSpPr>
                        <p:nvPr/>
                      </p:nvSpPr>
                      <p:spPr bwMode="auto">
                        <a:xfrm>
                          <a:off x="7746077" y="2829306"/>
                          <a:ext cx="306116" cy="168628"/>
                        </a:xfrm>
                        <a:custGeom>
                          <a:avLst/>
                          <a:gdLst>
                            <a:gd name="T0" fmla="*/ 2147483647 w 159"/>
                            <a:gd name="T1" fmla="*/ 2147483647 h 87"/>
                            <a:gd name="T2" fmla="*/ 2147483647 w 159"/>
                            <a:gd name="T3" fmla="*/ 2147483647 h 87"/>
                            <a:gd name="T4" fmla="*/ 2147483647 w 159"/>
                            <a:gd name="T5" fmla="*/ 2147483647 h 87"/>
                            <a:gd name="T6" fmla="*/ 0 w 159"/>
                            <a:gd name="T7" fmla="*/ 2147483647 h 87"/>
                            <a:gd name="T8" fmla="*/ 2147483647 w 159"/>
                            <a:gd name="T9" fmla="*/ 2147483647 h 87"/>
                            <a:gd name="T10" fmla="*/ 2147483647 w 159"/>
                            <a:gd name="T11" fmla="*/ 2147483647 h 87"/>
                            <a:gd name="T12" fmla="*/ 2147483647 w 159"/>
                            <a:gd name="T13" fmla="*/ 2147483647 h 87"/>
                            <a:gd name="T14" fmla="*/ 2147483647 w 159"/>
                            <a:gd name="T15" fmla="*/ 2147483647 h 87"/>
                            <a:gd name="T16" fmla="*/ 2147483647 w 159"/>
                            <a:gd name="T17" fmla="*/ 2147483647 h 87"/>
                            <a:gd name="T18" fmla="*/ 2147483647 w 159"/>
                            <a:gd name="T19" fmla="*/ 0 h 87"/>
                            <a:gd name="T20" fmla="*/ 2147483647 w 159"/>
                            <a:gd name="T21" fmla="*/ 2147483647 h 87"/>
                            <a:gd name="T22" fmla="*/ 2147483647 w 159"/>
                            <a:gd name="T23" fmla="*/ 2147483647 h 87"/>
                            <a:gd name="T24" fmla="*/ 2147483647 w 159"/>
                            <a:gd name="T25" fmla="*/ 2147483647 h 87"/>
                            <a:gd name="T26" fmla="*/ 2147483647 w 159"/>
                            <a:gd name="T27" fmla="*/ 2147483647 h 87"/>
                            <a:gd name="T28" fmla="*/ 2147483647 w 159"/>
                            <a:gd name="T29" fmla="*/ 2147483647 h 87"/>
                            <a:gd name="T30" fmla="*/ 2147483647 w 159"/>
                            <a:gd name="T31" fmla="*/ 2147483647 h 87"/>
                            <a:gd name="T32" fmla="*/ 2147483647 w 159"/>
                            <a:gd name="T33" fmla="*/ 2147483647 h 87"/>
                            <a:gd name="T34" fmla="*/ 2147483647 w 159"/>
                            <a:gd name="T35" fmla="*/ 2147483647 h 8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59"/>
                            <a:gd name="T55" fmla="*/ 0 h 87"/>
                            <a:gd name="T56" fmla="*/ 159 w 159"/>
                            <a:gd name="T57" fmla="*/ 87 h 8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59" h="87">
                              <a:moveTo>
                                <a:pt x="12" y="87"/>
                              </a:moveTo>
                              <a:lnTo>
                                <a:pt x="12" y="79"/>
                              </a:lnTo>
                              <a:lnTo>
                                <a:pt x="24" y="67"/>
                              </a:lnTo>
                              <a:lnTo>
                                <a:pt x="0" y="67"/>
                              </a:lnTo>
                              <a:lnTo>
                                <a:pt x="24" y="55"/>
                              </a:lnTo>
                              <a:lnTo>
                                <a:pt x="48" y="43"/>
                              </a:lnTo>
                              <a:lnTo>
                                <a:pt x="68" y="43"/>
                              </a:lnTo>
                              <a:lnTo>
                                <a:pt x="92" y="32"/>
                              </a:lnTo>
                              <a:lnTo>
                                <a:pt x="104" y="12"/>
                              </a:lnTo>
                              <a:lnTo>
                                <a:pt x="116" y="0"/>
                              </a:lnTo>
                              <a:lnTo>
                                <a:pt x="124" y="20"/>
                              </a:lnTo>
                              <a:lnTo>
                                <a:pt x="159" y="20"/>
                              </a:lnTo>
                              <a:lnTo>
                                <a:pt x="147" y="32"/>
                              </a:lnTo>
                              <a:lnTo>
                                <a:pt x="147" y="43"/>
                              </a:lnTo>
                              <a:lnTo>
                                <a:pt x="124" y="55"/>
                              </a:lnTo>
                              <a:lnTo>
                                <a:pt x="116" y="79"/>
                              </a:lnTo>
                              <a:lnTo>
                                <a:pt x="56" y="79"/>
                              </a:lnTo>
                              <a:lnTo>
                                <a:pt x="12" y="87"/>
                              </a:lnTo>
                              <a:close/>
                            </a:path>
                          </a:pathLst>
                        </a:custGeom>
                        <a:solidFill>
                          <a:srgbClr val="FFFFFF"/>
                        </a:solidFill>
                        <a:ln w="9360">
                          <a:solidFill>
                            <a:srgbClr val="969696"/>
                          </a:solidFill>
                          <a:round/>
                          <a:headEnd/>
                          <a:tailEnd/>
                        </a:ln>
                      </p:spPr>
                      <p:txBody>
                        <a:bodyPr wrap="none" anchor="ctr"/>
                        <a:lstStyle/>
                        <a:p>
                          <a:endParaRPr lang="pt-BR"/>
                        </a:p>
                      </p:txBody>
                    </p:sp>
                    <p:sp>
                      <p:nvSpPr>
                        <p:cNvPr id="210" name="Freeform 8"/>
                        <p:cNvSpPr>
                          <a:spLocks noChangeArrowheads="1"/>
                        </p:cNvSpPr>
                        <p:nvPr/>
                      </p:nvSpPr>
                      <p:spPr bwMode="auto">
                        <a:xfrm>
                          <a:off x="7380092" y="2384315"/>
                          <a:ext cx="757950" cy="573804"/>
                        </a:xfrm>
                        <a:custGeom>
                          <a:avLst/>
                          <a:gdLst>
                            <a:gd name="T0" fmla="*/ 2147483647 w 394"/>
                            <a:gd name="T1" fmla="*/ 2147483647 h 294"/>
                            <a:gd name="T2" fmla="*/ 2147483647 w 394"/>
                            <a:gd name="T3" fmla="*/ 2147483647 h 294"/>
                            <a:gd name="T4" fmla="*/ 2147483647 w 394"/>
                            <a:gd name="T5" fmla="*/ 2147483647 h 294"/>
                            <a:gd name="T6" fmla="*/ 2147483647 w 394"/>
                            <a:gd name="T7" fmla="*/ 2147483647 h 294"/>
                            <a:gd name="T8" fmla="*/ 2147483647 w 394"/>
                            <a:gd name="T9" fmla="*/ 2147483647 h 294"/>
                            <a:gd name="T10" fmla="*/ 2147483647 w 394"/>
                            <a:gd name="T11" fmla="*/ 2147483647 h 294"/>
                            <a:gd name="T12" fmla="*/ 2147483647 w 394"/>
                            <a:gd name="T13" fmla="*/ 2147483647 h 294"/>
                            <a:gd name="T14" fmla="*/ 2147483647 w 394"/>
                            <a:gd name="T15" fmla="*/ 2147483647 h 294"/>
                            <a:gd name="T16" fmla="*/ 2147483647 w 394"/>
                            <a:gd name="T17" fmla="*/ 2147483647 h 294"/>
                            <a:gd name="T18" fmla="*/ 2147483647 w 394"/>
                            <a:gd name="T19" fmla="*/ 2147483647 h 294"/>
                            <a:gd name="T20" fmla="*/ 2147483647 w 394"/>
                            <a:gd name="T21" fmla="*/ 2147483647 h 294"/>
                            <a:gd name="T22" fmla="*/ 2147483647 w 394"/>
                            <a:gd name="T23" fmla="*/ 0 h 294"/>
                            <a:gd name="T24" fmla="*/ 2147483647 w 394"/>
                            <a:gd name="T25" fmla="*/ 0 h 294"/>
                            <a:gd name="T26" fmla="*/ 2147483647 w 394"/>
                            <a:gd name="T27" fmla="*/ 2147483647 h 294"/>
                            <a:gd name="T28" fmla="*/ 2147483647 w 394"/>
                            <a:gd name="T29" fmla="*/ 2147483647 h 294"/>
                            <a:gd name="T30" fmla="*/ 2147483647 w 394"/>
                            <a:gd name="T31" fmla="*/ 2147483647 h 294"/>
                            <a:gd name="T32" fmla="*/ 2147483647 w 394"/>
                            <a:gd name="T33" fmla="*/ 2147483647 h 294"/>
                            <a:gd name="T34" fmla="*/ 2147483647 w 394"/>
                            <a:gd name="T35" fmla="*/ 2147483647 h 294"/>
                            <a:gd name="T36" fmla="*/ 2147483647 w 394"/>
                            <a:gd name="T37" fmla="*/ 2147483647 h 294"/>
                            <a:gd name="T38" fmla="*/ 2147483647 w 394"/>
                            <a:gd name="T39" fmla="*/ 2147483647 h 294"/>
                            <a:gd name="T40" fmla="*/ 2147483647 w 394"/>
                            <a:gd name="T41" fmla="*/ 2147483647 h 294"/>
                            <a:gd name="T42" fmla="*/ 2147483647 w 394"/>
                            <a:gd name="T43" fmla="*/ 2147483647 h 294"/>
                            <a:gd name="T44" fmla="*/ 2147483647 w 394"/>
                            <a:gd name="T45" fmla="*/ 2147483647 h 294"/>
                            <a:gd name="T46" fmla="*/ 2147483647 w 394"/>
                            <a:gd name="T47" fmla="*/ 2147483647 h 294"/>
                            <a:gd name="T48" fmla="*/ 2147483647 w 394"/>
                            <a:gd name="T49" fmla="*/ 2147483647 h 294"/>
                            <a:gd name="T50" fmla="*/ 0 w 394"/>
                            <a:gd name="T51" fmla="*/ 2147483647 h 294"/>
                            <a:gd name="T52" fmla="*/ 0 w 394"/>
                            <a:gd name="T53" fmla="*/ 2147483647 h 294"/>
                            <a:gd name="T54" fmla="*/ 2147483647 w 394"/>
                            <a:gd name="T55" fmla="*/ 2147483647 h 294"/>
                            <a:gd name="T56" fmla="*/ 2147483647 w 394"/>
                            <a:gd name="T57" fmla="*/ 2147483647 h 294"/>
                            <a:gd name="T58" fmla="*/ 2147483647 w 394"/>
                            <a:gd name="T59" fmla="*/ 2147483647 h 294"/>
                            <a:gd name="T60" fmla="*/ 2147483647 w 394"/>
                            <a:gd name="T61" fmla="*/ 2147483647 h 294"/>
                            <a:gd name="T62" fmla="*/ 2147483647 w 394"/>
                            <a:gd name="T63" fmla="*/ 2147483647 h 294"/>
                            <a:gd name="T64" fmla="*/ 2147483647 w 394"/>
                            <a:gd name="T65" fmla="*/ 2147483647 h 294"/>
                            <a:gd name="T66" fmla="*/ 2147483647 w 394"/>
                            <a:gd name="T67" fmla="*/ 2147483647 h 294"/>
                            <a:gd name="T68" fmla="*/ 2147483647 w 394"/>
                            <a:gd name="T69" fmla="*/ 2147483647 h 294"/>
                            <a:gd name="T70" fmla="*/ 2147483647 w 394"/>
                            <a:gd name="T71" fmla="*/ 2147483647 h 294"/>
                            <a:gd name="T72" fmla="*/ 2147483647 w 394"/>
                            <a:gd name="T73" fmla="*/ 2147483647 h 294"/>
                            <a:gd name="T74" fmla="*/ 2147483647 w 394"/>
                            <a:gd name="T75" fmla="*/ 2147483647 h 294"/>
                            <a:gd name="T76" fmla="*/ 2147483647 w 394"/>
                            <a:gd name="T77" fmla="*/ 2147483647 h 294"/>
                            <a:gd name="T78" fmla="*/ 2147483647 w 394"/>
                            <a:gd name="T79" fmla="*/ 2147483647 h 294"/>
                            <a:gd name="T80" fmla="*/ 2147483647 w 394"/>
                            <a:gd name="T81" fmla="*/ 2147483647 h 294"/>
                            <a:gd name="T82" fmla="*/ 2147483647 w 394"/>
                            <a:gd name="T83" fmla="*/ 2147483647 h 294"/>
                            <a:gd name="T84" fmla="*/ 2147483647 w 394"/>
                            <a:gd name="T85" fmla="*/ 2147483647 h 294"/>
                            <a:gd name="T86" fmla="*/ 2147483647 w 394"/>
                            <a:gd name="T87" fmla="*/ 2147483647 h 294"/>
                            <a:gd name="T88" fmla="*/ 2147483647 w 394"/>
                            <a:gd name="T89" fmla="*/ 2147483647 h 294"/>
                            <a:gd name="T90" fmla="*/ 2147483647 w 394"/>
                            <a:gd name="T91" fmla="*/ 2147483647 h 294"/>
                            <a:gd name="T92" fmla="*/ 2147483647 w 394"/>
                            <a:gd name="T93" fmla="*/ 2147483647 h 294"/>
                            <a:gd name="T94" fmla="*/ 2147483647 w 394"/>
                            <a:gd name="T95" fmla="*/ 2147483647 h 294"/>
                            <a:gd name="T96" fmla="*/ 2147483647 w 394"/>
                            <a:gd name="T97" fmla="*/ 2147483647 h 294"/>
                            <a:gd name="T98" fmla="*/ 2147483647 w 394"/>
                            <a:gd name="T99" fmla="*/ 2147483647 h 294"/>
                            <a:gd name="T100" fmla="*/ 2147483647 w 394"/>
                            <a:gd name="T101" fmla="*/ 2147483647 h 294"/>
                            <a:gd name="T102" fmla="*/ 2147483647 w 394"/>
                            <a:gd name="T103" fmla="*/ 2147483647 h 29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94"/>
                            <a:gd name="T157" fmla="*/ 0 h 294"/>
                            <a:gd name="T158" fmla="*/ 394 w 394"/>
                            <a:gd name="T159" fmla="*/ 294 h 29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94" h="294">
                              <a:moveTo>
                                <a:pt x="382" y="111"/>
                              </a:moveTo>
                              <a:lnTo>
                                <a:pt x="374" y="103"/>
                              </a:lnTo>
                              <a:lnTo>
                                <a:pt x="382" y="80"/>
                              </a:lnTo>
                              <a:lnTo>
                                <a:pt x="394" y="68"/>
                              </a:lnTo>
                              <a:lnTo>
                                <a:pt x="394" y="56"/>
                              </a:lnTo>
                              <a:lnTo>
                                <a:pt x="362" y="44"/>
                              </a:lnTo>
                              <a:lnTo>
                                <a:pt x="350" y="44"/>
                              </a:lnTo>
                              <a:lnTo>
                                <a:pt x="326" y="24"/>
                              </a:lnTo>
                              <a:lnTo>
                                <a:pt x="307" y="24"/>
                              </a:lnTo>
                              <a:lnTo>
                                <a:pt x="283" y="12"/>
                              </a:lnTo>
                              <a:lnTo>
                                <a:pt x="259" y="12"/>
                              </a:lnTo>
                              <a:lnTo>
                                <a:pt x="239" y="0"/>
                              </a:lnTo>
                              <a:lnTo>
                                <a:pt x="203" y="0"/>
                              </a:lnTo>
                              <a:lnTo>
                                <a:pt x="191" y="12"/>
                              </a:lnTo>
                              <a:lnTo>
                                <a:pt x="171" y="24"/>
                              </a:lnTo>
                              <a:lnTo>
                                <a:pt x="147" y="12"/>
                              </a:lnTo>
                              <a:lnTo>
                                <a:pt x="136" y="36"/>
                              </a:lnTo>
                              <a:lnTo>
                                <a:pt x="124" y="44"/>
                              </a:lnTo>
                              <a:lnTo>
                                <a:pt x="124" y="68"/>
                              </a:lnTo>
                              <a:lnTo>
                                <a:pt x="112" y="80"/>
                              </a:lnTo>
                              <a:lnTo>
                                <a:pt x="124" y="103"/>
                              </a:lnTo>
                              <a:lnTo>
                                <a:pt x="124" y="111"/>
                              </a:lnTo>
                              <a:lnTo>
                                <a:pt x="104" y="135"/>
                              </a:lnTo>
                              <a:lnTo>
                                <a:pt x="56" y="135"/>
                              </a:lnTo>
                              <a:lnTo>
                                <a:pt x="24" y="147"/>
                              </a:lnTo>
                              <a:lnTo>
                                <a:pt x="0" y="171"/>
                              </a:lnTo>
                              <a:lnTo>
                                <a:pt x="0" y="191"/>
                              </a:lnTo>
                              <a:lnTo>
                                <a:pt x="36" y="191"/>
                              </a:lnTo>
                              <a:lnTo>
                                <a:pt x="56" y="203"/>
                              </a:lnTo>
                              <a:lnTo>
                                <a:pt x="92" y="191"/>
                              </a:lnTo>
                              <a:lnTo>
                                <a:pt x="112" y="203"/>
                              </a:lnTo>
                              <a:lnTo>
                                <a:pt x="124" y="215"/>
                              </a:lnTo>
                              <a:lnTo>
                                <a:pt x="124" y="239"/>
                              </a:lnTo>
                              <a:lnTo>
                                <a:pt x="136" y="247"/>
                              </a:lnTo>
                              <a:lnTo>
                                <a:pt x="136" y="259"/>
                              </a:lnTo>
                              <a:lnTo>
                                <a:pt x="147" y="282"/>
                              </a:lnTo>
                              <a:lnTo>
                                <a:pt x="171" y="294"/>
                              </a:lnTo>
                              <a:lnTo>
                                <a:pt x="191" y="294"/>
                              </a:lnTo>
                              <a:lnTo>
                                <a:pt x="215" y="282"/>
                              </a:lnTo>
                              <a:lnTo>
                                <a:pt x="239" y="270"/>
                              </a:lnTo>
                              <a:lnTo>
                                <a:pt x="259" y="270"/>
                              </a:lnTo>
                              <a:lnTo>
                                <a:pt x="283" y="259"/>
                              </a:lnTo>
                              <a:lnTo>
                                <a:pt x="295" y="239"/>
                              </a:lnTo>
                              <a:lnTo>
                                <a:pt x="307" y="227"/>
                              </a:lnTo>
                              <a:lnTo>
                                <a:pt x="315" y="203"/>
                              </a:lnTo>
                              <a:lnTo>
                                <a:pt x="338" y="179"/>
                              </a:lnTo>
                              <a:lnTo>
                                <a:pt x="338" y="171"/>
                              </a:lnTo>
                              <a:lnTo>
                                <a:pt x="350" y="147"/>
                              </a:lnTo>
                              <a:lnTo>
                                <a:pt x="350" y="135"/>
                              </a:lnTo>
                              <a:lnTo>
                                <a:pt x="362" y="123"/>
                              </a:lnTo>
                              <a:lnTo>
                                <a:pt x="382" y="123"/>
                              </a:lnTo>
                              <a:lnTo>
                                <a:pt x="382" y="111"/>
                              </a:lnTo>
                              <a:close/>
                            </a:path>
                          </a:pathLst>
                        </a:custGeom>
                        <a:solidFill>
                          <a:srgbClr val="FFFFFF"/>
                        </a:solidFill>
                        <a:ln w="9360">
                          <a:solidFill>
                            <a:srgbClr val="969696"/>
                          </a:solidFill>
                          <a:round/>
                          <a:headEnd/>
                          <a:tailEnd/>
                        </a:ln>
                      </p:spPr>
                      <p:txBody>
                        <a:bodyPr wrap="none" anchor="ctr"/>
                        <a:lstStyle/>
                        <a:p>
                          <a:endParaRPr lang="pt-BR"/>
                        </a:p>
                      </p:txBody>
                    </p:sp>
                    <p:sp>
                      <p:nvSpPr>
                        <p:cNvPr id="211" name="Freeform 10"/>
                        <p:cNvSpPr>
                          <a:spLocks noChangeArrowheads="1"/>
                        </p:cNvSpPr>
                        <p:nvPr/>
                      </p:nvSpPr>
                      <p:spPr bwMode="auto">
                        <a:xfrm>
                          <a:off x="8229537" y="2036520"/>
                          <a:ext cx="127642" cy="146379"/>
                        </a:xfrm>
                        <a:custGeom>
                          <a:avLst/>
                          <a:gdLst>
                            <a:gd name="T0" fmla="*/ 2147483647 w 67"/>
                            <a:gd name="T1" fmla="*/ 2147483647 h 76"/>
                            <a:gd name="T2" fmla="*/ 2147483647 w 67"/>
                            <a:gd name="T3" fmla="*/ 2147483647 h 76"/>
                            <a:gd name="T4" fmla="*/ 2147483647 w 67"/>
                            <a:gd name="T5" fmla="*/ 2147483647 h 76"/>
                            <a:gd name="T6" fmla="*/ 2147483647 w 67"/>
                            <a:gd name="T7" fmla="*/ 0 h 76"/>
                            <a:gd name="T8" fmla="*/ 2147483647 w 67"/>
                            <a:gd name="T9" fmla="*/ 0 h 76"/>
                            <a:gd name="T10" fmla="*/ 2147483647 w 67"/>
                            <a:gd name="T11" fmla="*/ 2147483647 h 76"/>
                            <a:gd name="T12" fmla="*/ 2147483647 w 67"/>
                            <a:gd name="T13" fmla="*/ 2147483647 h 76"/>
                            <a:gd name="T14" fmla="*/ 0 w 67"/>
                            <a:gd name="T15" fmla="*/ 2147483647 h 76"/>
                            <a:gd name="T16" fmla="*/ 0 w 67"/>
                            <a:gd name="T17" fmla="*/ 2147483647 h 76"/>
                            <a:gd name="T18" fmla="*/ 2147483647 w 67"/>
                            <a:gd name="T19" fmla="*/ 2147483647 h 76"/>
                            <a:gd name="T20" fmla="*/ 2147483647 w 67"/>
                            <a:gd name="T21" fmla="*/ 2147483647 h 76"/>
                            <a:gd name="T22" fmla="*/ 2147483647 w 67"/>
                            <a:gd name="T23" fmla="*/ 2147483647 h 7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7"/>
                            <a:gd name="T37" fmla="*/ 0 h 76"/>
                            <a:gd name="T38" fmla="*/ 67 w 67"/>
                            <a:gd name="T39" fmla="*/ 76 h 7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7" h="76">
                              <a:moveTo>
                                <a:pt x="44" y="76"/>
                              </a:moveTo>
                              <a:lnTo>
                                <a:pt x="67" y="32"/>
                              </a:lnTo>
                              <a:lnTo>
                                <a:pt x="55" y="20"/>
                              </a:lnTo>
                              <a:lnTo>
                                <a:pt x="32" y="0"/>
                              </a:lnTo>
                              <a:lnTo>
                                <a:pt x="20" y="0"/>
                              </a:lnTo>
                              <a:lnTo>
                                <a:pt x="20" y="20"/>
                              </a:lnTo>
                              <a:lnTo>
                                <a:pt x="8" y="32"/>
                              </a:lnTo>
                              <a:lnTo>
                                <a:pt x="0" y="32"/>
                              </a:lnTo>
                              <a:lnTo>
                                <a:pt x="0" y="44"/>
                              </a:lnTo>
                              <a:lnTo>
                                <a:pt x="8" y="56"/>
                              </a:lnTo>
                              <a:lnTo>
                                <a:pt x="8" y="68"/>
                              </a:lnTo>
                              <a:lnTo>
                                <a:pt x="44" y="76"/>
                              </a:lnTo>
                              <a:close/>
                            </a:path>
                          </a:pathLst>
                        </a:custGeom>
                        <a:solidFill>
                          <a:srgbClr val="FFFFFF"/>
                        </a:solidFill>
                        <a:ln w="9360">
                          <a:solidFill>
                            <a:srgbClr val="969696"/>
                          </a:solidFill>
                          <a:round/>
                          <a:headEnd/>
                          <a:tailEnd/>
                        </a:ln>
                      </p:spPr>
                      <p:txBody>
                        <a:bodyPr wrap="none" anchor="ctr"/>
                        <a:lstStyle/>
                        <a:p>
                          <a:endParaRPr lang="pt-BR"/>
                        </a:p>
                      </p:txBody>
                    </p:sp>
                    <p:sp>
                      <p:nvSpPr>
                        <p:cNvPr id="212" name="Freeform 13"/>
                        <p:cNvSpPr>
                          <a:spLocks noChangeArrowheads="1"/>
                        </p:cNvSpPr>
                        <p:nvPr/>
                      </p:nvSpPr>
                      <p:spPr bwMode="auto">
                        <a:xfrm>
                          <a:off x="8160634" y="1744935"/>
                          <a:ext cx="328708" cy="155747"/>
                        </a:xfrm>
                        <a:custGeom>
                          <a:avLst/>
                          <a:gdLst>
                            <a:gd name="T0" fmla="*/ 2147483647 w 171"/>
                            <a:gd name="T1" fmla="*/ 2147483647 h 79"/>
                            <a:gd name="T2" fmla="*/ 2147483647 w 171"/>
                            <a:gd name="T3" fmla="*/ 2147483647 h 79"/>
                            <a:gd name="T4" fmla="*/ 2147483647 w 171"/>
                            <a:gd name="T5" fmla="*/ 2147483647 h 79"/>
                            <a:gd name="T6" fmla="*/ 2147483647 w 171"/>
                            <a:gd name="T7" fmla="*/ 2147483647 h 79"/>
                            <a:gd name="T8" fmla="*/ 2147483647 w 171"/>
                            <a:gd name="T9" fmla="*/ 2147483647 h 79"/>
                            <a:gd name="T10" fmla="*/ 2147483647 w 171"/>
                            <a:gd name="T11" fmla="*/ 2147483647 h 79"/>
                            <a:gd name="T12" fmla="*/ 2147483647 w 171"/>
                            <a:gd name="T13" fmla="*/ 2147483647 h 79"/>
                            <a:gd name="T14" fmla="*/ 2147483647 w 171"/>
                            <a:gd name="T15" fmla="*/ 2147483647 h 79"/>
                            <a:gd name="T16" fmla="*/ 2147483647 w 171"/>
                            <a:gd name="T17" fmla="*/ 2147483647 h 79"/>
                            <a:gd name="T18" fmla="*/ 2147483647 w 171"/>
                            <a:gd name="T19" fmla="*/ 0 h 79"/>
                            <a:gd name="T20" fmla="*/ 2147483647 w 171"/>
                            <a:gd name="T21" fmla="*/ 2147483647 h 79"/>
                            <a:gd name="T22" fmla="*/ 2147483647 w 171"/>
                            <a:gd name="T23" fmla="*/ 2147483647 h 79"/>
                            <a:gd name="T24" fmla="*/ 2147483647 w 171"/>
                            <a:gd name="T25" fmla="*/ 2147483647 h 79"/>
                            <a:gd name="T26" fmla="*/ 2147483647 w 171"/>
                            <a:gd name="T27" fmla="*/ 2147483647 h 79"/>
                            <a:gd name="T28" fmla="*/ 0 w 171"/>
                            <a:gd name="T29" fmla="*/ 2147483647 h 79"/>
                            <a:gd name="T30" fmla="*/ 2147483647 w 171"/>
                            <a:gd name="T31" fmla="*/ 2147483647 h 79"/>
                            <a:gd name="T32" fmla="*/ 2147483647 w 171"/>
                            <a:gd name="T33" fmla="*/ 2147483647 h 79"/>
                            <a:gd name="T34" fmla="*/ 2147483647 w 171"/>
                            <a:gd name="T35" fmla="*/ 2147483647 h 79"/>
                            <a:gd name="T36" fmla="*/ 2147483647 w 171"/>
                            <a:gd name="T37" fmla="*/ 2147483647 h 79"/>
                            <a:gd name="T38" fmla="*/ 2147483647 w 171"/>
                            <a:gd name="T39" fmla="*/ 2147483647 h 79"/>
                            <a:gd name="T40" fmla="*/ 2147483647 w 171"/>
                            <a:gd name="T41" fmla="*/ 2147483647 h 79"/>
                            <a:gd name="T42" fmla="*/ 2147483647 w 171"/>
                            <a:gd name="T43" fmla="*/ 2147483647 h 79"/>
                            <a:gd name="T44" fmla="*/ 2147483647 w 171"/>
                            <a:gd name="T45" fmla="*/ 2147483647 h 79"/>
                            <a:gd name="T46" fmla="*/ 2147483647 w 171"/>
                            <a:gd name="T47" fmla="*/ 2147483647 h 79"/>
                            <a:gd name="T48" fmla="*/ 2147483647 w 171"/>
                            <a:gd name="T49" fmla="*/ 2147483647 h 7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71"/>
                            <a:gd name="T76" fmla="*/ 0 h 79"/>
                            <a:gd name="T77" fmla="*/ 171 w 171"/>
                            <a:gd name="T78" fmla="*/ 79 h 7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71" h="79">
                              <a:moveTo>
                                <a:pt x="171" y="44"/>
                              </a:moveTo>
                              <a:lnTo>
                                <a:pt x="159" y="20"/>
                              </a:lnTo>
                              <a:lnTo>
                                <a:pt x="123" y="20"/>
                              </a:lnTo>
                              <a:lnTo>
                                <a:pt x="111" y="12"/>
                              </a:lnTo>
                              <a:lnTo>
                                <a:pt x="103" y="12"/>
                              </a:lnTo>
                              <a:lnTo>
                                <a:pt x="103" y="20"/>
                              </a:lnTo>
                              <a:lnTo>
                                <a:pt x="103" y="32"/>
                              </a:lnTo>
                              <a:lnTo>
                                <a:pt x="56" y="32"/>
                              </a:lnTo>
                              <a:lnTo>
                                <a:pt x="80" y="12"/>
                              </a:lnTo>
                              <a:lnTo>
                                <a:pt x="68" y="0"/>
                              </a:lnTo>
                              <a:lnTo>
                                <a:pt x="56" y="12"/>
                              </a:lnTo>
                              <a:lnTo>
                                <a:pt x="36" y="20"/>
                              </a:lnTo>
                              <a:lnTo>
                                <a:pt x="24" y="20"/>
                              </a:lnTo>
                              <a:lnTo>
                                <a:pt x="12" y="55"/>
                              </a:lnTo>
                              <a:lnTo>
                                <a:pt x="0" y="67"/>
                              </a:lnTo>
                              <a:lnTo>
                                <a:pt x="36" y="79"/>
                              </a:lnTo>
                              <a:lnTo>
                                <a:pt x="44" y="67"/>
                              </a:lnTo>
                              <a:lnTo>
                                <a:pt x="68" y="55"/>
                              </a:lnTo>
                              <a:lnTo>
                                <a:pt x="80" y="55"/>
                              </a:lnTo>
                              <a:lnTo>
                                <a:pt x="68" y="79"/>
                              </a:lnTo>
                              <a:lnTo>
                                <a:pt x="91" y="79"/>
                              </a:lnTo>
                              <a:lnTo>
                                <a:pt x="103" y="67"/>
                              </a:lnTo>
                              <a:lnTo>
                                <a:pt x="135" y="67"/>
                              </a:lnTo>
                              <a:lnTo>
                                <a:pt x="159" y="44"/>
                              </a:lnTo>
                              <a:lnTo>
                                <a:pt x="171" y="44"/>
                              </a:lnTo>
                              <a:close/>
                            </a:path>
                          </a:pathLst>
                        </a:custGeom>
                        <a:solidFill>
                          <a:srgbClr val="FFFFFF"/>
                        </a:solidFill>
                        <a:ln w="9360">
                          <a:solidFill>
                            <a:srgbClr val="969696"/>
                          </a:solidFill>
                          <a:round/>
                          <a:headEnd/>
                          <a:tailEnd/>
                        </a:ln>
                      </p:spPr>
                      <p:txBody>
                        <a:bodyPr wrap="none" anchor="ctr"/>
                        <a:lstStyle/>
                        <a:p>
                          <a:endParaRPr lang="pt-BR"/>
                        </a:p>
                      </p:txBody>
                    </p:sp>
                    <p:sp>
                      <p:nvSpPr>
                        <p:cNvPr id="213" name="Freeform 9"/>
                        <p:cNvSpPr>
                          <a:spLocks noChangeArrowheads="1"/>
                        </p:cNvSpPr>
                        <p:nvPr/>
                      </p:nvSpPr>
                      <p:spPr bwMode="auto">
                        <a:xfrm>
                          <a:off x="7661358" y="1941666"/>
                          <a:ext cx="651769" cy="707301"/>
                        </a:xfrm>
                        <a:custGeom>
                          <a:avLst/>
                          <a:gdLst>
                            <a:gd name="T0" fmla="*/ 2147483647 w 339"/>
                            <a:gd name="T1" fmla="*/ 2147483647 h 362"/>
                            <a:gd name="T2" fmla="*/ 2147483647 w 339"/>
                            <a:gd name="T3" fmla="*/ 2147483647 h 362"/>
                            <a:gd name="T4" fmla="*/ 2147483647 w 339"/>
                            <a:gd name="T5" fmla="*/ 2147483647 h 362"/>
                            <a:gd name="T6" fmla="*/ 2147483647 w 339"/>
                            <a:gd name="T7" fmla="*/ 2147483647 h 362"/>
                            <a:gd name="T8" fmla="*/ 2147483647 w 339"/>
                            <a:gd name="T9" fmla="*/ 2147483647 h 362"/>
                            <a:gd name="T10" fmla="*/ 2147483647 w 339"/>
                            <a:gd name="T11" fmla="*/ 2147483647 h 362"/>
                            <a:gd name="T12" fmla="*/ 2147483647 w 339"/>
                            <a:gd name="T13" fmla="*/ 2147483647 h 362"/>
                            <a:gd name="T14" fmla="*/ 2147483647 w 339"/>
                            <a:gd name="T15" fmla="*/ 2147483647 h 362"/>
                            <a:gd name="T16" fmla="*/ 2147483647 w 339"/>
                            <a:gd name="T17" fmla="*/ 2147483647 h 362"/>
                            <a:gd name="T18" fmla="*/ 2147483647 w 339"/>
                            <a:gd name="T19" fmla="*/ 2147483647 h 362"/>
                            <a:gd name="T20" fmla="*/ 2147483647 w 339"/>
                            <a:gd name="T21" fmla="*/ 2147483647 h 362"/>
                            <a:gd name="T22" fmla="*/ 2147483647 w 339"/>
                            <a:gd name="T23" fmla="*/ 2147483647 h 362"/>
                            <a:gd name="T24" fmla="*/ 2147483647 w 339"/>
                            <a:gd name="T25" fmla="*/ 2147483647 h 362"/>
                            <a:gd name="T26" fmla="*/ 2147483647 w 339"/>
                            <a:gd name="T27" fmla="*/ 2147483647 h 362"/>
                            <a:gd name="T28" fmla="*/ 2147483647 w 339"/>
                            <a:gd name="T29" fmla="*/ 2147483647 h 362"/>
                            <a:gd name="T30" fmla="*/ 2147483647 w 339"/>
                            <a:gd name="T31" fmla="*/ 2147483647 h 362"/>
                            <a:gd name="T32" fmla="*/ 2147483647 w 339"/>
                            <a:gd name="T33" fmla="*/ 2147483647 h 362"/>
                            <a:gd name="T34" fmla="*/ 2147483647 w 339"/>
                            <a:gd name="T35" fmla="*/ 2147483647 h 362"/>
                            <a:gd name="T36" fmla="*/ 2147483647 w 339"/>
                            <a:gd name="T37" fmla="*/ 2147483647 h 362"/>
                            <a:gd name="T38" fmla="*/ 2147483647 w 339"/>
                            <a:gd name="T39" fmla="*/ 2147483647 h 362"/>
                            <a:gd name="T40" fmla="*/ 2147483647 w 339"/>
                            <a:gd name="T41" fmla="*/ 2147483647 h 362"/>
                            <a:gd name="T42" fmla="*/ 2147483647 w 339"/>
                            <a:gd name="T43" fmla="*/ 2147483647 h 362"/>
                            <a:gd name="T44" fmla="*/ 2147483647 w 339"/>
                            <a:gd name="T45" fmla="*/ 2147483647 h 362"/>
                            <a:gd name="T46" fmla="*/ 2147483647 w 339"/>
                            <a:gd name="T47" fmla="*/ 2147483647 h 362"/>
                            <a:gd name="T48" fmla="*/ 2147483647 w 339"/>
                            <a:gd name="T49" fmla="*/ 2147483647 h 362"/>
                            <a:gd name="T50" fmla="*/ 2147483647 w 339"/>
                            <a:gd name="T51" fmla="*/ 2147483647 h 362"/>
                            <a:gd name="T52" fmla="*/ 2147483647 w 339"/>
                            <a:gd name="T53" fmla="*/ 2147483647 h 362"/>
                            <a:gd name="T54" fmla="*/ 2147483647 w 339"/>
                            <a:gd name="T55" fmla="*/ 2147483647 h 362"/>
                            <a:gd name="T56" fmla="*/ 2147483647 w 339"/>
                            <a:gd name="T57" fmla="*/ 2147483647 h 362"/>
                            <a:gd name="T58" fmla="*/ 2147483647 w 339"/>
                            <a:gd name="T59" fmla="*/ 2147483647 h 362"/>
                            <a:gd name="T60" fmla="*/ 2147483647 w 339"/>
                            <a:gd name="T61" fmla="*/ 2147483647 h 362"/>
                            <a:gd name="T62" fmla="*/ 2147483647 w 339"/>
                            <a:gd name="T63" fmla="*/ 2147483647 h 362"/>
                            <a:gd name="T64" fmla="*/ 2147483647 w 339"/>
                            <a:gd name="T65" fmla="*/ 2147483647 h 362"/>
                            <a:gd name="T66" fmla="*/ 2147483647 w 339"/>
                            <a:gd name="T67" fmla="*/ 2147483647 h 362"/>
                            <a:gd name="T68" fmla="*/ 2147483647 w 339"/>
                            <a:gd name="T69" fmla="*/ 2147483647 h 362"/>
                            <a:gd name="T70" fmla="*/ 2147483647 w 339"/>
                            <a:gd name="T71" fmla="*/ 2147483647 h 362"/>
                            <a:gd name="T72" fmla="*/ 2147483647 w 339"/>
                            <a:gd name="T73" fmla="*/ 2147483647 h 362"/>
                            <a:gd name="T74" fmla="*/ 2147483647 w 339"/>
                            <a:gd name="T75" fmla="*/ 0 h 362"/>
                            <a:gd name="T76" fmla="*/ 2147483647 w 339"/>
                            <a:gd name="T77" fmla="*/ 2147483647 h 362"/>
                            <a:gd name="T78" fmla="*/ 2147483647 w 339"/>
                            <a:gd name="T79" fmla="*/ 2147483647 h 362"/>
                            <a:gd name="T80" fmla="*/ 2147483647 w 339"/>
                            <a:gd name="T81" fmla="*/ 2147483647 h 362"/>
                            <a:gd name="T82" fmla="*/ 2147483647 w 339"/>
                            <a:gd name="T83" fmla="*/ 0 h 362"/>
                            <a:gd name="T84" fmla="*/ 2147483647 w 339"/>
                            <a:gd name="T85" fmla="*/ 2147483647 h 362"/>
                            <a:gd name="T86" fmla="*/ 2147483647 w 339"/>
                            <a:gd name="T87" fmla="*/ 2147483647 h 362"/>
                            <a:gd name="T88" fmla="*/ 2147483647 w 339"/>
                            <a:gd name="T89" fmla="*/ 2147483647 h 362"/>
                            <a:gd name="T90" fmla="*/ 2147483647 w 339"/>
                            <a:gd name="T91" fmla="*/ 2147483647 h 362"/>
                            <a:gd name="T92" fmla="*/ 2147483647 w 339"/>
                            <a:gd name="T93" fmla="*/ 2147483647 h 362"/>
                            <a:gd name="T94" fmla="*/ 2147483647 w 339"/>
                            <a:gd name="T95" fmla="*/ 2147483647 h 362"/>
                            <a:gd name="T96" fmla="*/ 2147483647 w 339"/>
                            <a:gd name="T97" fmla="*/ 2147483647 h 362"/>
                            <a:gd name="T98" fmla="*/ 2147483647 w 339"/>
                            <a:gd name="T99" fmla="*/ 2147483647 h 362"/>
                            <a:gd name="T100" fmla="*/ 2147483647 w 339"/>
                            <a:gd name="T101" fmla="*/ 2147483647 h 362"/>
                            <a:gd name="T102" fmla="*/ 2147483647 w 339"/>
                            <a:gd name="T103" fmla="*/ 2147483647 h 362"/>
                            <a:gd name="T104" fmla="*/ 2147483647 w 339"/>
                            <a:gd name="T105" fmla="*/ 2147483647 h 362"/>
                            <a:gd name="T106" fmla="*/ 2147483647 w 339"/>
                            <a:gd name="T107" fmla="*/ 2147483647 h 362"/>
                            <a:gd name="T108" fmla="*/ 0 w 339"/>
                            <a:gd name="T109" fmla="*/ 2147483647 h 362"/>
                            <a:gd name="T110" fmla="*/ 2147483647 w 339"/>
                            <a:gd name="T111" fmla="*/ 2147483647 h 362"/>
                            <a:gd name="T112" fmla="*/ 2147483647 w 339"/>
                            <a:gd name="T113" fmla="*/ 2147483647 h 362"/>
                            <a:gd name="T114" fmla="*/ 2147483647 w 339"/>
                            <a:gd name="T115" fmla="*/ 2147483647 h 362"/>
                            <a:gd name="T116" fmla="*/ 2147483647 w 339"/>
                            <a:gd name="T117" fmla="*/ 2147483647 h 36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39"/>
                            <a:gd name="T178" fmla="*/ 0 h 362"/>
                            <a:gd name="T179" fmla="*/ 339 w 339"/>
                            <a:gd name="T180" fmla="*/ 362 h 36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39" h="362">
                              <a:moveTo>
                                <a:pt x="24" y="251"/>
                              </a:moveTo>
                              <a:lnTo>
                                <a:pt x="44" y="239"/>
                              </a:lnTo>
                              <a:lnTo>
                                <a:pt x="56" y="227"/>
                              </a:lnTo>
                              <a:lnTo>
                                <a:pt x="92" y="227"/>
                              </a:lnTo>
                              <a:lnTo>
                                <a:pt x="112" y="239"/>
                              </a:lnTo>
                              <a:lnTo>
                                <a:pt x="136" y="239"/>
                              </a:lnTo>
                              <a:lnTo>
                                <a:pt x="160" y="251"/>
                              </a:lnTo>
                              <a:lnTo>
                                <a:pt x="179" y="251"/>
                              </a:lnTo>
                              <a:lnTo>
                                <a:pt x="203" y="271"/>
                              </a:lnTo>
                              <a:lnTo>
                                <a:pt x="215" y="271"/>
                              </a:lnTo>
                              <a:lnTo>
                                <a:pt x="247" y="283"/>
                              </a:lnTo>
                              <a:lnTo>
                                <a:pt x="247" y="295"/>
                              </a:lnTo>
                              <a:lnTo>
                                <a:pt x="235" y="307"/>
                              </a:lnTo>
                              <a:lnTo>
                                <a:pt x="227" y="330"/>
                              </a:lnTo>
                              <a:lnTo>
                                <a:pt x="235" y="338"/>
                              </a:lnTo>
                              <a:lnTo>
                                <a:pt x="235" y="350"/>
                              </a:lnTo>
                              <a:lnTo>
                                <a:pt x="247" y="362"/>
                              </a:lnTo>
                              <a:lnTo>
                                <a:pt x="259" y="350"/>
                              </a:lnTo>
                              <a:lnTo>
                                <a:pt x="271" y="330"/>
                              </a:lnTo>
                              <a:lnTo>
                                <a:pt x="271" y="295"/>
                              </a:lnTo>
                              <a:lnTo>
                                <a:pt x="283" y="271"/>
                              </a:lnTo>
                              <a:lnTo>
                                <a:pt x="283" y="191"/>
                              </a:lnTo>
                              <a:lnTo>
                                <a:pt x="295" y="171"/>
                              </a:lnTo>
                              <a:lnTo>
                                <a:pt x="295" y="183"/>
                              </a:lnTo>
                              <a:lnTo>
                                <a:pt x="303" y="183"/>
                              </a:lnTo>
                              <a:lnTo>
                                <a:pt x="327" y="135"/>
                              </a:lnTo>
                              <a:lnTo>
                                <a:pt x="339" y="124"/>
                              </a:lnTo>
                              <a:lnTo>
                                <a:pt x="303" y="116"/>
                              </a:lnTo>
                              <a:lnTo>
                                <a:pt x="303" y="104"/>
                              </a:lnTo>
                              <a:lnTo>
                                <a:pt x="295" y="92"/>
                              </a:lnTo>
                              <a:lnTo>
                                <a:pt x="295" y="80"/>
                              </a:lnTo>
                              <a:lnTo>
                                <a:pt x="303" y="80"/>
                              </a:lnTo>
                              <a:lnTo>
                                <a:pt x="315" y="68"/>
                              </a:lnTo>
                              <a:lnTo>
                                <a:pt x="315" y="48"/>
                              </a:lnTo>
                              <a:lnTo>
                                <a:pt x="303" y="24"/>
                              </a:lnTo>
                              <a:lnTo>
                                <a:pt x="295" y="24"/>
                              </a:lnTo>
                              <a:lnTo>
                                <a:pt x="295" y="12"/>
                              </a:lnTo>
                              <a:lnTo>
                                <a:pt x="247" y="0"/>
                              </a:lnTo>
                              <a:lnTo>
                                <a:pt x="227" y="24"/>
                              </a:lnTo>
                              <a:lnTo>
                                <a:pt x="203" y="24"/>
                              </a:lnTo>
                              <a:lnTo>
                                <a:pt x="203" y="12"/>
                              </a:lnTo>
                              <a:lnTo>
                                <a:pt x="191" y="0"/>
                              </a:lnTo>
                              <a:lnTo>
                                <a:pt x="168" y="24"/>
                              </a:lnTo>
                              <a:lnTo>
                                <a:pt x="124" y="36"/>
                              </a:lnTo>
                              <a:lnTo>
                                <a:pt x="100" y="24"/>
                              </a:lnTo>
                              <a:lnTo>
                                <a:pt x="92" y="36"/>
                              </a:lnTo>
                              <a:lnTo>
                                <a:pt x="92" y="48"/>
                              </a:lnTo>
                              <a:lnTo>
                                <a:pt x="100" y="56"/>
                              </a:lnTo>
                              <a:lnTo>
                                <a:pt x="100" y="68"/>
                              </a:lnTo>
                              <a:lnTo>
                                <a:pt x="80" y="92"/>
                              </a:lnTo>
                              <a:lnTo>
                                <a:pt x="56" y="92"/>
                              </a:lnTo>
                              <a:lnTo>
                                <a:pt x="32" y="80"/>
                              </a:lnTo>
                              <a:lnTo>
                                <a:pt x="24" y="80"/>
                              </a:lnTo>
                              <a:lnTo>
                                <a:pt x="12" y="92"/>
                              </a:lnTo>
                              <a:lnTo>
                                <a:pt x="0" y="116"/>
                              </a:lnTo>
                              <a:lnTo>
                                <a:pt x="12" y="147"/>
                              </a:lnTo>
                              <a:lnTo>
                                <a:pt x="12" y="191"/>
                              </a:lnTo>
                              <a:lnTo>
                                <a:pt x="24" y="215"/>
                              </a:lnTo>
                              <a:lnTo>
                                <a:pt x="24" y="251"/>
                              </a:lnTo>
                              <a:close/>
                            </a:path>
                          </a:pathLst>
                        </a:custGeom>
                        <a:solidFill>
                          <a:srgbClr val="FFFFFF"/>
                        </a:solidFill>
                        <a:ln w="9360">
                          <a:solidFill>
                            <a:srgbClr val="969696"/>
                          </a:solidFill>
                          <a:round/>
                          <a:headEnd/>
                          <a:tailEnd/>
                        </a:ln>
                      </p:spPr>
                      <p:txBody>
                        <a:bodyPr wrap="none" anchor="ctr"/>
                        <a:lstStyle/>
                        <a:p>
                          <a:endParaRPr lang="pt-BR"/>
                        </a:p>
                      </p:txBody>
                    </p:sp>
                    <p:sp>
                      <p:nvSpPr>
                        <p:cNvPr id="214" name="Freeform 11"/>
                        <p:cNvSpPr>
                          <a:spLocks noChangeArrowheads="1"/>
                        </p:cNvSpPr>
                        <p:nvPr/>
                      </p:nvSpPr>
                      <p:spPr bwMode="auto">
                        <a:xfrm>
                          <a:off x="8235187" y="1963916"/>
                          <a:ext cx="219139" cy="133497"/>
                        </a:xfrm>
                        <a:custGeom>
                          <a:avLst/>
                          <a:gdLst>
                            <a:gd name="T0" fmla="*/ 2147483647 w 115"/>
                            <a:gd name="T1" fmla="*/ 2147483647 h 68"/>
                            <a:gd name="T2" fmla="*/ 2147483647 w 115"/>
                            <a:gd name="T3" fmla="*/ 2147483647 h 68"/>
                            <a:gd name="T4" fmla="*/ 2147483647 w 115"/>
                            <a:gd name="T5" fmla="*/ 2147483647 h 68"/>
                            <a:gd name="T6" fmla="*/ 2147483647 w 115"/>
                            <a:gd name="T7" fmla="*/ 0 h 68"/>
                            <a:gd name="T8" fmla="*/ 2147483647 w 115"/>
                            <a:gd name="T9" fmla="*/ 0 h 68"/>
                            <a:gd name="T10" fmla="*/ 2147483647 w 115"/>
                            <a:gd name="T11" fmla="*/ 2147483647 h 68"/>
                            <a:gd name="T12" fmla="*/ 2147483647 w 115"/>
                            <a:gd name="T13" fmla="*/ 2147483647 h 68"/>
                            <a:gd name="T14" fmla="*/ 2147483647 w 115"/>
                            <a:gd name="T15" fmla="*/ 0 h 68"/>
                            <a:gd name="T16" fmla="*/ 2147483647 w 115"/>
                            <a:gd name="T17" fmla="*/ 0 h 68"/>
                            <a:gd name="T18" fmla="*/ 0 w 115"/>
                            <a:gd name="T19" fmla="*/ 2147483647 h 68"/>
                            <a:gd name="T20" fmla="*/ 2147483647 w 115"/>
                            <a:gd name="T21" fmla="*/ 2147483647 h 68"/>
                            <a:gd name="T22" fmla="*/ 2147483647 w 115"/>
                            <a:gd name="T23" fmla="*/ 2147483647 h 68"/>
                            <a:gd name="T24" fmla="*/ 2147483647 w 115"/>
                            <a:gd name="T25" fmla="*/ 2147483647 h 68"/>
                            <a:gd name="T26" fmla="*/ 2147483647 w 115"/>
                            <a:gd name="T27" fmla="*/ 2147483647 h 6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5"/>
                            <a:gd name="T43" fmla="*/ 0 h 68"/>
                            <a:gd name="T44" fmla="*/ 115 w 115"/>
                            <a:gd name="T45" fmla="*/ 68 h 6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5" h="68">
                              <a:moveTo>
                                <a:pt x="59" y="68"/>
                              </a:moveTo>
                              <a:lnTo>
                                <a:pt x="79" y="56"/>
                              </a:lnTo>
                              <a:lnTo>
                                <a:pt x="91" y="36"/>
                              </a:lnTo>
                              <a:lnTo>
                                <a:pt x="115" y="0"/>
                              </a:lnTo>
                              <a:lnTo>
                                <a:pt x="79" y="0"/>
                              </a:lnTo>
                              <a:lnTo>
                                <a:pt x="67" y="12"/>
                              </a:lnTo>
                              <a:lnTo>
                                <a:pt x="59" y="12"/>
                              </a:lnTo>
                              <a:lnTo>
                                <a:pt x="36" y="0"/>
                              </a:lnTo>
                              <a:lnTo>
                                <a:pt x="12" y="0"/>
                              </a:lnTo>
                              <a:lnTo>
                                <a:pt x="0" y="12"/>
                              </a:lnTo>
                              <a:lnTo>
                                <a:pt x="12" y="36"/>
                              </a:lnTo>
                              <a:lnTo>
                                <a:pt x="24" y="36"/>
                              </a:lnTo>
                              <a:lnTo>
                                <a:pt x="47" y="56"/>
                              </a:lnTo>
                              <a:lnTo>
                                <a:pt x="59" y="68"/>
                              </a:lnTo>
                              <a:close/>
                            </a:path>
                          </a:pathLst>
                        </a:custGeom>
                        <a:solidFill>
                          <a:srgbClr val="FFFFFF"/>
                        </a:solidFill>
                        <a:ln w="9360">
                          <a:solidFill>
                            <a:srgbClr val="969696"/>
                          </a:solidFill>
                          <a:round/>
                          <a:headEnd/>
                          <a:tailEnd/>
                        </a:ln>
                      </p:spPr>
                      <p:txBody>
                        <a:bodyPr wrap="none" anchor="ctr"/>
                        <a:lstStyle/>
                        <a:p>
                          <a:endParaRPr lang="pt-BR"/>
                        </a:p>
                      </p:txBody>
                    </p:sp>
                    <p:sp>
                      <p:nvSpPr>
                        <p:cNvPr id="215" name="Freeform 58"/>
                        <p:cNvSpPr>
                          <a:spLocks noChangeArrowheads="1"/>
                        </p:cNvSpPr>
                        <p:nvPr/>
                      </p:nvSpPr>
                      <p:spPr bwMode="auto">
                        <a:xfrm>
                          <a:off x="7546512" y="1586310"/>
                          <a:ext cx="908185" cy="1440365"/>
                        </a:xfrm>
                        <a:custGeom>
                          <a:avLst/>
                          <a:gdLst>
                            <a:gd name="T0" fmla="*/ 2147483647 w 961"/>
                            <a:gd name="T1" fmla="*/ 2147483647 h 1609"/>
                            <a:gd name="T2" fmla="*/ 2147483647 w 961"/>
                            <a:gd name="T3" fmla="*/ 2147483647 h 1609"/>
                            <a:gd name="T4" fmla="*/ 2147483647 w 961"/>
                            <a:gd name="T5" fmla="*/ 2147483647 h 1609"/>
                            <a:gd name="T6" fmla="*/ 0 w 961"/>
                            <a:gd name="T7" fmla="*/ 2147483647 h 1609"/>
                            <a:gd name="T8" fmla="*/ 2147483647 w 961"/>
                            <a:gd name="T9" fmla="*/ 2147483647 h 1609"/>
                            <a:gd name="T10" fmla="*/ 2147483647 w 961"/>
                            <a:gd name="T11" fmla="*/ 2147483647 h 1609"/>
                            <a:gd name="T12" fmla="*/ 2147483647 w 961"/>
                            <a:gd name="T13" fmla="*/ 2147483647 h 1609"/>
                            <a:gd name="T14" fmla="*/ 2147483647 w 961"/>
                            <a:gd name="T15" fmla="*/ 2147483647 h 1609"/>
                            <a:gd name="T16" fmla="*/ 2147483647 w 961"/>
                            <a:gd name="T17" fmla="*/ 2147483647 h 1609"/>
                            <a:gd name="T18" fmla="*/ 2147483647 w 961"/>
                            <a:gd name="T19" fmla="*/ 2147483647 h 1609"/>
                            <a:gd name="T20" fmla="*/ 2147483647 w 961"/>
                            <a:gd name="T21" fmla="*/ 2147483647 h 1609"/>
                            <a:gd name="T22" fmla="*/ 2147483647 w 961"/>
                            <a:gd name="T23" fmla="*/ 2147483647 h 1609"/>
                            <a:gd name="T24" fmla="*/ 2147483647 w 961"/>
                            <a:gd name="T25" fmla="*/ 2147483647 h 1609"/>
                            <a:gd name="T26" fmla="*/ 2147483647 w 961"/>
                            <a:gd name="T27" fmla="*/ 2147483647 h 1609"/>
                            <a:gd name="T28" fmla="*/ 2147483647 w 961"/>
                            <a:gd name="T29" fmla="*/ 2147483647 h 1609"/>
                            <a:gd name="T30" fmla="*/ 2147483647 w 961"/>
                            <a:gd name="T31" fmla="*/ 2147483647 h 1609"/>
                            <a:gd name="T32" fmla="*/ 2147483647 w 961"/>
                            <a:gd name="T33" fmla="*/ 2147483647 h 1609"/>
                            <a:gd name="T34" fmla="*/ 2147483647 w 961"/>
                            <a:gd name="T35" fmla="*/ 2147483647 h 1609"/>
                            <a:gd name="T36" fmla="*/ 2147483647 w 961"/>
                            <a:gd name="T37" fmla="*/ 2147483647 h 1609"/>
                            <a:gd name="T38" fmla="*/ 2147483647 w 961"/>
                            <a:gd name="T39" fmla="*/ 2147483647 h 1609"/>
                            <a:gd name="T40" fmla="*/ 2147483647 w 961"/>
                            <a:gd name="T41" fmla="*/ 2147483647 h 1609"/>
                            <a:gd name="T42" fmla="*/ 2147483647 w 961"/>
                            <a:gd name="T43" fmla="*/ 2147483647 h 1609"/>
                            <a:gd name="T44" fmla="*/ 2147483647 w 961"/>
                            <a:gd name="T45" fmla="*/ 0 h 1609"/>
                            <a:gd name="T46" fmla="*/ 2147483647 w 961"/>
                            <a:gd name="T47" fmla="*/ 0 h 1609"/>
                            <a:gd name="T48" fmla="*/ 2147483647 w 961"/>
                            <a:gd name="T49" fmla="*/ 2147483647 h 1609"/>
                            <a:gd name="T50" fmla="*/ 2147483647 w 961"/>
                            <a:gd name="T51" fmla="*/ 2147483647 h 1609"/>
                            <a:gd name="T52" fmla="*/ 2147483647 w 961"/>
                            <a:gd name="T53" fmla="*/ 2147483647 h 1609"/>
                            <a:gd name="T54" fmla="*/ 2147483647 w 961"/>
                            <a:gd name="T55" fmla="*/ 2147483647 h 160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961"/>
                            <a:gd name="T85" fmla="*/ 0 h 1609"/>
                            <a:gd name="T86" fmla="*/ 961 w 961"/>
                            <a:gd name="T87" fmla="*/ 1609 h 160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961" h="1609">
                              <a:moveTo>
                                <a:pt x="33" y="926"/>
                              </a:moveTo>
                              <a:cubicBezTo>
                                <a:pt x="27" y="981"/>
                                <a:pt x="22" y="1035"/>
                                <a:pt x="16" y="1090"/>
                              </a:cubicBezTo>
                              <a:cubicBezTo>
                                <a:pt x="24" y="1143"/>
                                <a:pt x="31" y="1196"/>
                                <a:pt x="39" y="1249"/>
                              </a:cubicBezTo>
                              <a:lnTo>
                                <a:pt x="0" y="1366"/>
                              </a:lnTo>
                              <a:lnTo>
                                <a:pt x="72" y="1486"/>
                              </a:lnTo>
                              <a:cubicBezTo>
                                <a:pt x="79" y="1509"/>
                                <a:pt x="85" y="1531"/>
                                <a:pt x="92" y="1554"/>
                              </a:cubicBezTo>
                              <a:lnTo>
                                <a:pt x="138" y="1609"/>
                              </a:lnTo>
                              <a:cubicBezTo>
                                <a:pt x="150" y="1602"/>
                                <a:pt x="161" y="1595"/>
                                <a:pt x="173" y="1588"/>
                              </a:cubicBezTo>
                              <a:lnTo>
                                <a:pt x="288" y="1554"/>
                              </a:lnTo>
                              <a:lnTo>
                                <a:pt x="419" y="1545"/>
                              </a:lnTo>
                              <a:lnTo>
                                <a:pt x="344" y="1404"/>
                              </a:lnTo>
                              <a:cubicBezTo>
                                <a:pt x="307" y="1333"/>
                                <a:pt x="269" y="1262"/>
                                <a:pt x="232" y="1191"/>
                              </a:cubicBezTo>
                              <a:cubicBezTo>
                                <a:pt x="232" y="1191"/>
                                <a:pt x="385" y="1186"/>
                                <a:pt x="444" y="1147"/>
                              </a:cubicBezTo>
                              <a:cubicBezTo>
                                <a:pt x="503" y="1108"/>
                                <a:pt x="559" y="1022"/>
                                <a:pt x="585" y="963"/>
                              </a:cubicBezTo>
                              <a:cubicBezTo>
                                <a:pt x="612" y="905"/>
                                <a:pt x="571" y="836"/>
                                <a:pt x="599" y="797"/>
                              </a:cubicBezTo>
                              <a:lnTo>
                                <a:pt x="750" y="734"/>
                              </a:lnTo>
                              <a:cubicBezTo>
                                <a:pt x="771" y="693"/>
                                <a:pt x="791" y="651"/>
                                <a:pt x="812" y="610"/>
                              </a:cubicBezTo>
                              <a:cubicBezTo>
                                <a:pt x="843" y="566"/>
                                <a:pt x="873" y="522"/>
                                <a:pt x="904" y="478"/>
                              </a:cubicBezTo>
                              <a:lnTo>
                                <a:pt x="961" y="337"/>
                              </a:lnTo>
                              <a:cubicBezTo>
                                <a:pt x="953" y="304"/>
                                <a:pt x="917" y="298"/>
                                <a:pt x="853" y="277"/>
                              </a:cubicBezTo>
                              <a:cubicBezTo>
                                <a:pt x="789" y="256"/>
                                <a:pt x="624" y="245"/>
                                <a:pt x="576" y="208"/>
                              </a:cubicBezTo>
                              <a:cubicBezTo>
                                <a:pt x="503" y="176"/>
                                <a:pt x="548" y="88"/>
                                <a:pt x="562" y="53"/>
                              </a:cubicBezTo>
                              <a:cubicBezTo>
                                <a:pt x="577" y="18"/>
                                <a:pt x="646" y="9"/>
                                <a:pt x="661" y="0"/>
                              </a:cubicBezTo>
                              <a:lnTo>
                                <a:pt x="654" y="0"/>
                              </a:lnTo>
                              <a:cubicBezTo>
                                <a:pt x="649" y="41"/>
                                <a:pt x="656" y="82"/>
                                <a:pt x="651" y="123"/>
                              </a:cubicBezTo>
                              <a:cubicBezTo>
                                <a:pt x="633" y="174"/>
                                <a:pt x="655" y="266"/>
                                <a:pt x="637" y="317"/>
                              </a:cubicBezTo>
                              <a:cubicBezTo>
                                <a:pt x="663" y="356"/>
                                <a:pt x="688" y="395"/>
                                <a:pt x="714" y="434"/>
                              </a:cubicBezTo>
                              <a:cubicBezTo>
                                <a:pt x="722" y="528"/>
                                <a:pt x="729" y="622"/>
                                <a:pt x="737" y="716"/>
                              </a:cubicBezTo>
                            </a:path>
                          </a:pathLst>
                        </a:custGeom>
                        <a:noFill/>
                        <a:ln w="28575">
                          <a:solidFill>
                            <a:srgbClr val="0070C0"/>
                          </a:solidFill>
                          <a:round/>
                          <a:headEnd/>
                          <a:tailEnd/>
                        </a:ln>
                      </p:spPr>
                      <p:txBody>
                        <a:bodyPr wrap="none" anchor="ctr"/>
                        <a:lstStyle/>
                        <a:p>
                          <a:endParaRPr lang="pt-BR"/>
                        </a:p>
                      </p:txBody>
                    </p:sp>
                    <p:sp>
                      <p:nvSpPr>
                        <p:cNvPr id="216" name="Freeform 2"/>
                        <p:cNvSpPr>
                          <a:spLocks noChangeArrowheads="1"/>
                        </p:cNvSpPr>
                        <p:nvPr/>
                      </p:nvSpPr>
                      <p:spPr bwMode="auto">
                        <a:xfrm>
                          <a:off x="7016366" y="3283666"/>
                          <a:ext cx="450704" cy="491831"/>
                        </a:xfrm>
                        <a:custGeom>
                          <a:avLst/>
                          <a:gdLst>
                            <a:gd name="T0" fmla="*/ 2147483647 w 235"/>
                            <a:gd name="T1" fmla="*/ 2147483647 h 251"/>
                            <a:gd name="T2" fmla="*/ 2147483647 w 235"/>
                            <a:gd name="T3" fmla="*/ 2147483647 h 251"/>
                            <a:gd name="T4" fmla="*/ 2147483647 w 235"/>
                            <a:gd name="T5" fmla="*/ 2147483647 h 251"/>
                            <a:gd name="T6" fmla="*/ 2147483647 w 235"/>
                            <a:gd name="T7" fmla="*/ 2147483647 h 251"/>
                            <a:gd name="T8" fmla="*/ 2147483647 w 235"/>
                            <a:gd name="T9" fmla="*/ 2147483647 h 251"/>
                            <a:gd name="T10" fmla="*/ 2147483647 w 235"/>
                            <a:gd name="T11" fmla="*/ 2147483647 h 251"/>
                            <a:gd name="T12" fmla="*/ 2147483647 w 235"/>
                            <a:gd name="T13" fmla="*/ 2147483647 h 251"/>
                            <a:gd name="T14" fmla="*/ 2147483647 w 235"/>
                            <a:gd name="T15" fmla="*/ 2147483647 h 251"/>
                            <a:gd name="T16" fmla="*/ 2147483647 w 235"/>
                            <a:gd name="T17" fmla="*/ 2147483647 h 251"/>
                            <a:gd name="T18" fmla="*/ 2147483647 w 235"/>
                            <a:gd name="T19" fmla="*/ 2147483647 h 251"/>
                            <a:gd name="T20" fmla="*/ 2147483647 w 235"/>
                            <a:gd name="T21" fmla="*/ 2147483647 h 251"/>
                            <a:gd name="T22" fmla="*/ 2147483647 w 235"/>
                            <a:gd name="T23" fmla="*/ 2147483647 h 251"/>
                            <a:gd name="T24" fmla="*/ 2147483647 w 235"/>
                            <a:gd name="T25" fmla="*/ 0 h 251"/>
                            <a:gd name="T26" fmla="*/ 2147483647 w 235"/>
                            <a:gd name="T27" fmla="*/ 0 h 251"/>
                            <a:gd name="T28" fmla="*/ 2147483647 w 235"/>
                            <a:gd name="T29" fmla="*/ 2147483647 h 251"/>
                            <a:gd name="T30" fmla="*/ 0 w 235"/>
                            <a:gd name="T31" fmla="*/ 2147483647 h 251"/>
                            <a:gd name="T32" fmla="*/ 0 w 235"/>
                            <a:gd name="T33" fmla="*/ 2147483647 h 251"/>
                            <a:gd name="T34" fmla="*/ 2147483647 w 235"/>
                            <a:gd name="T35" fmla="*/ 2147483647 h 251"/>
                            <a:gd name="T36" fmla="*/ 2147483647 w 235"/>
                            <a:gd name="T37" fmla="*/ 2147483647 h 251"/>
                            <a:gd name="T38" fmla="*/ 2147483647 w 235"/>
                            <a:gd name="T39" fmla="*/ 2147483647 h 251"/>
                            <a:gd name="T40" fmla="*/ 2147483647 w 235"/>
                            <a:gd name="T41" fmla="*/ 2147483647 h 251"/>
                            <a:gd name="T42" fmla="*/ 2147483647 w 235"/>
                            <a:gd name="T43" fmla="*/ 2147483647 h 251"/>
                            <a:gd name="T44" fmla="*/ 2147483647 w 235"/>
                            <a:gd name="T45" fmla="*/ 2147483647 h 251"/>
                            <a:gd name="T46" fmla="*/ 2147483647 w 235"/>
                            <a:gd name="T47" fmla="*/ 2147483647 h 251"/>
                            <a:gd name="T48" fmla="*/ 2147483647 w 235"/>
                            <a:gd name="T49" fmla="*/ 2147483647 h 2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35"/>
                            <a:gd name="T76" fmla="*/ 0 h 251"/>
                            <a:gd name="T77" fmla="*/ 235 w 235"/>
                            <a:gd name="T78" fmla="*/ 251 h 2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35" h="251">
                              <a:moveTo>
                                <a:pt x="124" y="251"/>
                              </a:moveTo>
                              <a:lnTo>
                                <a:pt x="148" y="239"/>
                              </a:lnTo>
                              <a:lnTo>
                                <a:pt x="167" y="191"/>
                              </a:lnTo>
                              <a:lnTo>
                                <a:pt x="191" y="171"/>
                              </a:lnTo>
                              <a:lnTo>
                                <a:pt x="215" y="116"/>
                              </a:lnTo>
                              <a:lnTo>
                                <a:pt x="235" y="80"/>
                              </a:lnTo>
                              <a:lnTo>
                                <a:pt x="227" y="68"/>
                              </a:lnTo>
                              <a:lnTo>
                                <a:pt x="227" y="48"/>
                              </a:lnTo>
                              <a:lnTo>
                                <a:pt x="215" y="48"/>
                              </a:lnTo>
                              <a:lnTo>
                                <a:pt x="203" y="36"/>
                              </a:lnTo>
                              <a:lnTo>
                                <a:pt x="179" y="24"/>
                              </a:lnTo>
                              <a:lnTo>
                                <a:pt x="167" y="12"/>
                              </a:lnTo>
                              <a:lnTo>
                                <a:pt x="136" y="0"/>
                              </a:lnTo>
                              <a:lnTo>
                                <a:pt x="100" y="0"/>
                              </a:lnTo>
                              <a:lnTo>
                                <a:pt x="68" y="24"/>
                              </a:lnTo>
                              <a:lnTo>
                                <a:pt x="0" y="124"/>
                              </a:lnTo>
                              <a:lnTo>
                                <a:pt x="0" y="136"/>
                              </a:lnTo>
                              <a:lnTo>
                                <a:pt x="24" y="136"/>
                              </a:lnTo>
                              <a:lnTo>
                                <a:pt x="68" y="160"/>
                              </a:lnTo>
                              <a:lnTo>
                                <a:pt x="80" y="160"/>
                              </a:lnTo>
                              <a:lnTo>
                                <a:pt x="124" y="203"/>
                              </a:lnTo>
                              <a:lnTo>
                                <a:pt x="136" y="191"/>
                              </a:lnTo>
                              <a:lnTo>
                                <a:pt x="136" y="215"/>
                              </a:lnTo>
                              <a:lnTo>
                                <a:pt x="124" y="227"/>
                              </a:lnTo>
                              <a:lnTo>
                                <a:pt x="124" y="251"/>
                              </a:lnTo>
                              <a:close/>
                            </a:path>
                          </a:pathLst>
                        </a:custGeom>
                        <a:solidFill>
                          <a:srgbClr val="FFFFFF"/>
                        </a:solidFill>
                        <a:ln w="9360">
                          <a:solidFill>
                            <a:srgbClr val="969696"/>
                          </a:solidFill>
                          <a:round/>
                          <a:headEnd/>
                          <a:tailEnd/>
                        </a:ln>
                      </p:spPr>
                      <p:txBody>
                        <a:bodyPr wrap="none" anchor="ctr"/>
                        <a:lstStyle/>
                        <a:p>
                          <a:endParaRPr lang="pt-BR"/>
                        </a:p>
                      </p:txBody>
                    </p:sp>
                    <p:sp>
                      <p:nvSpPr>
                        <p:cNvPr id="217" name="Freeform 14"/>
                        <p:cNvSpPr>
                          <a:spLocks noChangeArrowheads="1"/>
                        </p:cNvSpPr>
                        <p:nvPr/>
                      </p:nvSpPr>
                      <p:spPr bwMode="auto">
                        <a:xfrm>
                          <a:off x="8205817" y="1652424"/>
                          <a:ext cx="257544" cy="156918"/>
                        </a:xfrm>
                        <a:custGeom>
                          <a:avLst/>
                          <a:gdLst>
                            <a:gd name="T0" fmla="*/ 2147483647 w 135"/>
                            <a:gd name="T1" fmla="*/ 2147483647 h 80"/>
                            <a:gd name="T2" fmla="*/ 2147483647 w 135"/>
                            <a:gd name="T3" fmla="*/ 2147483647 h 80"/>
                            <a:gd name="T4" fmla="*/ 2147483647 w 135"/>
                            <a:gd name="T5" fmla="*/ 2147483647 h 80"/>
                            <a:gd name="T6" fmla="*/ 2147483647 w 135"/>
                            <a:gd name="T7" fmla="*/ 2147483647 h 80"/>
                            <a:gd name="T8" fmla="*/ 2147483647 w 135"/>
                            <a:gd name="T9" fmla="*/ 0 h 80"/>
                            <a:gd name="T10" fmla="*/ 2147483647 w 135"/>
                            <a:gd name="T11" fmla="*/ 0 h 80"/>
                            <a:gd name="T12" fmla="*/ 2147483647 w 135"/>
                            <a:gd name="T13" fmla="*/ 2147483647 h 80"/>
                            <a:gd name="T14" fmla="*/ 2147483647 w 135"/>
                            <a:gd name="T15" fmla="*/ 2147483647 h 80"/>
                            <a:gd name="T16" fmla="*/ 0 w 135"/>
                            <a:gd name="T17" fmla="*/ 2147483647 h 80"/>
                            <a:gd name="T18" fmla="*/ 2147483647 w 135"/>
                            <a:gd name="T19" fmla="*/ 2147483647 h 80"/>
                            <a:gd name="T20" fmla="*/ 2147483647 w 135"/>
                            <a:gd name="T21" fmla="*/ 2147483647 h 80"/>
                            <a:gd name="T22" fmla="*/ 2147483647 w 135"/>
                            <a:gd name="T23" fmla="*/ 2147483647 h 80"/>
                            <a:gd name="T24" fmla="*/ 2147483647 w 135"/>
                            <a:gd name="T25" fmla="*/ 2147483647 h 80"/>
                            <a:gd name="T26" fmla="*/ 2147483647 w 135"/>
                            <a:gd name="T27" fmla="*/ 2147483647 h 80"/>
                            <a:gd name="T28" fmla="*/ 2147483647 w 135"/>
                            <a:gd name="T29" fmla="*/ 2147483647 h 80"/>
                            <a:gd name="T30" fmla="*/ 2147483647 w 135"/>
                            <a:gd name="T31" fmla="*/ 2147483647 h 80"/>
                            <a:gd name="T32" fmla="*/ 2147483647 w 135"/>
                            <a:gd name="T33" fmla="*/ 2147483647 h 80"/>
                            <a:gd name="T34" fmla="*/ 2147483647 w 135"/>
                            <a:gd name="T35" fmla="*/ 2147483647 h 80"/>
                            <a:gd name="T36" fmla="*/ 2147483647 w 135"/>
                            <a:gd name="T37" fmla="*/ 2147483647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5"/>
                            <a:gd name="T58" fmla="*/ 0 h 80"/>
                            <a:gd name="T59" fmla="*/ 135 w 135"/>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5" h="80">
                              <a:moveTo>
                                <a:pt x="135" y="68"/>
                              </a:moveTo>
                              <a:lnTo>
                                <a:pt x="123" y="24"/>
                              </a:lnTo>
                              <a:lnTo>
                                <a:pt x="111" y="12"/>
                              </a:lnTo>
                              <a:lnTo>
                                <a:pt x="87" y="12"/>
                              </a:lnTo>
                              <a:lnTo>
                                <a:pt x="56" y="0"/>
                              </a:lnTo>
                              <a:lnTo>
                                <a:pt x="44" y="0"/>
                              </a:lnTo>
                              <a:lnTo>
                                <a:pt x="32" y="12"/>
                              </a:lnTo>
                              <a:lnTo>
                                <a:pt x="20" y="36"/>
                              </a:lnTo>
                              <a:lnTo>
                                <a:pt x="0" y="68"/>
                              </a:lnTo>
                              <a:lnTo>
                                <a:pt x="12" y="68"/>
                              </a:lnTo>
                              <a:lnTo>
                                <a:pt x="32" y="60"/>
                              </a:lnTo>
                              <a:lnTo>
                                <a:pt x="44" y="48"/>
                              </a:lnTo>
                              <a:lnTo>
                                <a:pt x="56" y="60"/>
                              </a:lnTo>
                              <a:lnTo>
                                <a:pt x="32" y="80"/>
                              </a:lnTo>
                              <a:lnTo>
                                <a:pt x="79" y="80"/>
                              </a:lnTo>
                              <a:lnTo>
                                <a:pt x="79" y="60"/>
                              </a:lnTo>
                              <a:lnTo>
                                <a:pt x="87" y="60"/>
                              </a:lnTo>
                              <a:lnTo>
                                <a:pt x="99" y="68"/>
                              </a:lnTo>
                              <a:lnTo>
                                <a:pt x="135" y="68"/>
                              </a:lnTo>
                              <a:close/>
                            </a:path>
                          </a:pathLst>
                        </a:custGeom>
                        <a:solidFill>
                          <a:srgbClr val="FFFFFF"/>
                        </a:solidFill>
                        <a:ln w="9360">
                          <a:solidFill>
                            <a:srgbClr val="969696"/>
                          </a:solidFill>
                          <a:round/>
                          <a:headEnd/>
                          <a:tailEnd/>
                        </a:ln>
                      </p:spPr>
                      <p:txBody>
                        <a:bodyPr wrap="none" anchor="ctr"/>
                        <a:lstStyle/>
                        <a:p>
                          <a:endParaRPr lang="pt-BR"/>
                        </a:p>
                      </p:txBody>
                    </p:sp>
                    <p:sp>
                      <p:nvSpPr>
                        <p:cNvPr id="218" name="Freeform 16"/>
                        <p:cNvSpPr>
                          <a:spLocks noChangeArrowheads="1"/>
                        </p:cNvSpPr>
                        <p:nvPr/>
                      </p:nvSpPr>
                      <p:spPr bwMode="auto">
                        <a:xfrm>
                          <a:off x="7685078" y="1543516"/>
                          <a:ext cx="389706" cy="577316"/>
                        </a:xfrm>
                        <a:custGeom>
                          <a:avLst/>
                          <a:gdLst>
                            <a:gd name="T0" fmla="*/ 2147483647 w 203"/>
                            <a:gd name="T1" fmla="*/ 0 h 295"/>
                            <a:gd name="T2" fmla="*/ 2147483647 w 203"/>
                            <a:gd name="T3" fmla="*/ 2147483647 h 295"/>
                            <a:gd name="T4" fmla="*/ 2147483647 w 203"/>
                            <a:gd name="T5" fmla="*/ 2147483647 h 295"/>
                            <a:gd name="T6" fmla="*/ 2147483647 w 203"/>
                            <a:gd name="T7" fmla="*/ 2147483647 h 295"/>
                            <a:gd name="T8" fmla="*/ 2147483647 w 203"/>
                            <a:gd name="T9" fmla="*/ 2147483647 h 295"/>
                            <a:gd name="T10" fmla="*/ 2147483647 w 203"/>
                            <a:gd name="T11" fmla="*/ 2147483647 h 295"/>
                            <a:gd name="T12" fmla="*/ 2147483647 w 203"/>
                            <a:gd name="T13" fmla="*/ 2147483647 h 295"/>
                            <a:gd name="T14" fmla="*/ 2147483647 w 203"/>
                            <a:gd name="T15" fmla="*/ 2147483647 h 295"/>
                            <a:gd name="T16" fmla="*/ 2147483647 w 203"/>
                            <a:gd name="T17" fmla="*/ 2147483647 h 295"/>
                            <a:gd name="T18" fmla="*/ 2147483647 w 203"/>
                            <a:gd name="T19" fmla="*/ 2147483647 h 295"/>
                            <a:gd name="T20" fmla="*/ 2147483647 w 203"/>
                            <a:gd name="T21" fmla="*/ 2147483647 h 295"/>
                            <a:gd name="T22" fmla="*/ 2147483647 w 203"/>
                            <a:gd name="T23" fmla="*/ 2147483647 h 295"/>
                            <a:gd name="T24" fmla="*/ 0 w 203"/>
                            <a:gd name="T25" fmla="*/ 2147483647 h 295"/>
                            <a:gd name="T26" fmla="*/ 2147483647 w 203"/>
                            <a:gd name="T27" fmla="*/ 2147483647 h 295"/>
                            <a:gd name="T28" fmla="*/ 2147483647 w 203"/>
                            <a:gd name="T29" fmla="*/ 2147483647 h 295"/>
                            <a:gd name="T30" fmla="*/ 2147483647 w 203"/>
                            <a:gd name="T31" fmla="*/ 2147483647 h 295"/>
                            <a:gd name="T32" fmla="*/ 2147483647 w 203"/>
                            <a:gd name="T33" fmla="*/ 2147483647 h 295"/>
                            <a:gd name="T34" fmla="*/ 2147483647 w 203"/>
                            <a:gd name="T35" fmla="*/ 2147483647 h 295"/>
                            <a:gd name="T36" fmla="*/ 2147483647 w 203"/>
                            <a:gd name="T37" fmla="*/ 2147483647 h 295"/>
                            <a:gd name="T38" fmla="*/ 2147483647 w 203"/>
                            <a:gd name="T39" fmla="*/ 2147483647 h 295"/>
                            <a:gd name="T40" fmla="*/ 2147483647 w 203"/>
                            <a:gd name="T41" fmla="*/ 2147483647 h 295"/>
                            <a:gd name="T42" fmla="*/ 2147483647 w 203"/>
                            <a:gd name="T43" fmla="*/ 2147483647 h 295"/>
                            <a:gd name="T44" fmla="*/ 2147483647 w 203"/>
                            <a:gd name="T45" fmla="*/ 2147483647 h 295"/>
                            <a:gd name="T46" fmla="*/ 2147483647 w 203"/>
                            <a:gd name="T47" fmla="*/ 2147483647 h 295"/>
                            <a:gd name="T48" fmla="*/ 2147483647 w 203"/>
                            <a:gd name="T49" fmla="*/ 2147483647 h 295"/>
                            <a:gd name="T50" fmla="*/ 2147483647 w 203"/>
                            <a:gd name="T51" fmla="*/ 2147483647 h 295"/>
                            <a:gd name="T52" fmla="*/ 2147483647 w 203"/>
                            <a:gd name="T53" fmla="*/ 2147483647 h 295"/>
                            <a:gd name="T54" fmla="*/ 2147483647 w 203"/>
                            <a:gd name="T55" fmla="*/ 2147483647 h 295"/>
                            <a:gd name="T56" fmla="*/ 2147483647 w 203"/>
                            <a:gd name="T57" fmla="*/ 2147483647 h 295"/>
                            <a:gd name="T58" fmla="*/ 2147483647 w 203"/>
                            <a:gd name="T59" fmla="*/ 2147483647 h 295"/>
                            <a:gd name="T60" fmla="*/ 2147483647 w 203"/>
                            <a:gd name="T61" fmla="*/ 2147483647 h 295"/>
                            <a:gd name="T62" fmla="*/ 2147483647 w 203"/>
                            <a:gd name="T63" fmla="*/ 2147483647 h 295"/>
                            <a:gd name="T64" fmla="*/ 2147483647 w 203"/>
                            <a:gd name="T65" fmla="*/ 2147483647 h 295"/>
                            <a:gd name="T66" fmla="*/ 2147483647 w 203"/>
                            <a:gd name="T67" fmla="*/ 2147483647 h 295"/>
                            <a:gd name="T68" fmla="*/ 2147483647 w 203"/>
                            <a:gd name="T69" fmla="*/ 0 h 295"/>
                            <a:gd name="T70" fmla="*/ 2147483647 w 203"/>
                            <a:gd name="T71" fmla="*/ 0 h 29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03"/>
                            <a:gd name="T109" fmla="*/ 0 h 295"/>
                            <a:gd name="T110" fmla="*/ 203 w 203"/>
                            <a:gd name="T111" fmla="*/ 295 h 29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03" h="295">
                              <a:moveTo>
                                <a:pt x="156" y="0"/>
                              </a:moveTo>
                              <a:lnTo>
                                <a:pt x="148" y="12"/>
                              </a:lnTo>
                              <a:lnTo>
                                <a:pt x="136" y="12"/>
                              </a:lnTo>
                              <a:lnTo>
                                <a:pt x="124" y="24"/>
                              </a:lnTo>
                              <a:lnTo>
                                <a:pt x="112" y="48"/>
                              </a:lnTo>
                              <a:lnTo>
                                <a:pt x="112" y="68"/>
                              </a:lnTo>
                              <a:lnTo>
                                <a:pt x="100" y="104"/>
                              </a:lnTo>
                              <a:lnTo>
                                <a:pt x="100" y="124"/>
                              </a:lnTo>
                              <a:lnTo>
                                <a:pt x="88" y="136"/>
                              </a:lnTo>
                              <a:lnTo>
                                <a:pt x="56" y="148"/>
                              </a:lnTo>
                              <a:lnTo>
                                <a:pt x="32" y="159"/>
                              </a:lnTo>
                              <a:lnTo>
                                <a:pt x="12" y="183"/>
                              </a:lnTo>
                              <a:lnTo>
                                <a:pt x="0" y="227"/>
                              </a:lnTo>
                              <a:lnTo>
                                <a:pt x="12" y="271"/>
                              </a:lnTo>
                              <a:lnTo>
                                <a:pt x="12" y="283"/>
                              </a:lnTo>
                              <a:lnTo>
                                <a:pt x="20" y="283"/>
                              </a:lnTo>
                              <a:lnTo>
                                <a:pt x="44" y="295"/>
                              </a:lnTo>
                              <a:lnTo>
                                <a:pt x="68" y="295"/>
                              </a:lnTo>
                              <a:lnTo>
                                <a:pt x="88" y="271"/>
                              </a:lnTo>
                              <a:lnTo>
                                <a:pt x="88" y="259"/>
                              </a:lnTo>
                              <a:lnTo>
                                <a:pt x="80" y="251"/>
                              </a:lnTo>
                              <a:lnTo>
                                <a:pt x="80" y="239"/>
                              </a:lnTo>
                              <a:lnTo>
                                <a:pt x="88" y="227"/>
                              </a:lnTo>
                              <a:lnTo>
                                <a:pt x="112" y="239"/>
                              </a:lnTo>
                              <a:lnTo>
                                <a:pt x="156" y="227"/>
                              </a:lnTo>
                              <a:lnTo>
                                <a:pt x="179" y="203"/>
                              </a:lnTo>
                              <a:lnTo>
                                <a:pt x="191" y="191"/>
                              </a:lnTo>
                              <a:lnTo>
                                <a:pt x="191" y="171"/>
                              </a:lnTo>
                              <a:lnTo>
                                <a:pt x="203" y="159"/>
                              </a:lnTo>
                              <a:lnTo>
                                <a:pt x="203" y="148"/>
                              </a:lnTo>
                              <a:lnTo>
                                <a:pt x="179" y="116"/>
                              </a:lnTo>
                              <a:lnTo>
                                <a:pt x="179" y="92"/>
                              </a:lnTo>
                              <a:lnTo>
                                <a:pt x="167" y="48"/>
                              </a:lnTo>
                              <a:lnTo>
                                <a:pt x="167" y="24"/>
                              </a:lnTo>
                              <a:lnTo>
                                <a:pt x="167" y="0"/>
                              </a:lnTo>
                              <a:lnTo>
                                <a:pt x="156" y="0"/>
                              </a:lnTo>
                              <a:close/>
                            </a:path>
                          </a:pathLst>
                        </a:custGeom>
                        <a:solidFill>
                          <a:schemeClr val="bg1"/>
                        </a:solidFill>
                        <a:ln w="9525">
                          <a:noFill/>
                          <a:round/>
                          <a:headEnd/>
                          <a:tailEnd/>
                        </a:ln>
                      </p:spPr>
                      <p:txBody>
                        <a:bodyPr wrap="none" anchor="ctr"/>
                        <a:lstStyle/>
                        <a:p>
                          <a:endParaRPr lang="pt-BR"/>
                        </a:p>
                      </p:txBody>
                    </p:sp>
                    <p:sp>
                      <p:nvSpPr>
                        <p:cNvPr id="219" name="Freeform 17"/>
                        <p:cNvSpPr>
                          <a:spLocks noChangeArrowheads="1"/>
                        </p:cNvSpPr>
                        <p:nvPr/>
                      </p:nvSpPr>
                      <p:spPr bwMode="auto">
                        <a:xfrm>
                          <a:off x="7511123" y="1413534"/>
                          <a:ext cx="492498" cy="660460"/>
                        </a:xfrm>
                        <a:custGeom>
                          <a:avLst/>
                          <a:gdLst>
                            <a:gd name="T0" fmla="*/ 2147483647 w 524"/>
                            <a:gd name="T1" fmla="*/ 0 h 691"/>
                            <a:gd name="T2" fmla="*/ 2147483647 w 524"/>
                            <a:gd name="T3" fmla="*/ 2147483647 h 691"/>
                            <a:gd name="T4" fmla="*/ 2147483647 w 524"/>
                            <a:gd name="T5" fmla="*/ 2147483647 h 691"/>
                            <a:gd name="T6" fmla="*/ 2147483647 w 524"/>
                            <a:gd name="T7" fmla="*/ 2147483647 h 691"/>
                            <a:gd name="T8" fmla="*/ 2147483647 w 524"/>
                            <a:gd name="T9" fmla="*/ 2147483647 h 691"/>
                            <a:gd name="T10" fmla="*/ 2147483647 w 524"/>
                            <a:gd name="T11" fmla="*/ 2147483647 h 691"/>
                            <a:gd name="T12" fmla="*/ 0 w 524"/>
                            <a:gd name="T13" fmla="*/ 2147483647 h 691"/>
                            <a:gd name="T14" fmla="*/ 2147483647 w 524"/>
                            <a:gd name="T15" fmla="*/ 2147483647 h 691"/>
                            <a:gd name="T16" fmla="*/ 2147483647 w 524"/>
                            <a:gd name="T17" fmla="*/ 2147483647 h 691"/>
                            <a:gd name="T18" fmla="*/ 2147483647 w 524"/>
                            <a:gd name="T19" fmla="*/ 2147483647 h 691"/>
                            <a:gd name="T20" fmla="*/ 2147483647 w 524"/>
                            <a:gd name="T21" fmla="*/ 2147483647 h 691"/>
                            <a:gd name="T22" fmla="*/ 2147483647 w 524"/>
                            <a:gd name="T23" fmla="*/ 2147483647 h 691"/>
                            <a:gd name="T24" fmla="*/ 2147483647 w 524"/>
                            <a:gd name="T25" fmla="*/ 2147483647 h 691"/>
                            <a:gd name="T26" fmla="*/ 2147483647 w 524"/>
                            <a:gd name="T27" fmla="*/ 2147483647 h 691"/>
                            <a:gd name="T28" fmla="*/ 2147483647 w 524"/>
                            <a:gd name="T29" fmla="*/ 2147483647 h 691"/>
                            <a:gd name="T30" fmla="*/ 2147483647 w 524"/>
                            <a:gd name="T31" fmla="*/ 2147483647 h 691"/>
                            <a:gd name="T32" fmla="*/ 2147483647 w 524"/>
                            <a:gd name="T33" fmla="*/ 2147483647 h 691"/>
                            <a:gd name="T34" fmla="*/ 2147483647 w 524"/>
                            <a:gd name="T35" fmla="*/ 2147483647 h 691"/>
                            <a:gd name="T36" fmla="*/ 2147483647 w 524"/>
                            <a:gd name="T37" fmla="*/ 2147483647 h 691"/>
                            <a:gd name="T38" fmla="*/ 2147483647 w 524"/>
                            <a:gd name="T39" fmla="*/ 2147483647 h 691"/>
                            <a:gd name="T40" fmla="*/ 2147483647 w 524"/>
                            <a:gd name="T41" fmla="*/ 2147483647 h 691"/>
                            <a:gd name="T42" fmla="*/ 2147483647 w 524"/>
                            <a:gd name="T43" fmla="*/ 2147483647 h 691"/>
                            <a:gd name="T44" fmla="*/ 2147483647 w 524"/>
                            <a:gd name="T45" fmla="*/ 2147483647 h 691"/>
                            <a:gd name="T46" fmla="*/ 2147483647 w 524"/>
                            <a:gd name="T47" fmla="*/ 2147483647 h 691"/>
                            <a:gd name="T48" fmla="*/ 2147483647 w 524"/>
                            <a:gd name="T49" fmla="*/ 2147483647 h 691"/>
                            <a:gd name="T50" fmla="*/ 2147483647 w 524"/>
                            <a:gd name="T51" fmla="*/ 2147483647 h 691"/>
                            <a:gd name="T52" fmla="*/ 2147483647 w 524"/>
                            <a:gd name="T53" fmla="*/ 2147483647 h 691"/>
                            <a:gd name="T54" fmla="*/ 2147483647 w 524"/>
                            <a:gd name="T55" fmla="*/ 2147483647 h 691"/>
                            <a:gd name="T56" fmla="*/ 2147483647 w 524"/>
                            <a:gd name="T57" fmla="*/ 2147483647 h 691"/>
                            <a:gd name="T58" fmla="*/ 2147483647 w 524"/>
                            <a:gd name="T59" fmla="*/ 2147483647 h 691"/>
                            <a:gd name="T60" fmla="*/ 2147483647 w 524"/>
                            <a:gd name="T61" fmla="*/ 2147483647 h 691"/>
                            <a:gd name="T62" fmla="*/ 2147483647 w 524"/>
                            <a:gd name="T63" fmla="*/ 2147483647 h 691"/>
                            <a:gd name="T64" fmla="*/ 2147483647 w 524"/>
                            <a:gd name="T65" fmla="*/ 2147483647 h 691"/>
                            <a:gd name="T66" fmla="*/ 2147483647 w 524"/>
                            <a:gd name="T67" fmla="*/ 2147483647 h 691"/>
                            <a:gd name="T68" fmla="*/ 2147483647 w 524"/>
                            <a:gd name="T69" fmla="*/ 2147483647 h 691"/>
                            <a:gd name="T70" fmla="*/ 2147483647 w 524"/>
                            <a:gd name="T71" fmla="*/ 2147483647 h 691"/>
                            <a:gd name="T72" fmla="*/ 2147483647 w 524"/>
                            <a:gd name="T73" fmla="*/ 2147483647 h 691"/>
                            <a:gd name="T74" fmla="*/ 2147483647 w 524"/>
                            <a:gd name="T75" fmla="*/ 2147483647 h 691"/>
                            <a:gd name="T76" fmla="*/ 2147483647 w 524"/>
                            <a:gd name="T77" fmla="*/ 2147483647 h 691"/>
                            <a:gd name="T78" fmla="*/ 2147483647 w 524"/>
                            <a:gd name="T79" fmla="*/ 2147483647 h 691"/>
                            <a:gd name="T80" fmla="*/ 2147483647 w 524"/>
                            <a:gd name="T81" fmla="*/ 2147483647 h 691"/>
                            <a:gd name="T82" fmla="*/ 2147483647 w 524"/>
                            <a:gd name="T83" fmla="*/ 2147483647 h 691"/>
                            <a:gd name="T84" fmla="*/ 2147483647 w 524"/>
                            <a:gd name="T85" fmla="*/ 0 h 69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24"/>
                            <a:gd name="T130" fmla="*/ 0 h 691"/>
                            <a:gd name="T131" fmla="*/ 524 w 524"/>
                            <a:gd name="T132" fmla="*/ 691 h 69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24" h="691">
                              <a:moveTo>
                                <a:pt x="162" y="0"/>
                              </a:moveTo>
                              <a:lnTo>
                                <a:pt x="162" y="74"/>
                              </a:lnTo>
                              <a:lnTo>
                                <a:pt x="139" y="162"/>
                              </a:lnTo>
                              <a:lnTo>
                                <a:pt x="114" y="235"/>
                              </a:lnTo>
                              <a:lnTo>
                                <a:pt x="74" y="276"/>
                              </a:lnTo>
                              <a:lnTo>
                                <a:pt x="25" y="301"/>
                              </a:lnTo>
                              <a:lnTo>
                                <a:pt x="0" y="325"/>
                              </a:lnTo>
                              <a:lnTo>
                                <a:pt x="49" y="325"/>
                              </a:lnTo>
                              <a:lnTo>
                                <a:pt x="74" y="350"/>
                              </a:lnTo>
                              <a:lnTo>
                                <a:pt x="74" y="374"/>
                              </a:lnTo>
                              <a:lnTo>
                                <a:pt x="49" y="415"/>
                              </a:lnTo>
                              <a:lnTo>
                                <a:pt x="74" y="487"/>
                              </a:lnTo>
                              <a:lnTo>
                                <a:pt x="114" y="511"/>
                              </a:lnTo>
                              <a:lnTo>
                                <a:pt x="139" y="487"/>
                              </a:lnTo>
                              <a:lnTo>
                                <a:pt x="162" y="511"/>
                              </a:lnTo>
                              <a:lnTo>
                                <a:pt x="162" y="527"/>
                              </a:lnTo>
                              <a:lnTo>
                                <a:pt x="139" y="552"/>
                              </a:lnTo>
                              <a:lnTo>
                                <a:pt x="114" y="601"/>
                              </a:lnTo>
                              <a:lnTo>
                                <a:pt x="139" y="650"/>
                              </a:lnTo>
                              <a:lnTo>
                                <a:pt x="186" y="691"/>
                              </a:lnTo>
                              <a:lnTo>
                                <a:pt x="211" y="691"/>
                              </a:lnTo>
                              <a:lnTo>
                                <a:pt x="186" y="601"/>
                              </a:lnTo>
                              <a:lnTo>
                                <a:pt x="211" y="511"/>
                              </a:lnTo>
                              <a:lnTo>
                                <a:pt x="251" y="462"/>
                              </a:lnTo>
                              <a:lnTo>
                                <a:pt x="301" y="440"/>
                              </a:lnTo>
                              <a:lnTo>
                                <a:pt x="366" y="415"/>
                              </a:lnTo>
                              <a:lnTo>
                                <a:pt x="391" y="390"/>
                              </a:lnTo>
                              <a:lnTo>
                                <a:pt x="391" y="350"/>
                              </a:lnTo>
                              <a:lnTo>
                                <a:pt x="415" y="276"/>
                              </a:lnTo>
                              <a:lnTo>
                                <a:pt x="415" y="235"/>
                              </a:lnTo>
                              <a:lnTo>
                                <a:pt x="440" y="186"/>
                              </a:lnTo>
                              <a:lnTo>
                                <a:pt x="464" y="162"/>
                              </a:lnTo>
                              <a:lnTo>
                                <a:pt x="489" y="162"/>
                              </a:lnTo>
                              <a:lnTo>
                                <a:pt x="524" y="136"/>
                              </a:lnTo>
                              <a:lnTo>
                                <a:pt x="489" y="137"/>
                              </a:lnTo>
                              <a:lnTo>
                                <a:pt x="440" y="112"/>
                              </a:lnTo>
                              <a:lnTo>
                                <a:pt x="366" y="96"/>
                              </a:lnTo>
                              <a:lnTo>
                                <a:pt x="325" y="74"/>
                              </a:lnTo>
                              <a:lnTo>
                                <a:pt x="301" y="112"/>
                              </a:lnTo>
                              <a:lnTo>
                                <a:pt x="301" y="74"/>
                              </a:lnTo>
                              <a:lnTo>
                                <a:pt x="251" y="49"/>
                              </a:lnTo>
                              <a:lnTo>
                                <a:pt x="227" y="25"/>
                              </a:lnTo>
                              <a:lnTo>
                                <a:pt x="162" y="0"/>
                              </a:lnTo>
                              <a:close/>
                            </a:path>
                          </a:pathLst>
                        </a:custGeom>
                        <a:solidFill>
                          <a:srgbClr val="FFFFFF"/>
                        </a:solidFill>
                        <a:ln w="9360">
                          <a:solidFill>
                            <a:srgbClr val="969696"/>
                          </a:solidFill>
                          <a:round/>
                          <a:headEnd/>
                          <a:tailEnd/>
                        </a:ln>
                      </p:spPr>
                      <p:txBody>
                        <a:bodyPr wrap="none" anchor="ctr"/>
                        <a:lstStyle/>
                        <a:p>
                          <a:endParaRPr lang="pt-BR"/>
                        </a:p>
                      </p:txBody>
                    </p:sp>
                    <p:sp>
                      <p:nvSpPr>
                        <p:cNvPr id="220" name="Freeform 18"/>
                        <p:cNvSpPr>
                          <a:spLocks noChangeArrowheads="1"/>
                        </p:cNvSpPr>
                        <p:nvPr/>
                      </p:nvSpPr>
                      <p:spPr bwMode="auto">
                        <a:xfrm>
                          <a:off x="7356370" y="1722685"/>
                          <a:ext cx="350171" cy="614790"/>
                        </a:xfrm>
                        <a:custGeom>
                          <a:avLst/>
                          <a:gdLst>
                            <a:gd name="T0" fmla="*/ 2147483647 w 183"/>
                            <a:gd name="T1" fmla="*/ 0 h 314"/>
                            <a:gd name="T2" fmla="*/ 2147483647 w 183"/>
                            <a:gd name="T3" fmla="*/ 2147483647 h 314"/>
                            <a:gd name="T4" fmla="*/ 2147483647 w 183"/>
                            <a:gd name="T5" fmla="*/ 2147483647 h 314"/>
                            <a:gd name="T6" fmla="*/ 2147483647 w 183"/>
                            <a:gd name="T7" fmla="*/ 2147483647 h 314"/>
                            <a:gd name="T8" fmla="*/ 2147483647 w 183"/>
                            <a:gd name="T9" fmla="*/ 2147483647 h 314"/>
                            <a:gd name="T10" fmla="*/ 2147483647 w 183"/>
                            <a:gd name="T11" fmla="*/ 2147483647 h 314"/>
                            <a:gd name="T12" fmla="*/ 2147483647 w 183"/>
                            <a:gd name="T13" fmla="*/ 2147483647 h 314"/>
                            <a:gd name="T14" fmla="*/ 2147483647 w 183"/>
                            <a:gd name="T15" fmla="*/ 2147483647 h 314"/>
                            <a:gd name="T16" fmla="*/ 0 w 183"/>
                            <a:gd name="T17" fmla="*/ 2147483647 h 314"/>
                            <a:gd name="T18" fmla="*/ 0 w 183"/>
                            <a:gd name="T19" fmla="*/ 2147483647 h 314"/>
                            <a:gd name="T20" fmla="*/ 2147483647 w 183"/>
                            <a:gd name="T21" fmla="*/ 2147483647 h 314"/>
                            <a:gd name="T22" fmla="*/ 0 w 183"/>
                            <a:gd name="T23" fmla="*/ 2147483647 h 314"/>
                            <a:gd name="T24" fmla="*/ 2147483647 w 183"/>
                            <a:gd name="T25" fmla="*/ 2147483647 h 314"/>
                            <a:gd name="T26" fmla="*/ 2147483647 w 183"/>
                            <a:gd name="T27" fmla="*/ 2147483647 h 314"/>
                            <a:gd name="T28" fmla="*/ 2147483647 w 183"/>
                            <a:gd name="T29" fmla="*/ 2147483647 h 314"/>
                            <a:gd name="T30" fmla="*/ 2147483647 w 183"/>
                            <a:gd name="T31" fmla="*/ 2147483647 h 314"/>
                            <a:gd name="T32" fmla="*/ 2147483647 w 183"/>
                            <a:gd name="T33" fmla="*/ 2147483647 h 314"/>
                            <a:gd name="T34" fmla="*/ 2147483647 w 183"/>
                            <a:gd name="T35" fmla="*/ 2147483647 h 314"/>
                            <a:gd name="T36" fmla="*/ 2147483647 w 183"/>
                            <a:gd name="T37" fmla="*/ 2147483647 h 314"/>
                            <a:gd name="T38" fmla="*/ 2147483647 w 183"/>
                            <a:gd name="T39" fmla="*/ 2147483647 h 314"/>
                            <a:gd name="T40" fmla="*/ 2147483647 w 183"/>
                            <a:gd name="T41" fmla="*/ 2147483647 h 314"/>
                            <a:gd name="T42" fmla="*/ 2147483647 w 183"/>
                            <a:gd name="T43" fmla="*/ 2147483647 h 314"/>
                            <a:gd name="T44" fmla="*/ 2147483647 w 183"/>
                            <a:gd name="T45" fmla="*/ 2147483647 h 314"/>
                            <a:gd name="T46" fmla="*/ 2147483647 w 183"/>
                            <a:gd name="T47" fmla="*/ 2147483647 h 314"/>
                            <a:gd name="T48" fmla="*/ 2147483647 w 183"/>
                            <a:gd name="T49" fmla="*/ 2147483647 h 314"/>
                            <a:gd name="T50" fmla="*/ 2147483647 w 183"/>
                            <a:gd name="T51" fmla="*/ 2147483647 h 314"/>
                            <a:gd name="T52" fmla="*/ 2147483647 w 183"/>
                            <a:gd name="T53" fmla="*/ 2147483647 h 314"/>
                            <a:gd name="T54" fmla="*/ 2147483647 w 183"/>
                            <a:gd name="T55" fmla="*/ 2147483647 h 314"/>
                            <a:gd name="T56" fmla="*/ 2147483647 w 183"/>
                            <a:gd name="T57" fmla="*/ 2147483647 h 314"/>
                            <a:gd name="T58" fmla="*/ 2147483647 w 183"/>
                            <a:gd name="T59" fmla="*/ 2147483647 h 314"/>
                            <a:gd name="T60" fmla="*/ 2147483647 w 183"/>
                            <a:gd name="T61" fmla="*/ 2147483647 h 314"/>
                            <a:gd name="T62" fmla="*/ 2147483647 w 183"/>
                            <a:gd name="T63" fmla="*/ 2147483647 h 314"/>
                            <a:gd name="T64" fmla="*/ 2147483647 w 183"/>
                            <a:gd name="T65" fmla="*/ 2147483647 h 314"/>
                            <a:gd name="T66" fmla="*/ 2147483647 w 183"/>
                            <a:gd name="T67" fmla="*/ 2147483647 h 314"/>
                            <a:gd name="T68" fmla="*/ 2147483647 w 183"/>
                            <a:gd name="T69" fmla="*/ 2147483647 h 314"/>
                            <a:gd name="T70" fmla="*/ 2147483647 w 183"/>
                            <a:gd name="T71" fmla="*/ 2147483647 h 314"/>
                            <a:gd name="T72" fmla="*/ 2147483647 w 183"/>
                            <a:gd name="T73" fmla="*/ 2147483647 h 314"/>
                            <a:gd name="T74" fmla="*/ 2147483647 w 183"/>
                            <a:gd name="T75" fmla="*/ 0 h 314"/>
                            <a:gd name="T76" fmla="*/ 2147483647 w 183"/>
                            <a:gd name="T77" fmla="*/ 0 h 31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83"/>
                            <a:gd name="T118" fmla="*/ 0 h 314"/>
                            <a:gd name="T119" fmla="*/ 183 w 183"/>
                            <a:gd name="T120" fmla="*/ 314 h 31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83" h="314">
                              <a:moveTo>
                                <a:pt x="80" y="0"/>
                              </a:moveTo>
                              <a:lnTo>
                                <a:pt x="92" y="12"/>
                              </a:lnTo>
                              <a:lnTo>
                                <a:pt x="92" y="24"/>
                              </a:lnTo>
                              <a:lnTo>
                                <a:pt x="56" y="56"/>
                              </a:lnTo>
                              <a:lnTo>
                                <a:pt x="48" y="79"/>
                              </a:lnTo>
                              <a:lnTo>
                                <a:pt x="48" y="111"/>
                              </a:lnTo>
                              <a:lnTo>
                                <a:pt x="36" y="135"/>
                              </a:lnTo>
                              <a:lnTo>
                                <a:pt x="12" y="167"/>
                              </a:lnTo>
                              <a:lnTo>
                                <a:pt x="0" y="203"/>
                              </a:lnTo>
                              <a:lnTo>
                                <a:pt x="0" y="235"/>
                              </a:lnTo>
                              <a:lnTo>
                                <a:pt x="12" y="270"/>
                              </a:lnTo>
                              <a:lnTo>
                                <a:pt x="0" y="302"/>
                              </a:lnTo>
                              <a:lnTo>
                                <a:pt x="12" y="302"/>
                              </a:lnTo>
                              <a:lnTo>
                                <a:pt x="36" y="294"/>
                              </a:lnTo>
                              <a:lnTo>
                                <a:pt x="56" y="294"/>
                              </a:lnTo>
                              <a:lnTo>
                                <a:pt x="68" y="302"/>
                              </a:lnTo>
                              <a:lnTo>
                                <a:pt x="92" y="314"/>
                              </a:lnTo>
                              <a:lnTo>
                                <a:pt x="104" y="302"/>
                              </a:lnTo>
                              <a:lnTo>
                                <a:pt x="124" y="294"/>
                              </a:lnTo>
                              <a:lnTo>
                                <a:pt x="171" y="302"/>
                              </a:lnTo>
                              <a:lnTo>
                                <a:pt x="171" y="258"/>
                              </a:lnTo>
                              <a:lnTo>
                                <a:pt x="159" y="227"/>
                              </a:lnTo>
                              <a:lnTo>
                                <a:pt x="171" y="203"/>
                              </a:lnTo>
                              <a:lnTo>
                                <a:pt x="183" y="191"/>
                              </a:lnTo>
                              <a:lnTo>
                                <a:pt x="183" y="179"/>
                              </a:lnTo>
                              <a:lnTo>
                                <a:pt x="171" y="179"/>
                              </a:lnTo>
                              <a:lnTo>
                                <a:pt x="148" y="159"/>
                              </a:lnTo>
                              <a:lnTo>
                                <a:pt x="136" y="135"/>
                              </a:lnTo>
                              <a:lnTo>
                                <a:pt x="148" y="111"/>
                              </a:lnTo>
                              <a:lnTo>
                                <a:pt x="159" y="99"/>
                              </a:lnTo>
                              <a:lnTo>
                                <a:pt x="159" y="91"/>
                              </a:lnTo>
                              <a:lnTo>
                                <a:pt x="148" y="79"/>
                              </a:lnTo>
                              <a:lnTo>
                                <a:pt x="136" y="91"/>
                              </a:lnTo>
                              <a:lnTo>
                                <a:pt x="116" y="79"/>
                              </a:lnTo>
                              <a:lnTo>
                                <a:pt x="104" y="44"/>
                              </a:lnTo>
                              <a:lnTo>
                                <a:pt x="116" y="24"/>
                              </a:lnTo>
                              <a:lnTo>
                                <a:pt x="116" y="12"/>
                              </a:lnTo>
                              <a:lnTo>
                                <a:pt x="104" y="0"/>
                              </a:lnTo>
                              <a:lnTo>
                                <a:pt x="80" y="0"/>
                              </a:lnTo>
                              <a:close/>
                            </a:path>
                          </a:pathLst>
                        </a:custGeom>
                        <a:solidFill>
                          <a:srgbClr val="FFFFFF"/>
                        </a:solidFill>
                        <a:ln w="9360">
                          <a:solidFill>
                            <a:srgbClr val="969696"/>
                          </a:solidFill>
                          <a:round/>
                          <a:headEnd/>
                          <a:tailEnd/>
                        </a:ln>
                      </p:spPr>
                      <p:txBody>
                        <a:bodyPr wrap="none" anchor="ctr"/>
                        <a:lstStyle/>
                        <a:p>
                          <a:endParaRPr lang="pt-BR"/>
                        </a:p>
                      </p:txBody>
                    </p:sp>
                    <p:sp>
                      <p:nvSpPr>
                        <p:cNvPr id="221" name="Freeform 20"/>
                        <p:cNvSpPr>
                          <a:spLocks noChangeArrowheads="1"/>
                        </p:cNvSpPr>
                        <p:nvPr/>
                      </p:nvSpPr>
                      <p:spPr bwMode="auto">
                        <a:xfrm>
                          <a:off x="6946331" y="2585733"/>
                          <a:ext cx="433760" cy="483634"/>
                        </a:xfrm>
                        <a:custGeom>
                          <a:avLst/>
                          <a:gdLst>
                            <a:gd name="T0" fmla="*/ 2147483647 w 226"/>
                            <a:gd name="T1" fmla="*/ 2147483647 h 247"/>
                            <a:gd name="T2" fmla="*/ 2147483647 w 226"/>
                            <a:gd name="T3" fmla="*/ 2147483647 h 247"/>
                            <a:gd name="T4" fmla="*/ 2147483647 w 226"/>
                            <a:gd name="T5" fmla="*/ 0 h 247"/>
                            <a:gd name="T6" fmla="*/ 2147483647 w 226"/>
                            <a:gd name="T7" fmla="*/ 0 h 247"/>
                            <a:gd name="T8" fmla="*/ 2147483647 w 226"/>
                            <a:gd name="T9" fmla="*/ 2147483647 h 247"/>
                            <a:gd name="T10" fmla="*/ 2147483647 w 226"/>
                            <a:gd name="T11" fmla="*/ 2147483647 h 247"/>
                            <a:gd name="T12" fmla="*/ 2147483647 w 226"/>
                            <a:gd name="T13" fmla="*/ 2147483647 h 247"/>
                            <a:gd name="T14" fmla="*/ 2147483647 w 226"/>
                            <a:gd name="T15" fmla="*/ 2147483647 h 247"/>
                            <a:gd name="T16" fmla="*/ 0 w 226"/>
                            <a:gd name="T17" fmla="*/ 2147483647 h 247"/>
                            <a:gd name="T18" fmla="*/ 0 w 226"/>
                            <a:gd name="T19" fmla="*/ 2147483647 h 247"/>
                            <a:gd name="T20" fmla="*/ 2147483647 w 226"/>
                            <a:gd name="T21" fmla="*/ 2147483647 h 247"/>
                            <a:gd name="T22" fmla="*/ 2147483647 w 226"/>
                            <a:gd name="T23" fmla="*/ 2147483647 h 247"/>
                            <a:gd name="T24" fmla="*/ 0 w 226"/>
                            <a:gd name="T25" fmla="*/ 2147483647 h 247"/>
                            <a:gd name="T26" fmla="*/ 0 w 226"/>
                            <a:gd name="T27" fmla="*/ 2147483647 h 247"/>
                            <a:gd name="T28" fmla="*/ 2147483647 w 226"/>
                            <a:gd name="T29" fmla="*/ 2147483647 h 247"/>
                            <a:gd name="T30" fmla="*/ 2147483647 w 226"/>
                            <a:gd name="T31" fmla="*/ 2147483647 h 247"/>
                            <a:gd name="T32" fmla="*/ 2147483647 w 226"/>
                            <a:gd name="T33" fmla="*/ 2147483647 h 247"/>
                            <a:gd name="T34" fmla="*/ 2147483647 w 226"/>
                            <a:gd name="T35" fmla="*/ 2147483647 h 247"/>
                            <a:gd name="T36" fmla="*/ 2147483647 w 226"/>
                            <a:gd name="T37" fmla="*/ 2147483647 h 247"/>
                            <a:gd name="T38" fmla="*/ 2147483647 w 226"/>
                            <a:gd name="T39" fmla="*/ 2147483647 h 247"/>
                            <a:gd name="T40" fmla="*/ 2147483647 w 226"/>
                            <a:gd name="T41" fmla="*/ 2147483647 h 247"/>
                            <a:gd name="T42" fmla="*/ 2147483647 w 226"/>
                            <a:gd name="T43" fmla="*/ 2147483647 h 247"/>
                            <a:gd name="T44" fmla="*/ 2147483647 w 226"/>
                            <a:gd name="T45" fmla="*/ 2147483647 h 247"/>
                            <a:gd name="T46" fmla="*/ 2147483647 w 226"/>
                            <a:gd name="T47" fmla="*/ 2147483647 h 247"/>
                            <a:gd name="T48" fmla="*/ 2147483647 w 226"/>
                            <a:gd name="T49" fmla="*/ 2147483647 h 247"/>
                            <a:gd name="T50" fmla="*/ 2147483647 w 226"/>
                            <a:gd name="T51" fmla="*/ 2147483647 h 247"/>
                            <a:gd name="T52" fmla="*/ 2147483647 w 226"/>
                            <a:gd name="T53" fmla="*/ 2147483647 h 247"/>
                            <a:gd name="T54" fmla="*/ 2147483647 w 226"/>
                            <a:gd name="T55" fmla="*/ 2147483647 h 247"/>
                            <a:gd name="T56" fmla="*/ 2147483647 w 226"/>
                            <a:gd name="T57" fmla="*/ 2147483647 h 247"/>
                            <a:gd name="T58" fmla="*/ 2147483647 w 226"/>
                            <a:gd name="T59" fmla="*/ 2147483647 h 247"/>
                            <a:gd name="T60" fmla="*/ 2147483647 w 226"/>
                            <a:gd name="T61" fmla="*/ 2147483647 h 24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26"/>
                            <a:gd name="T94" fmla="*/ 0 h 247"/>
                            <a:gd name="T95" fmla="*/ 226 w 226"/>
                            <a:gd name="T96" fmla="*/ 247 h 247"/>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26" h="247">
                              <a:moveTo>
                                <a:pt x="135" y="8"/>
                              </a:moveTo>
                              <a:lnTo>
                                <a:pt x="127" y="8"/>
                              </a:lnTo>
                              <a:lnTo>
                                <a:pt x="115" y="0"/>
                              </a:lnTo>
                              <a:lnTo>
                                <a:pt x="103" y="0"/>
                              </a:lnTo>
                              <a:lnTo>
                                <a:pt x="91" y="8"/>
                              </a:lnTo>
                              <a:lnTo>
                                <a:pt x="67" y="20"/>
                              </a:lnTo>
                              <a:lnTo>
                                <a:pt x="35" y="8"/>
                              </a:lnTo>
                              <a:lnTo>
                                <a:pt x="12" y="8"/>
                              </a:lnTo>
                              <a:lnTo>
                                <a:pt x="0" y="20"/>
                              </a:lnTo>
                              <a:lnTo>
                                <a:pt x="0" y="56"/>
                              </a:lnTo>
                              <a:lnTo>
                                <a:pt x="12" y="68"/>
                              </a:lnTo>
                              <a:lnTo>
                                <a:pt x="12" y="88"/>
                              </a:lnTo>
                              <a:lnTo>
                                <a:pt x="0" y="112"/>
                              </a:lnTo>
                              <a:lnTo>
                                <a:pt x="0" y="179"/>
                              </a:lnTo>
                              <a:lnTo>
                                <a:pt x="12" y="191"/>
                              </a:lnTo>
                              <a:lnTo>
                                <a:pt x="59" y="191"/>
                              </a:lnTo>
                              <a:lnTo>
                                <a:pt x="67" y="203"/>
                              </a:lnTo>
                              <a:lnTo>
                                <a:pt x="79" y="235"/>
                              </a:lnTo>
                              <a:lnTo>
                                <a:pt x="91" y="247"/>
                              </a:lnTo>
                              <a:lnTo>
                                <a:pt x="115" y="247"/>
                              </a:lnTo>
                              <a:lnTo>
                                <a:pt x="115" y="235"/>
                              </a:lnTo>
                              <a:lnTo>
                                <a:pt x="135" y="203"/>
                              </a:lnTo>
                              <a:lnTo>
                                <a:pt x="147" y="191"/>
                              </a:lnTo>
                              <a:lnTo>
                                <a:pt x="183" y="156"/>
                              </a:lnTo>
                              <a:lnTo>
                                <a:pt x="202" y="124"/>
                              </a:lnTo>
                              <a:lnTo>
                                <a:pt x="226" y="88"/>
                              </a:lnTo>
                              <a:lnTo>
                                <a:pt x="226" y="68"/>
                              </a:lnTo>
                              <a:lnTo>
                                <a:pt x="202" y="68"/>
                              </a:lnTo>
                              <a:lnTo>
                                <a:pt x="159" y="32"/>
                              </a:lnTo>
                              <a:lnTo>
                                <a:pt x="135" y="20"/>
                              </a:lnTo>
                              <a:lnTo>
                                <a:pt x="135" y="8"/>
                              </a:lnTo>
                              <a:close/>
                            </a:path>
                          </a:pathLst>
                        </a:custGeom>
                        <a:solidFill>
                          <a:srgbClr val="FFFFFF"/>
                        </a:solidFill>
                        <a:ln w="9360">
                          <a:solidFill>
                            <a:srgbClr val="969696"/>
                          </a:solidFill>
                          <a:round/>
                          <a:headEnd/>
                          <a:tailEnd/>
                        </a:ln>
                      </p:spPr>
                      <p:txBody>
                        <a:bodyPr wrap="none" anchor="ctr"/>
                        <a:lstStyle/>
                        <a:p>
                          <a:endParaRPr lang="pt-BR"/>
                        </a:p>
                      </p:txBody>
                    </p:sp>
                    <p:sp>
                      <p:nvSpPr>
                        <p:cNvPr id="222" name="Freeform 21"/>
                        <p:cNvSpPr>
                          <a:spLocks noChangeArrowheads="1"/>
                        </p:cNvSpPr>
                        <p:nvPr/>
                      </p:nvSpPr>
                      <p:spPr bwMode="auto">
                        <a:xfrm>
                          <a:off x="6646993" y="1877260"/>
                          <a:ext cx="734229" cy="771708"/>
                        </a:xfrm>
                        <a:custGeom>
                          <a:avLst/>
                          <a:gdLst>
                            <a:gd name="T0" fmla="*/ 2147483647 w 382"/>
                            <a:gd name="T1" fmla="*/ 2147483647 h 394"/>
                            <a:gd name="T2" fmla="*/ 2147483647 w 382"/>
                            <a:gd name="T3" fmla="*/ 2147483647 h 394"/>
                            <a:gd name="T4" fmla="*/ 2147483647 w 382"/>
                            <a:gd name="T5" fmla="*/ 2147483647 h 394"/>
                            <a:gd name="T6" fmla="*/ 2147483647 w 382"/>
                            <a:gd name="T7" fmla="*/ 2147483647 h 394"/>
                            <a:gd name="T8" fmla="*/ 2147483647 w 382"/>
                            <a:gd name="T9" fmla="*/ 2147483647 h 394"/>
                            <a:gd name="T10" fmla="*/ 2147483647 w 382"/>
                            <a:gd name="T11" fmla="*/ 0 h 394"/>
                            <a:gd name="T12" fmla="*/ 2147483647 w 382"/>
                            <a:gd name="T13" fmla="*/ 2147483647 h 394"/>
                            <a:gd name="T14" fmla="*/ 2147483647 w 382"/>
                            <a:gd name="T15" fmla="*/ 2147483647 h 394"/>
                            <a:gd name="T16" fmla="*/ 2147483647 w 382"/>
                            <a:gd name="T17" fmla="*/ 2147483647 h 394"/>
                            <a:gd name="T18" fmla="*/ 2147483647 w 382"/>
                            <a:gd name="T19" fmla="*/ 2147483647 h 394"/>
                            <a:gd name="T20" fmla="*/ 0 w 382"/>
                            <a:gd name="T21" fmla="*/ 2147483647 h 394"/>
                            <a:gd name="T22" fmla="*/ 0 w 382"/>
                            <a:gd name="T23" fmla="*/ 2147483647 h 394"/>
                            <a:gd name="T24" fmla="*/ 2147483647 w 382"/>
                            <a:gd name="T25" fmla="*/ 2147483647 h 394"/>
                            <a:gd name="T26" fmla="*/ 2147483647 w 382"/>
                            <a:gd name="T27" fmla="*/ 2147483647 h 394"/>
                            <a:gd name="T28" fmla="*/ 2147483647 w 382"/>
                            <a:gd name="T29" fmla="*/ 2147483647 h 394"/>
                            <a:gd name="T30" fmla="*/ 2147483647 w 382"/>
                            <a:gd name="T31" fmla="*/ 2147483647 h 394"/>
                            <a:gd name="T32" fmla="*/ 2147483647 w 382"/>
                            <a:gd name="T33" fmla="*/ 2147483647 h 394"/>
                            <a:gd name="T34" fmla="*/ 2147483647 w 382"/>
                            <a:gd name="T35" fmla="*/ 2147483647 h 394"/>
                            <a:gd name="T36" fmla="*/ 2147483647 w 382"/>
                            <a:gd name="T37" fmla="*/ 2147483647 h 394"/>
                            <a:gd name="T38" fmla="*/ 2147483647 w 382"/>
                            <a:gd name="T39" fmla="*/ 2147483647 h 394"/>
                            <a:gd name="T40" fmla="*/ 2147483647 w 382"/>
                            <a:gd name="T41" fmla="*/ 2147483647 h 394"/>
                            <a:gd name="T42" fmla="*/ 2147483647 w 382"/>
                            <a:gd name="T43" fmla="*/ 2147483647 h 394"/>
                            <a:gd name="T44" fmla="*/ 2147483647 w 382"/>
                            <a:gd name="T45" fmla="*/ 2147483647 h 394"/>
                            <a:gd name="T46" fmla="*/ 2147483647 w 382"/>
                            <a:gd name="T47" fmla="*/ 2147483647 h 394"/>
                            <a:gd name="T48" fmla="*/ 2147483647 w 382"/>
                            <a:gd name="T49" fmla="*/ 2147483647 h 394"/>
                            <a:gd name="T50" fmla="*/ 2147483647 w 382"/>
                            <a:gd name="T51" fmla="*/ 2147483647 h 394"/>
                            <a:gd name="T52" fmla="*/ 2147483647 w 382"/>
                            <a:gd name="T53" fmla="*/ 2147483647 h 394"/>
                            <a:gd name="T54" fmla="*/ 2147483647 w 382"/>
                            <a:gd name="T55" fmla="*/ 2147483647 h 394"/>
                            <a:gd name="T56" fmla="*/ 2147483647 w 382"/>
                            <a:gd name="T57" fmla="*/ 2147483647 h 394"/>
                            <a:gd name="T58" fmla="*/ 2147483647 w 382"/>
                            <a:gd name="T59" fmla="*/ 2147483647 h 394"/>
                            <a:gd name="T60" fmla="*/ 2147483647 w 382"/>
                            <a:gd name="T61" fmla="*/ 2147483647 h 394"/>
                            <a:gd name="T62" fmla="*/ 2147483647 w 382"/>
                            <a:gd name="T63" fmla="*/ 2147483647 h 394"/>
                            <a:gd name="T64" fmla="*/ 2147483647 w 382"/>
                            <a:gd name="T65" fmla="*/ 2147483647 h 394"/>
                            <a:gd name="T66" fmla="*/ 2147483647 w 382"/>
                            <a:gd name="T67" fmla="*/ 2147483647 h 394"/>
                            <a:gd name="T68" fmla="*/ 2147483647 w 382"/>
                            <a:gd name="T69" fmla="*/ 2147483647 h 394"/>
                            <a:gd name="T70" fmla="*/ 2147483647 w 382"/>
                            <a:gd name="T71" fmla="*/ 2147483647 h 394"/>
                            <a:gd name="T72" fmla="*/ 2147483647 w 382"/>
                            <a:gd name="T73" fmla="*/ 2147483647 h 394"/>
                            <a:gd name="T74" fmla="*/ 2147483647 w 382"/>
                            <a:gd name="T75" fmla="*/ 2147483647 h 394"/>
                            <a:gd name="T76" fmla="*/ 2147483647 w 382"/>
                            <a:gd name="T77" fmla="*/ 2147483647 h 394"/>
                            <a:gd name="T78" fmla="*/ 2147483647 w 382"/>
                            <a:gd name="T79" fmla="*/ 2147483647 h 394"/>
                            <a:gd name="T80" fmla="*/ 2147483647 w 382"/>
                            <a:gd name="T81" fmla="*/ 2147483647 h 394"/>
                            <a:gd name="T82" fmla="*/ 2147483647 w 382"/>
                            <a:gd name="T83" fmla="*/ 2147483647 h 394"/>
                            <a:gd name="T84" fmla="*/ 2147483647 w 382"/>
                            <a:gd name="T85" fmla="*/ 2147483647 h 394"/>
                            <a:gd name="T86" fmla="*/ 2147483647 w 382"/>
                            <a:gd name="T87" fmla="*/ 2147483647 h 39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82"/>
                            <a:gd name="T133" fmla="*/ 0 h 394"/>
                            <a:gd name="T134" fmla="*/ 382 w 382"/>
                            <a:gd name="T135" fmla="*/ 394 h 39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82" h="394">
                              <a:moveTo>
                                <a:pt x="382" y="88"/>
                              </a:moveTo>
                              <a:lnTo>
                                <a:pt x="179" y="80"/>
                              </a:lnTo>
                              <a:lnTo>
                                <a:pt x="156" y="68"/>
                              </a:lnTo>
                              <a:lnTo>
                                <a:pt x="148" y="56"/>
                              </a:lnTo>
                              <a:lnTo>
                                <a:pt x="136" y="32"/>
                              </a:lnTo>
                              <a:lnTo>
                                <a:pt x="112" y="0"/>
                              </a:lnTo>
                              <a:lnTo>
                                <a:pt x="112" y="20"/>
                              </a:lnTo>
                              <a:lnTo>
                                <a:pt x="100" y="44"/>
                              </a:lnTo>
                              <a:lnTo>
                                <a:pt x="100" y="68"/>
                              </a:lnTo>
                              <a:lnTo>
                                <a:pt x="8" y="68"/>
                              </a:lnTo>
                              <a:lnTo>
                                <a:pt x="0" y="88"/>
                              </a:lnTo>
                              <a:lnTo>
                                <a:pt x="0" y="148"/>
                              </a:lnTo>
                              <a:lnTo>
                                <a:pt x="56" y="156"/>
                              </a:lnTo>
                              <a:lnTo>
                                <a:pt x="56" y="203"/>
                              </a:lnTo>
                              <a:lnTo>
                                <a:pt x="32" y="247"/>
                              </a:lnTo>
                              <a:lnTo>
                                <a:pt x="44" y="283"/>
                              </a:lnTo>
                              <a:lnTo>
                                <a:pt x="32" y="295"/>
                              </a:lnTo>
                              <a:lnTo>
                                <a:pt x="44" y="315"/>
                              </a:lnTo>
                              <a:lnTo>
                                <a:pt x="44" y="339"/>
                              </a:lnTo>
                              <a:lnTo>
                                <a:pt x="100" y="350"/>
                              </a:lnTo>
                              <a:lnTo>
                                <a:pt x="124" y="350"/>
                              </a:lnTo>
                              <a:lnTo>
                                <a:pt x="124" y="362"/>
                              </a:lnTo>
                              <a:lnTo>
                                <a:pt x="136" y="382"/>
                              </a:lnTo>
                              <a:lnTo>
                                <a:pt x="156" y="394"/>
                              </a:lnTo>
                              <a:lnTo>
                                <a:pt x="156" y="382"/>
                              </a:lnTo>
                              <a:lnTo>
                                <a:pt x="168" y="370"/>
                              </a:lnTo>
                              <a:lnTo>
                                <a:pt x="191" y="370"/>
                              </a:lnTo>
                              <a:lnTo>
                                <a:pt x="223" y="382"/>
                              </a:lnTo>
                              <a:lnTo>
                                <a:pt x="247" y="370"/>
                              </a:lnTo>
                              <a:lnTo>
                                <a:pt x="259" y="362"/>
                              </a:lnTo>
                              <a:lnTo>
                                <a:pt x="271" y="362"/>
                              </a:lnTo>
                              <a:lnTo>
                                <a:pt x="283" y="370"/>
                              </a:lnTo>
                              <a:lnTo>
                                <a:pt x="291" y="370"/>
                              </a:lnTo>
                              <a:lnTo>
                                <a:pt x="291" y="362"/>
                              </a:lnTo>
                              <a:lnTo>
                                <a:pt x="303" y="327"/>
                              </a:lnTo>
                              <a:lnTo>
                                <a:pt x="327" y="303"/>
                              </a:lnTo>
                              <a:lnTo>
                                <a:pt x="339" y="283"/>
                              </a:lnTo>
                              <a:lnTo>
                                <a:pt x="358" y="271"/>
                              </a:lnTo>
                              <a:lnTo>
                                <a:pt x="370" y="247"/>
                              </a:lnTo>
                              <a:lnTo>
                                <a:pt x="370" y="223"/>
                              </a:lnTo>
                              <a:lnTo>
                                <a:pt x="382" y="191"/>
                              </a:lnTo>
                              <a:lnTo>
                                <a:pt x="370" y="156"/>
                              </a:lnTo>
                              <a:lnTo>
                                <a:pt x="370" y="124"/>
                              </a:lnTo>
                              <a:lnTo>
                                <a:pt x="382" y="88"/>
                              </a:lnTo>
                              <a:close/>
                            </a:path>
                          </a:pathLst>
                        </a:custGeom>
                        <a:solidFill>
                          <a:srgbClr val="FFFFFF"/>
                        </a:solidFill>
                        <a:ln w="9360">
                          <a:solidFill>
                            <a:srgbClr val="969696"/>
                          </a:solidFill>
                          <a:round/>
                          <a:headEnd/>
                          <a:tailEnd/>
                        </a:ln>
                      </p:spPr>
                      <p:txBody>
                        <a:bodyPr wrap="none" anchor="ctr"/>
                        <a:lstStyle/>
                        <a:p>
                          <a:endParaRPr lang="pt-BR"/>
                        </a:p>
                      </p:txBody>
                    </p:sp>
                    <p:sp>
                      <p:nvSpPr>
                        <p:cNvPr id="223" name="Freeform 22"/>
                        <p:cNvSpPr>
                          <a:spLocks noChangeArrowheads="1"/>
                        </p:cNvSpPr>
                        <p:nvPr/>
                      </p:nvSpPr>
                      <p:spPr bwMode="auto">
                        <a:xfrm>
                          <a:off x="6274231" y="1941666"/>
                          <a:ext cx="478943" cy="418058"/>
                        </a:xfrm>
                        <a:custGeom>
                          <a:avLst/>
                          <a:gdLst>
                            <a:gd name="T0" fmla="*/ 2147483647 w 250"/>
                            <a:gd name="T1" fmla="*/ 2147483647 h 215"/>
                            <a:gd name="T2" fmla="*/ 2147483647 w 250"/>
                            <a:gd name="T3" fmla="*/ 2147483647 h 215"/>
                            <a:gd name="T4" fmla="*/ 2147483647 w 250"/>
                            <a:gd name="T5" fmla="*/ 2147483647 h 215"/>
                            <a:gd name="T6" fmla="*/ 2147483647 w 250"/>
                            <a:gd name="T7" fmla="*/ 2147483647 h 215"/>
                            <a:gd name="T8" fmla="*/ 2147483647 w 250"/>
                            <a:gd name="T9" fmla="*/ 2147483647 h 215"/>
                            <a:gd name="T10" fmla="*/ 2147483647 w 250"/>
                            <a:gd name="T11" fmla="*/ 2147483647 h 215"/>
                            <a:gd name="T12" fmla="*/ 2147483647 w 250"/>
                            <a:gd name="T13" fmla="*/ 2147483647 h 215"/>
                            <a:gd name="T14" fmla="*/ 2147483647 w 250"/>
                            <a:gd name="T15" fmla="*/ 0 h 215"/>
                            <a:gd name="T16" fmla="*/ 2147483647 w 250"/>
                            <a:gd name="T17" fmla="*/ 2147483647 h 215"/>
                            <a:gd name="T18" fmla="*/ 2147483647 w 250"/>
                            <a:gd name="T19" fmla="*/ 2147483647 h 215"/>
                            <a:gd name="T20" fmla="*/ 2147483647 w 250"/>
                            <a:gd name="T21" fmla="*/ 2147483647 h 215"/>
                            <a:gd name="T22" fmla="*/ 2147483647 w 250"/>
                            <a:gd name="T23" fmla="*/ 2147483647 h 215"/>
                            <a:gd name="T24" fmla="*/ 2147483647 w 250"/>
                            <a:gd name="T25" fmla="*/ 2147483647 h 215"/>
                            <a:gd name="T26" fmla="*/ 2147483647 w 250"/>
                            <a:gd name="T27" fmla="*/ 2147483647 h 215"/>
                            <a:gd name="T28" fmla="*/ 0 w 250"/>
                            <a:gd name="T29" fmla="*/ 2147483647 h 215"/>
                            <a:gd name="T30" fmla="*/ 2147483647 w 250"/>
                            <a:gd name="T31" fmla="*/ 2147483647 h 215"/>
                            <a:gd name="T32" fmla="*/ 2147483647 w 250"/>
                            <a:gd name="T33" fmla="*/ 2147483647 h 215"/>
                            <a:gd name="T34" fmla="*/ 2147483647 w 250"/>
                            <a:gd name="T35" fmla="*/ 2147483647 h 215"/>
                            <a:gd name="T36" fmla="*/ 2147483647 w 250"/>
                            <a:gd name="T37" fmla="*/ 2147483647 h 215"/>
                            <a:gd name="T38" fmla="*/ 2147483647 w 250"/>
                            <a:gd name="T39" fmla="*/ 2147483647 h 215"/>
                            <a:gd name="T40" fmla="*/ 2147483647 w 250"/>
                            <a:gd name="T41" fmla="*/ 2147483647 h 215"/>
                            <a:gd name="T42" fmla="*/ 2147483647 w 250"/>
                            <a:gd name="T43" fmla="*/ 2147483647 h 215"/>
                            <a:gd name="T44" fmla="*/ 2147483647 w 250"/>
                            <a:gd name="T45" fmla="*/ 2147483647 h 215"/>
                            <a:gd name="T46" fmla="*/ 2147483647 w 250"/>
                            <a:gd name="T47" fmla="*/ 2147483647 h 215"/>
                            <a:gd name="T48" fmla="*/ 2147483647 w 250"/>
                            <a:gd name="T49" fmla="*/ 2147483647 h 215"/>
                            <a:gd name="T50" fmla="*/ 2147483647 w 250"/>
                            <a:gd name="T51" fmla="*/ 2147483647 h 215"/>
                            <a:gd name="T52" fmla="*/ 2147483647 w 250"/>
                            <a:gd name="T53" fmla="*/ 2147483647 h 215"/>
                            <a:gd name="T54" fmla="*/ 2147483647 w 250"/>
                            <a:gd name="T55" fmla="*/ 2147483647 h 215"/>
                            <a:gd name="T56" fmla="*/ 2147483647 w 250"/>
                            <a:gd name="T57" fmla="*/ 2147483647 h 215"/>
                            <a:gd name="T58" fmla="*/ 2147483647 w 250"/>
                            <a:gd name="T59" fmla="*/ 2147483647 h 21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50"/>
                            <a:gd name="T91" fmla="*/ 0 h 215"/>
                            <a:gd name="T92" fmla="*/ 250 w 250"/>
                            <a:gd name="T93" fmla="*/ 215 h 21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50" h="215">
                              <a:moveTo>
                                <a:pt x="202" y="36"/>
                              </a:moveTo>
                              <a:lnTo>
                                <a:pt x="183" y="36"/>
                              </a:lnTo>
                              <a:lnTo>
                                <a:pt x="171" y="48"/>
                              </a:lnTo>
                              <a:lnTo>
                                <a:pt x="159" y="48"/>
                              </a:lnTo>
                              <a:lnTo>
                                <a:pt x="159" y="24"/>
                              </a:lnTo>
                              <a:lnTo>
                                <a:pt x="147" y="12"/>
                              </a:lnTo>
                              <a:lnTo>
                                <a:pt x="135" y="12"/>
                              </a:lnTo>
                              <a:lnTo>
                                <a:pt x="115" y="0"/>
                              </a:lnTo>
                              <a:lnTo>
                                <a:pt x="91" y="12"/>
                              </a:lnTo>
                              <a:lnTo>
                                <a:pt x="91" y="24"/>
                              </a:lnTo>
                              <a:lnTo>
                                <a:pt x="79" y="36"/>
                              </a:lnTo>
                              <a:lnTo>
                                <a:pt x="59" y="48"/>
                              </a:lnTo>
                              <a:lnTo>
                                <a:pt x="59" y="56"/>
                              </a:lnTo>
                              <a:lnTo>
                                <a:pt x="23" y="68"/>
                              </a:lnTo>
                              <a:lnTo>
                                <a:pt x="0" y="92"/>
                              </a:lnTo>
                              <a:lnTo>
                                <a:pt x="12" y="104"/>
                              </a:lnTo>
                              <a:lnTo>
                                <a:pt x="35" y="92"/>
                              </a:lnTo>
                              <a:lnTo>
                                <a:pt x="47" y="92"/>
                              </a:lnTo>
                              <a:lnTo>
                                <a:pt x="59" y="104"/>
                              </a:lnTo>
                              <a:lnTo>
                                <a:pt x="59" y="135"/>
                              </a:lnTo>
                              <a:lnTo>
                                <a:pt x="79" y="171"/>
                              </a:lnTo>
                              <a:lnTo>
                                <a:pt x="127" y="183"/>
                              </a:lnTo>
                              <a:lnTo>
                                <a:pt x="147" y="191"/>
                              </a:lnTo>
                              <a:lnTo>
                                <a:pt x="202" y="203"/>
                              </a:lnTo>
                              <a:lnTo>
                                <a:pt x="226" y="215"/>
                              </a:lnTo>
                              <a:lnTo>
                                <a:pt x="250" y="171"/>
                              </a:lnTo>
                              <a:lnTo>
                                <a:pt x="250" y="124"/>
                              </a:lnTo>
                              <a:lnTo>
                                <a:pt x="194" y="116"/>
                              </a:lnTo>
                              <a:lnTo>
                                <a:pt x="194" y="56"/>
                              </a:lnTo>
                              <a:lnTo>
                                <a:pt x="202" y="36"/>
                              </a:lnTo>
                              <a:close/>
                            </a:path>
                          </a:pathLst>
                        </a:custGeom>
                        <a:solidFill>
                          <a:srgbClr val="FFFFFF"/>
                        </a:solidFill>
                        <a:ln w="9360">
                          <a:solidFill>
                            <a:srgbClr val="969696"/>
                          </a:solidFill>
                          <a:round/>
                          <a:headEnd/>
                          <a:tailEnd/>
                        </a:ln>
                      </p:spPr>
                      <p:txBody>
                        <a:bodyPr wrap="none" anchor="ctr"/>
                        <a:lstStyle/>
                        <a:p>
                          <a:endParaRPr lang="pt-BR"/>
                        </a:p>
                      </p:txBody>
                    </p:sp>
                    <p:sp>
                      <p:nvSpPr>
                        <p:cNvPr id="224" name="Freeform 23"/>
                        <p:cNvSpPr>
                          <a:spLocks noChangeArrowheads="1"/>
                        </p:cNvSpPr>
                        <p:nvPr/>
                      </p:nvSpPr>
                      <p:spPr bwMode="auto">
                        <a:xfrm>
                          <a:off x="5795288" y="1941666"/>
                          <a:ext cx="498145" cy="262311"/>
                        </a:xfrm>
                        <a:custGeom>
                          <a:avLst/>
                          <a:gdLst>
                            <a:gd name="T0" fmla="*/ 0 w 259"/>
                            <a:gd name="T1" fmla="*/ 0 h 135"/>
                            <a:gd name="T2" fmla="*/ 2147483647 w 259"/>
                            <a:gd name="T3" fmla="*/ 2147483647 h 135"/>
                            <a:gd name="T4" fmla="*/ 2147483647 w 259"/>
                            <a:gd name="T5" fmla="*/ 2147483647 h 135"/>
                            <a:gd name="T6" fmla="*/ 2147483647 w 259"/>
                            <a:gd name="T7" fmla="*/ 2147483647 h 135"/>
                            <a:gd name="T8" fmla="*/ 2147483647 w 259"/>
                            <a:gd name="T9" fmla="*/ 2147483647 h 135"/>
                            <a:gd name="T10" fmla="*/ 2147483647 w 259"/>
                            <a:gd name="T11" fmla="*/ 2147483647 h 135"/>
                            <a:gd name="T12" fmla="*/ 2147483647 w 259"/>
                            <a:gd name="T13" fmla="*/ 2147483647 h 135"/>
                            <a:gd name="T14" fmla="*/ 2147483647 w 259"/>
                            <a:gd name="T15" fmla="*/ 2147483647 h 135"/>
                            <a:gd name="T16" fmla="*/ 2147483647 w 259"/>
                            <a:gd name="T17" fmla="*/ 2147483647 h 135"/>
                            <a:gd name="T18" fmla="*/ 2147483647 w 259"/>
                            <a:gd name="T19" fmla="*/ 2147483647 h 135"/>
                            <a:gd name="T20" fmla="*/ 2147483647 w 259"/>
                            <a:gd name="T21" fmla="*/ 2147483647 h 135"/>
                            <a:gd name="T22" fmla="*/ 2147483647 w 259"/>
                            <a:gd name="T23" fmla="*/ 2147483647 h 135"/>
                            <a:gd name="T24" fmla="*/ 2147483647 w 259"/>
                            <a:gd name="T25" fmla="*/ 2147483647 h 135"/>
                            <a:gd name="T26" fmla="*/ 2147483647 w 259"/>
                            <a:gd name="T27" fmla="*/ 2147483647 h 135"/>
                            <a:gd name="T28" fmla="*/ 2147483647 w 259"/>
                            <a:gd name="T29" fmla="*/ 2147483647 h 135"/>
                            <a:gd name="T30" fmla="*/ 2147483647 w 259"/>
                            <a:gd name="T31" fmla="*/ 2147483647 h 135"/>
                            <a:gd name="T32" fmla="*/ 2147483647 w 259"/>
                            <a:gd name="T33" fmla="*/ 2147483647 h 135"/>
                            <a:gd name="T34" fmla="*/ 2147483647 w 259"/>
                            <a:gd name="T35" fmla="*/ 2147483647 h 135"/>
                            <a:gd name="T36" fmla="*/ 2147483647 w 259"/>
                            <a:gd name="T37" fmla="*/ 2147483647 h 135"/>
                            <a:gd name="T38" fmla="*/ 2147483647 w 259"/>
                            <a:gd name="T39" fmla="*/ 2147483647 h 135"/>
                            <a:gd name="T40" fmla="*/ 0 w 259"/>
                            <a:gd name="T41" fmla="*/ 2147483647 h 135"/>
                            <a:gd name="T42" fmla="*/ 0 w 259"/>
                            <a:gd name="T43" fmla="*/ 0 h 13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59"/>
                            <a:gd name="T67" fmla="*/ 0 h 135"/>
                            <a:gd name="T68" fmla="*/ 259 w 259"/>
                            <a:gd name="T69" fmla="*/ 135 h 13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59" h="135">
                              <a:moveTo>
                                <a:pt x="0" y="0"/>
                              </a:moveTo>
                              <a:lnTo>
                                <a:pt x="24" y="12"/>
                              </a:lnTo>
                              <a:lnTo>
                                <a:pt x="56" y="24"/>
                              </a:lnTo>
                              <a:lnTo>
                                <a:pt x="91" y="24"/>
                              </a:lnTo>
                              <a:lnTo>
                                <a:pt x="123" y="36"/>
                              </a:lnTo>
                              <a:lnTo>
                                <a:pt x="171" y="56"/>
                              </a:lnTo>
                              <a:lnTo>
                                <a:pt x="203" y="80"/>
                              </a:lnTo>
                              <a:lnTo>
                                <a:pt x="247" y="92"/>
                              </a:lnTo>
                              <a:lnTo>
                                <a:pt x="259" y="104"/>
                              </a:lnTo>
                              <a:lnTo>
                                <a:pt x="227" y="124"/>
                              </a:lnTo>
                              <a:lnTo>
                                <a:pt x="179" y="135"/>
                              </a:lnTo>
                              <a:lnTo>
                                <a:pt x="123" y="135"/>
                              </a:lnTo>
                              <a:lnTo>
                                <a:pt x="111" y="124"/>
                              </a:lnTo>
                              <a:lnTo>
                                <a:pt x="111" y="92"/>
                              </a:lnTo>
                              <a:lnTo>
                                <a:pt x="91" y="116"/>
                              </a:lnTo>
                              <a:lnTo>
                                <a:pt x="68" y="116"/>
                              </a:lnTo>
                              <a:lnTo>
                                <a:pt x="56" y="104"/>
                              </a:lnTo>
                              <a:lnTo>
                                <a:pt x="44" y="104"/>
                              </a:lnTo>
                              <a:lnTo>
                                <a:pt x="36" y="80"/>
                              </a:lnTo>
                              <a:lnTo>
                                <a:pt x="12" y="56"/>
                              </a:lnTo>
                              <a:lnTo>
                                <a:pt x="0" y="36"/>
                              </a:lnTo>
                              <a:lnTo>
                                <a:pt x="0" y="0"/>
                              </a:lnTo>
                              <a:close/>
                            </a:path>
                          </a:pathLst>
                        </a:custGeom>
                        <a:solidFill>
                          <a:srgbClr val="FFFFFF"/>
                        </a:solidFill>
                        <a:ln w="9360">
                          <a:solidFill>
                            <a:srgbClr val="969696"/>
                          </a:solidFill>
                          <a:round/>
                          <a:headEnd/>
                          <a:tailEnd/>
                        </a:ln>
                      </p:spPr>
                      <p:txBody>
                        <a:bodyPr wrap="none" anchor="ctr"/>
                        <a:lstStyle/>
                        <a:p>
                          <a:endParaRPr lang="pt-BR"/>
                        </a:p>
                      </p:txBody>
                    </p:sp>
                    <p:sp>
                      <p:nvSpPr>
                        <p:cNvPr id="225" name="Freeform 24"/>
                        <p:cNvSpPr>
                          <a:spLocks noChangeArrowheads="1"/>
                        </p:cNvSpPr>
                        <p:nvPr/>
                      </p:nvSpPr>
                      <p:spPr bwMode="auto">
                        <a:xfrm>
                          <a:off x="6753174" y="1169960"/>
                          <a:ext cx="908185" cy="880613"/>
                        </a:xfrm>
                        <a:custGeom>
                          <a:avLst/>
                          <a:gdLst>
                            <a:gd name="T0" fmla="*/ 0 w 473"/>
                            <a:gd name="T1" fmla="*/ 2147483647 h 450"/>
                            <a:gd name="T2" fmla="*/ 2147483647 w 473"/>
                            <a:gd name="T3" fmla="*/ 2147483647 h 450"/>
                            <a:gd name="T4" fmla="*/ 2147483647 w 473"/>
                            <a:gd name="T5" fmla="*/ 2147483647 h 450"/>
                            <a:gd name="T6" fmla="*/ 2147483647 w 473"/>
                            <a:gd name="T7" fmla="*/ 2147483647 h 450"/>
                            <a:gd name="T8" fmla="*/ 2147483647 w 473"/>
                            <a:gd name="T9" fmla="*/ 2147483647 h 450"/>
                            <a:gd name="T10" fmla="*/ 2147483647 w 473"/>
                            <a:gd name="T11" fmla="*/ 2147483647 h 450"/>
                            <a:gd name="T12" fmla="*/ 2147483647 w 473"/>
                            <a:gd name="T13" fmla="*/ 2147483647 h 450"/>
                            <a:gd name="T14" fmla="*/ 2147483647 w 473"/>
                            <a:gd name="T15" fmla="*/ 2147483647 h 450"/>
                            <a:gd name="T16" fmla="*/ 2147483647 w 473"/>
                            <a:gd name="T17" fmla="*/ 2147483647 h 450"/>
                            <a:gd name="T18" fmla="*/ 2147483647 w 473"/>
                            <a:gd name="T19" fmla="*/ 2147483647 h 450"/>
                            <a:gd name="T20" fmla="*/ 2147483647 w 473"/>
                            <a:gd name="T21" fmla="*/ 2147483647 h 450"/>
                            <a:gd name="T22" fmla="*/ 2147483647 w 473"/>
                            <a:gd name="T23" fmla="*/ 2147483647 h 450"/>
                            <a:gd name="T24" fmla="*/ 2147483647 w 473"/>
                            <a:gd name="T25" fmla="*/ 2147483647 h 450"/>
                            <a:gd name="T26" fmla="*/ 2147483647 w 473"/>
                            <a:gd name="T27" fmla="*/ 2147483647 h 450"/>
                            <a:gd name="T28" fmla="*/ 2147483647 w 473"/>
                            <a:gd name="T29" fmla="*/ 2147483647 h 450"/>
                            <a:gd name="T30" fmla="*/ 2147483647 w 473"/>
                            <a:gd name="T31" fmla="*/ 2147483647 h 450"/>
                            <a:gd name="T32" fmla="*/ 2147483647 w 473"/>
                            <a:gd name="T33" fmla="*/ 2147483647 h 450"/>
                            <a:gd name="T34" fmla="*/ 2147483647 w 473"/>
                            <a:gd name="T35" fmla="*/ 2147483647 h 450"/>
                            <a:gd name="T36" fmla="*/ 2147483647 w 473"/>
                            <a:gd name="T37" fmla="*/ 2147483647 h 450"/>
                            <a:gd name="T38" fmla="*/ 2147483647 w 473"/>
                            <a:gd name="T39" fmla="*/ 2147483647 h 450"/>
                            <a:gd name="T40" fmla="*/ 2147483647 w 473"/>
                            <a:gd name="T41" fmla="*/ 2147483647 h 450"/>
                            <a:gd name="T42" fmla="*/ 2147483647 w 473"/>
                            <a:gd name="T43" fmla="*/ 2147483647 h 450"/>
                            <a:gd name="T44" fmla="*/ 2147483647 w 473"/>
                            <a:gd name="T45" fmla="*/ 2147483647 h 450"/>
                            <a:gd name="T46" fmla="*/ 2147483647 w 473"/>
                            <a:gd name="T47" fmla="*/ 2147483647 h 450"/>
                            <a:gd name="T48" fmla="*/ 2147483647 w 473"/>
                            <a:gd name="T49" fmla="*/ 2147483647 h 450"/>
                            <a:gd name="T50" fmla="*/ 2147483647 w 473"/>
                            <a:gd name="T51" fmla="*/ 2147483647 h 450"/>
                            <a:gd name="T52" fmla="*/ 2147483647 w 473"/>
                            <a:gd name="T53" fmla="*/ 2147483647 h 450"/>
                            <a:gd name="T54" fmla="*/ 2147483647 w 473"/>
                            <a:gd name="T55" fmla="*/ 2147483647 h 450"/>
                            <a:gd name="T56" fmla="*/ 2147483647 w 473"/>
                            <a:gd name="T57" fmla="*/ 2147483647 h 450"/>
                            <a:gd name="T58" fmla="*/ 2147483647 w 473"/>
                            <a:gd name="T59" fmla="*/ 2147483647 h 450"/>
                            <a:gd name="T60" fmla="*/ 2147483647 w 473"/>
                            <a:gd name="T61" fmla="*/ 2147483647 h 450"/>
                            <a:gd name="T62" fmla="*/ 2147483647 w 473"/>
                            <a:gd name="T63" fmla="*/ 2147483647 h 450"/>
                            <a:gd name="T64" fmla="*/ 2147483647 w 473"/>
                            <a:gd name="T65" fmla="*/ 2147483647 h 450"/>
                            <a:gd name="T66" fmla="*/ 2147483647 w 473"/>
                            <a:gd name="T67" fmla="*/ 2147483647 h 450"/>
                            <a:gd name="T68" fmla="*/ 2147483647 w 473"/>
                            <a:gd name="T69" fmla="*/ 2147483647 h 450"/>
                            <a:gd name="T70" fmla="*/ 2147483647 w 473"/>
                            <a:gd name="T71" fmla="*/ 2147483647 h 450"/>
                            <a:gd name="T72" fmla="*/ 2147483647 w 473"/>
                            <a:gd name="T73" fmla="*/ 2147483647 h 450"/>
                            <a:gd name="T74" fmla="*/ 2147483647 w 473"/>
                            <a:gd name="T75" fmla="*/ 2147483647 h 450"/>
                            <a:gd name="T76" fmla="*/ 2147483647 w 473"/>
                            <a:gd name="T77" fmla="*/ 2147483647 h 450"/>
                            <a:gd name="T78" fmla="*/ 2147483647 w 473"/>
                            <a:gd name="T79" fmla="*/ 2147483647 h 450"/>
                            <a:gd name="T80" fmla="*/ 2147483647 w 473"/>
                            <a:gd name="T81" fmla="*/ 2147483647 h 450"/>
                            <a:gd name="T82" fmla="*/ 2147483647 w 473"/>
                            <a:gd name="T83" fmla="*/ 2147483647 h 450"/>
                            <a:gd name="T84" fmla="*/ 2147483647 w 473"/>
                            <a:gd name="T85" fmla="*/ 2147483647 h 450"/>
                            <a:gd name="T86" fmla="*/ 2147483647 w 473"/>
                            <a:gd name="T87" fmla="*/ 2147483647 h 450"/>
                            <a:gd name="T88" fmla="*/ 2147483647 w 473"/>
                            <a:gd name="T89" fmla="*/ 2147483647 h 450"/>
                            <a:gd name="T90" fmla="*/ 2147483647 w 473"/>
                            <a:gd name="T91" fmla="*/ 0 h 450"/>
                            <a:gd name="T92" fmla="*/ 2147483647 w 473"/>
                            <a:gd name="T93" fmla="*/ 0 h 450"/>
                            <a:gd name="T94" fmla="*/ 2147483647 w 473"/>
                            <a:gd name="T95" fmla="*/ 2147483647 h 450"/>
                            <a:gd name="T96" fmla="*/ 2147483647 w 473"/>
                            <a:gd name="T97" fmla="*/ 2147483647 h 450"/>
                            <a:gd name="T98" fmla="*/ 2147483647 w 473"/>
                            <a:gd name="T99" fmla="*/ 2147483647 h 450"/>
                            <a:gd name="T100" fmla="*/ 2147483647 w 473"/>
                            <a:gd name="T101" fmla="*/ 2147483647 h 450"/>
                            <a:gd name="T102" fmla="*/ 2147483647 w 473"/>
                            <a:gd name="T103" fmla="*/ 2147483647 h 450"/>
                            <a:gd name="T104" fmla="*/ 2147483647 w 473"/>
                            <a:gd name="T105" fmla="*/ 2147483647 h 450"/>
                            <a:gd name="T106" fmla="*/ 0 w 473"/>
                            <a:gd name="T107" fmla="*/ 2147483647 h 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73"/>
                            <a:gd name="T163" fmla="*/ 0 h 450"/>
                            <a:gd name="T164" fmla="*/ 473 w 473"/>
                            <a:gd name="T165" fmla="*/ 450 h 45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73" h="450">
                              <a:moveTo>
                                <a:pt x="0" y="44"/>
                              </a:moveTo>
                              <a:lnTo>
                                <a:pt x="12" y="80"/>
                              </a:lnTo>
                              <a:lnTo>
                                <a:pt x="12" y="104"/>
                              </a:lnTo>
                              <a:lnTo>
                                <a:pt x="32" y="148"/>
                              </a:lnTo>
                              <a:lnTo>
                                <a:pt x="44" y="160"/>
                              </a:lnTo>
                              <a:lnTo>
                                <a:pt x="68" y="160"/>
                              </a:lnTo>
                              <a:lnTo>
                                <a:pt x="92" y="171"/>
                              </a:lnTo>
                              <a:lnTo>
                                <a:pt x="92" y="191"/>
                              </a:lnTo>
                              <a:lnTo>
                                <a:pt x="100" y="203"/>
                              </a:lnTo>
                              <a:lnTo>
                                <a:pt x="56" y="327"/>
                              </a:lnTo>
                              <a:lnTo>
                                <a:pt x="56" y="362"/>
                              </a:lnTo>
                              <a:lnTo>
                                <a:pt x="80" y="394"/>
                              </a:lnTo>
                              <a:lnTo>
                                <a:pt x="92" y="418"/>
                              </a:lnTo>
                              <a:lnTo>
                                <a:pt x="100" y="430"/>
                              </a:lnTo>
                              <a:lnTo>
                                <a:pt x="123" y="442"/>
                              </a:lnTo>
                              <a:lnTo>
                                <a:pt x="326" y="450"/>
                              </a:lnTo>
                              <a:lnTo>
                                <a:pt x="350" y="418"/>
                              </a:lnTo>
                              <a:lnTo>
                                <a:pt x="362" y="394"/>
                              </a:lnTo>
                              <a:lnTo>
                                <a:pt x="362" y="362"/>
                              </a:lnTo>
                              <a:lnTo>
                                <a:pt x="370" y="339"/>
                              </a:lnTo>
                              <a:lnTo>
                                <a:pt x="406" y="307"/>
                              </a:lnTo>
                              <a:lnTo>
                                <a:pt x="406" y="295"/>
                              </a:lnTo>
                              <a:lnTo>
                                <a:pt x="394" y="283"/>
                              </a:lnTo>
                              <a:lnTo>
                                <a:pt x="406" y="271"/>
                              </a:lnTo>
                              <a:lnTo>
                                <a:pt x="430" y="259"/>
                              </a:lnTo>
                              <a:lnTo>
                                <a:pt x="450" y="239"/>
                              </a:lnTo>
                              <a:lnTo>
                                <a:pt x="462" y="203"/>
                              </a:lnTo>
                              <a:lnTo>
                                <a:pt x="473" y="160"/>
                              </a:lnTo>
                              <a:lnTo>
                                <a:pt x="473" y="124"/>
                              </a:lnTo>
                              <a:lnTo>
                                <a:pt x="462" y="112"/>
                              </a:lnTo>
                              <a:lnTo>
                                <a:pt x="418" y="104"/>
                              </a:lnTo>
                              <a:lnTo>
                                <a:pt x="406" y="124"/>
                              </a:lnTo>
                              <a:lnTo>
                                <a:pt x="382" y="148"/>
                              </a:lnTo>
                              <a:lnTo>
                                <a:pt x="370" y="171"/>
                              </a:lnTo>
                              <a:lnTo>
                                <a:pt x="362" y="203"/>
                              </a:lnTo>
                              <a:lnTo>
                                <a:pt x="362" y="171"/>
                              </a:lnTo>
                              <a:lnTo>
                                <a:pt x="314" y="160"/>
                              </a:lnTo>
                              <a:lnTo>
                                <a:pt x="294" y="136"/>
                              </a:lnTo>
                              <a:lnTo>
                                <a:pt x="271" y="136"/>
                              </a:lnTo>
                              <a:lnTo>
                                <a:pt x="247" y="112"/>
                              </a:lnTo>
                              <a:lnTo>
                                <a:pt x="235" y="80"/>
                              </a:lnTo>
                              <a:lnTo>
                                <a:pt x="215" y="44"/>
                              </a:lnTo>
                              <a:lnTo>
                                <a:pt x="191" y="36"/>
                              </a:lnTo>
                              <a:lnTo>
                                <a:pt x="179" y="36"/>
                              </a:lnTo>
                              <a:lnTo>
                                <a:pt x="159" y="24"/>
                              </a:lnTo>
                              <a:lnTo>
                                <a:pt x="159" y="0"/>
                              </a:lnTo>
                              <a:lnTo>
                                <a:pt x="123" y="0"/>
                              </a:lnTo>
                              <a:lnTo>
                                <a:pt x="112" y="12"/>
                              </a:lnTo>
                              <a:lnTo>
                                <a:pt x="123" y="12"/>
                              </a:lnTo>
                              <a:lnTo>
                                <a:pt x="112" y="24"/>
                              </a:lnTo>
                              <a:lnTo>
                                <a:pt x="80" y="24"/>
                              </a:lnTo>
                              <a:lnTo>
                                <a:pt x="44" y="36"/>
                              </a:lnTo>
                              <a:lnTo>
                                <a:pt x="12" y="44"/>
                              </a:lnTo>
                              <a:lnTo>
                                <a:pt x="0" y="44"/>
                              </a:lnTo>
                              <a:close/>
                            </a:path>
                          </a:pathLst>
                        </a:custGeom>
                        <a:solidFill>
                          <a:srgbClr val="FFFFFF"/>
                        </a:solidFill>
                        <a:ln w="9360">
                          <a:solidFill>
                            <a:srgbClr val="969696"/>
                          </a:solidFill>
                          <a:round/>
                          <a:headEnd/>
                          <a:tailEnd/>
                        </a:ln>
                      </p:spPr>
                      <p:txBody>
                        <a:bodyPr wrap="none" anchor="ctr"/>
                        <a:lstStyle/>
                        <a:p>
                          <a:endParaRPr lang="pt-BR"/>
                        </a:p>
                      </p:txBody>
                    </p:sp>
                    <p:sp>
                      <p:nvSpPr>
                        <p:cNvPr id="226" name="Freeform 27"/>
                        <p:cNvSpPr>
                          <a:spLocks noChangeArrowheads="1"/>
                        </p:cNvSpPr>
                        <p:nvPr/>
                      </p:nvSpPr>
                      <p:spPr bwMode="auto">
                        <a:xfrm>
                          <a:off x="5799805" y="1216800"/>
                          <a:ext cx="1146527" cy="904034"/>
                        </a:xfrm>
                        <a:custGeom>
                          <a:avLst/>
                          <a:gdLst>
                            <a:gd name="T0" fmla="*/ 2147483647 w 597"/>
                            <a:gd name="T1" fmla="*/ 2147483647 h 462"/>
                            <a:gd name="T2" fmla="*/ 2147483647 w 597"/>
                            <a:gd name="T3" fmla="*/ 2147483647 h 462"/>
                            <a:gd name="T4" fmla="*/ 2147483647 w 597"/>
                            <a:gd name="T5" fmla="*/ 2147483647 h 462"/>
                            <a:gd name="T6" fmla="*/ 2147483647 w 597"/>
                            <a:gd name="T7" fmla="*/ 2147483647 h 462"/>
                            <a:gd name="T8" fmla="*/ 2147483647 w 597"/>
                            <a:gd name="T9" fmla="*/ 2147483647 h 462"/>
                            <a:gd name="T10" fmla="*/ 2147483647 w 597"/>
                            <a:gd name="T11" fmla="*/ 2147483647 h 462"/>
                            <a:gd name="T12" fmla="*/ 2147483647 w 597"/>
                            <a:gd name="T13" fmla="*/ 2147483647 h 462"/>
                            <a:gd name="T14" fmla="*/ 2147483647 w 597"/>
                            <a:gd name="T15" fmla="*/ 2147483647 h 462"/>
                            <a:gd name="T16" fmla="*/ 2147483647 w 597"/>
                            <a:gd name="T17" fmla="*/ 2147483647 h 462"/>
                            <a:gd name="T18" fmla="*/ 2147483647 w 597"/>
                            <a:gd name="T19" fmla="*/ 2147483647 h 462"/>
                            <a:gd name="T20" fmla="*/ 2147483647 w 597"/>
                            <a:gd name="T21" fmla="*/ 2147483647 h 462"/>
                            <a:gd name="T22" fmla="*/ 2147483647 w 597"/>
                            <a:gd name="T23" fmla="*/ 2147483647 h 462"/>
                            <a:gd name="T24" fmla="*/ 2147483647 w 597"/>
                            <a:gd name="T25" fmla="*/ 2147483647 h 462"/>
                            <a:gd name="T26" fmla="*/ 2147483647 w 597"/>
                            <a:gd name="T27" fmla="*/ 2147483647 h 462"/>
                            <a:gd name="T28" fmla="*/ 2147483647 w 597"/>
                            <a:gd name="T29" fmla="*/ 2147483647 h 462"/>
                            <a:gd name="T30" fmla="*/ 2147483647 w 597"/>
                            <a:gd name="T31" fmla="*/ 2147483647 h 462"/>
                            <a:gd name="T32" fmla="*/ 2147483647 w 597"/>
                            <a:gd name="T33" fmla="*/ 2147483647 h 462"/>
                            <a:gd name="T34" fmla="*/ 2147483647 w 597"/>
                            <a:gd name="T35" fmla="*/ 2147483647 h 462"/>
                            <a:gd name="T36" fmla="*/ 2147483647 w 597"/>
                            <a:gd name="T37" fmla="*/ 2147483647 h 462"/>
                            <a:gd name="T38" fmla="*/ 2147483647 w 597"/>
                            <a:gd name="T39" fmla="*/ 2147483647 h 462"/>
                            <a:gd name="T40" fmla="*/ 2147483647 w 597"/>
                            <a:gd name="T41" fmla="*/ 2147483647 h 462"/>
                            <a:gd name="T42" fmla="*/ 2147483647 w 597"/>
                            <a:gd name="T43" fmla="*/ 2147483647 h 462"/>
                            <a:gd name="T44" fmla="*/ 2147483647 w 597"/>
                            <a:gd name="T45" fmla="*/ 2147483647 h 462"/>
                            <a:gd name="T46" fmla="*/ 0 w 597"/>
                            <a:gd name="T47" fmla="*/ 2147483647 h 462"/>
                            <a:gd name="T48" fmla="*/ 2147483647 w 597"/>
                            <a:gd name="T49" fmla="*/ 2147483647 h 462"/>
                            <a:gd name="T50" fmla="*/ 2147483647 w 597"/>
                            <a:gd name="T51" fmla="*/ 2147483647 h 462"/>
                            <a:gd name="T52" fmla="*/ 2147483647 w 597"/>
                            <a:gd name="T53" fmla="*/ 2147483647 h 462"/>
                            <a:gd name="T54" fmla="*/ 2147483647 w 597"/>
                            <a:gd name="T55" fmla="*/ 2147483647 h 462"/>
                            <a:gd name="T56" fmla="*/ 2147483647 w 597"/>
                            <a:gd name="T57" fmla="*/ 2147483647 h 462"/>
                            <a:gd name="T58" fmla="*/ 2147483647 w 597"/>
                            <a:gd name="T59" fmla="*/ 2147483647 h 462"/>
                            <a:gd name="T60" fmla="*/ 2147483647 w 597"/>
                            <a:gd name="T61" fmla="*/ 2147483647 h 462"/>
                            <a:gd name="T62" fmla="*/ 2147483647 w 597"/>
                            <a:gd name="T63" fmla="*/ 2147483647 h 462"/>
                            <a:gd name="T64" fmla="*/ 2147483647 w 597"/>
                            <a:gd name="T65" fmla="*/ 2147483647 h 462"/>
                            <a:gd name="T66" fmla="*/ 2147483647 w 597"/>
                            <a:gd name="T67" fmla="*/ 2147483647 h 462"/>
                            <a:gd name="T68" fmla="*/ 2147483647 w 597"/>
                            <a:gd name="T69" fmla="*/ 2147483647 h 462"/>
                            <a:gd name="T70" fmla="*/ 2147483647 w 597"/>
                            <a:gd name="T71" fmla="*/ 2147483647 h 46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97"/>
                            <a:gd name="T109" fmla="*/ 0 h 462"/>
                            <a:gd name="T110" fmla="*/ 597 w 597"/>
                            <a:gd name="T111" fmla="*/ 462 h 46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97" h="462">
                              <a:moveTo>
                                <a:pt x="362" y="0"/>
                              </a:moveTo>
                              <a:lnTo>
                                <a:pt x="374" y="12"/>
                              </a:lnTo>
                              <a:lnTo>
                                <a:pt x="374" y="32"/>
                              </a:lnTo>
                              <a:lnTo>
                                <a:pt x="382" y="56"/>
                              </a:lnTo>
                              <a:lnTo>
                                <a:pt x="382" y="88"/>
                              </a:lnTo>
                              <a:lnTo>
                                <a:pt x="374" y="100"/>
                              </a:lnTo>
                              <a:lnTo>
                                <a:pt x="382" y="112"/>
                              </a:lnTo>
                              <a:lnTo>
                                <a:pt x="406" y="124"/>
                              </a:lnTo>
                              <a:lnTo>
                                <a:pt x="418" y="100"/>
                              </a:lnTo>
                              <a:lnTo>
                                <a:pt x="430" y="100"/>
                              </a:lnTo>
                              <a:lnTo>
                                <a:pt x="441" y="112"/>
                              </a:lnTo>
                              <a:lnTo>
                                <a:pt x="449" y="112"/>
                              </a:lnTo>
                              <a:lnTo>
                                <a:pt x="461" y="100"/>
                              </a:lnTo>
                              <a:lnTo>
                                <a:pt x="461" y="88"/>
                              </a:lnTo>
                              <a:lnTo>
                                <a:pt x="473" y="80"/>
                              </a:lnTo>
                              <a:lnTo>
                                <a:pt x="509" y="80"/>
                              </a:lnTo>
                              <a:lnTo>
                                <a:pt x="529" y="124"/>
                              </a:lnTo>
                              <a:lnTo>
                                <a:pt x="541" y="136"/>
                              </a:lnTo>
                              <a:lnTo>
                                <a:pt x="565" y="136"/>
                              </a:lnTo>
                              <a:lnTo>
                                <a:pt x="589" y="147"/>
                              </a:lnTo>
                              <a:lnTo>
                                <a:pt x="589" y="167"/>
                              </a:lnTo>
                              <a:lnTo>
                                <a:pt x="597" y="179"/>
                              </a:lnTo>
                              <a:lnTo>
                                <a:pt x="553" y="303"/>
                              </a:lnTo>
                              <a:lnTo>
                                <a:pt x="553" y="358"/>
                              </a:lnTo>
                              <a:lnTo>
                                <a:pt x="541" y="382"/>
                              </a:lnTo>
                              <a:lnTo>
                                <a:pt x="541" y="406"/>
                              </a:lnTo>
                              <a:lnTo>
                                <a:pt x="449" y="406"/>
                              </a:lnTo>
                              <a:lnTo>
                                <a:pt x="430" y="406"/>
                              </a:lnTo>
                              <a:lnTo>
                                <a:pt x="418" y="418"/>
                              </a:lnTo>
                              <a:lnTo>
                                <a:pt x="406" y="418"/>
                              </a:lnTo>
                              <a:lnTo>
                                <a:pt x="406" y="394"/>
                              </a:lnTo>
                              <a:lnTo>
                                <a:pt x="394" y="382"/>
                              </a:lnTo>
                              <a:lnTo>
                                <a:pt x="382" y="382"/>
                              </a:lnTo>
                              <a:lnTo>
                                <a:pt x="362" y="370"/>
                              </a:lnTo>
                              <a:lnTo>
                                <a:pt x="338" y="382"/>
                              </a:lnTo>
                              <a:lnTo>
                                <a:pt x="338" y="394"/>
                              </a:lnTo>
                              <a:lnTo>
                                <a:pt x="326" y="406"/>
                              </a:lnTo>
                              <a:lnTo>
                                <a:pt x="306" y="418"/>
                              </a:lnTo>
                              <a:lnTo>
                                <a:pt x="306" y="426"/>
                              </a:lnTo>
                              <a:lnTo>
                                <a:pt x="270" y="438"/>
                              </a:lnTo>
                              <a:lnTo>
                                <a:pt x="247" y="462"/>
                              </a:lnTo>
                              <a:lnTo>
                                <a:pt x="203" y="450"/>
                              </a:lnTo>
                              <a:lnTo>
                                <a:pt x="171" y="426"/>
                              </a:lnTo>
                              <a:lnTo>
                                <a:pt x="123" y="406"/>
                              </a:lnTo>
                              <a:lnTo>
                                <a:pt x="91" y="394"/>
                              </a:lnTo>
                              <a:lnTo>
                                <a:pt x="56" y="394"/>
                              </a:lnTo>
                              <a:lnTo>
                                <a:pt x="24" y="382"/>
                              </a:lnTo>
                              <a:lnTo>
                                <a:pt x="0" y="370"/>
                              </a:lnTo>
                              <a:lnTo>
                                <a:pt x="12" y="350"/>
                              </a:lnTo>
                              <a:lnTo>
                                <a:pt x="24" y="338"/>
                              </a:lnTo>
                              <a:lnTo>
                                <a:pt x="24" y="326"/>
                              </a:lnTo>
                              <a:lnTo>
                                <a:pt x="36" y="303"/>
                              </a:lnTo>
                              <a:lnTo>
                                <a:pt x="56" y="283"/>
                              </a:lnTo>
                              <a:lnTo>
                                <a:pt x="111" y="259"/>
                              </a:lnTo>
                              <a:lnTo>
                                <a:pt x="123" y="259"/>
                              </a:lnTo>
                              <a:lnTo>
                                <a:pt x="135" y="215"/>
                              </a:lnTo>
                              <a:lnTo>
                                <a:pt x="147" y="147"/>
                              </a:lnTo>
                              <a:lnTo>
                                <a:pt x="123" y="124"/>
                              </a:lnTo>
                              <a:lnTo>
                                <a:pt x="111" y="80"/>
                              </a:lnTo>
                              <a:lnTo>
                                <a:pt x="123" y="68"/>
                              </a:lnTo>
                              <a:lnTo>
                                <a:pt x="147" y="68"/>
                              </a:lnTo>
                              <a:lnTo>
                                <a:pt x="147" y="56"/>
                              </a:lnTo>
                              <a:lnTo>
                                <a:pt x="123" y="44"/>
                              </a:lnTo>
                              <a:lnTo>
                                <a:pt x="123" y="32"/>
                              </a:lnTo>
                              <a:lnTo>
                                <a:pt x="179" y="20"/>
                              </a:lnTo>
                              <a:lnTo>
                                <a:pt x="215" y="20"/>
                              </a:lnTo>
                              <a:lnTo>
                                <a:pt x="227" y="32"/>
                              </a:lnTo>
                              <a:lnTo>
                                <a:pt x="239" y="56"/>
                              </a:lnTo>
                              <a:lnTo>
                                <a:pt x="259" y="68"/>
                              </a:lnTo>
                              <a:lnTo>
                                <a:pt x="306" y="56"/>
                              </a:lnTo>
                              <a:lnTo>
                                <a:pt x="326" y="32"/>
                              </a:lnTo>
                              <a:lnTo>
                                <a:pt x="362" y="12"/>
                              </a:lnTo>
                              <a:lnTo>
                                <a:pt x="362" y="0"/>
                              </a:lnTo>
                              <a:close/>
                            </a:path>
                          </a:pathLst>
                        </a:custGeom>
                        <a:solidFill>
                          <a:srgbClr val="FFFFFF"/>
                        </a:solidFill>
                        <a:ln w="9360">
                          <a:solidFill>
                            <a:srgbClr val="969696"/>
                          </a:solidFill>
                          <a:round/>
                          <a:headEnd/>
                          <a:tailEnd/>
                        </a:ln>
                      </p:spPr>
                      <p:txBody>
                        <a:bodyPr wrap="none" anchor="ctr"/>
                        <a:lstStyle/>
                        <a:p>
                          <a:endParaRPr lang="pt-BR"/>
                        </a:p>
                      </p:txBody>
                    </p:sp>
                    <p:sp>
                      <p:nvSpPr>
                        <p:cNvPr id="227" name="Freeform 28"/>
                        <p:cNvSpPr>
                          <a:spLocks noChangeArrowheads="1"/>
                        </p:cNvSpPr>
                        <p:nvPr/>
                      </p:nvSpPr>
                      <p:spPr bwMode="auto">
                        <a:xfrm>
                          <a:off x="7333779" y="1343271"/>
                          <a:ext cx="190899" cy="132326"/>
                        </a:xfrm>
                        <a:custGeom>
                          <a:avLst/>
                          <a:gdLst>
                            <a:gd name="T0" fmla="*/ 2147483647 w 100"/>
                            <a:gd name="T1" fmla="*/ 2147483647 h 68"/>
                            <a:gd name="T2" fmla="*/ 2147483647 w 100"/>
                            <a:gd name="T3" fmla="*/ 2147483647 h 68"/>
                            <a:gd name="T4" fmla="*/ 2147483647 w 100"/>
                            <a:gd name="T5" fmla="*/ 2147483647 h 68"/>
                            <a:gd name="T6" fmla="*/ 2147483647 w 100"/>
                            <a:gd name="T7" fmla="*/ 2147483647 h 68"/>
                            <a:gd name="T8" fmla="*/ 2147483647 w 100"/>
                            <a:gd name="T9" fmla="*/ 2147483647 h 68"/>
                            <a:gd name="T10" fmla="*/ 0 w 100"/>
                            <a:gd name="T11" fmla="*/ 2147483647 h 68"/>
                            <a:gd name="T12" fmla="*/ 2147483647 w 100"/>
                            <a:gd name="T13" fmla="*/ 2147483647 h 68"/>
                            <a:gd name="T14" fmla="*/ 2147483647 w 100"/>
                            <a:gd name="T15" fmla="*/ 0 h 68"/>
                            <a:gd name="T16" fmla="*/ 2147483647 w 100"/>
                            <a:gd name="T17" fmla="*/ 0 h 68"/>
                            <a:gd name="T18" fmla="*/ 2147483647 w 100"/>
                            <a:gd name="T19" fmla="*/ 2147483647 h 68"/>
                            <a:gd name="T20" fmla="*/ 2147483647 w 100"/>
                            <a:gd name="T21" fmla="*/ 0 h 68"/>
                            <a:gd name="T22" fmla="*/ 2147483647 w 100"/>
                            <a:gd name="T23" fmla="*/ 2147483647 h 6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0"/>
                            <a:gd name="T37" fmla="*/ 0 h 68"/>
                            <a:gd name="T38" fmla="*/ 100 w 100"/>
                            <a:gd name="T39" fmla="*/ 68 h 6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0" h="68">
                              <a:moveTo>
                                <a:pt x="100" y="12"/>
                              </a:moveTo>
                              <a:lnTo>
                                <a:pt x="92" y="36"/>
                              </a:lnTo>
                              <a:lnTo>
                                <a:pt x="68" y="56"/>
                              </a:lnTo>
                              <a:lnTo>
                                <a:pt x="44" y="68"/>
                              </a:lnTo>
                              <a:lnTo>
                                <a:pt x="24" y="56"/>
                              </a:lnTo>
                              <a:lnTo>
                                <a:pt x="0" y="48"/>
                              </a:lnTo>
                              <a:lnTo>
                                <a:pt x="12" y="12"/>
                              </a:lnTo>
                              <a:lnTo>
                                <a:pt x="32" y="0"/>
                              </a:lnTo>
                              <a:lnTo>
                                <a:pt x="44" y="0"/>
                              </a:lnTo>
                              <a:lnTo>
                                <a:pt x="68" y="12"/>
                              </a:lnTo>
                              <a:lnTo>
                                <a:pt x="92" y="0"/>
                              </a:lnTo>
                              <a:lnTo>
                                <a:pt x="100" y="12"/>
                              </a:lnTo>
                              <a:close/>
                            </a:path>
                          </a:pathLst>
                        </a:custGeom>
                        <a:solidFill>
                          <a:srgbClr val="FFFFFF"/>
                        </a:solidFill>
                        <a:ln w="9360">
                          <a:solidFill>
                            <a:srgbClr val="969696"/>
                          </a:solidFill>
                          <a:round/>
                          <a:headEnd/>
                          <a:tailEnd/>
                        </a:ln>
                      </p:spPr>
                      <p:txBody>
                        <a:bodyPr wrap="none" anchor="ctr"/>
                        <a:lstStyle/>
                        <a:p>
                          <a:endParaRPr lang="pt-BR"/>
                        </a:p>
                      </p:txBody>
                    </p:sp>
                    <p:sp>
                      <p:nvSpPr>
                        <p:cNvPr id="228" name="Freeform 29"/>
                        <p:cNvSpPr>
                          <a:spLocks noChangeArrowheads="1"/>
                        </p:cNvSpPr>
                        <p:nvPr/>
                      </p:nvSpPr>
                      <p:spPr bwMode="auto">
                        <a:xfrm>
                          <a:off x="7380092" y="1305798"/>
                          <a:ext cx="60998" cy="15223"/>
                        </a:xfrm>
                        <a:custGeom>
                          <a:avLst/>
                          <a:gdLst>
                            <a:gd name="T0" fmla="*/ 0 w 32"/>
                            <a:gd name="T1" fmla="*/ 2147483647 h 8"/>
                            <a:gd name="T2" fmla="*/ 2147483647 w 32"/>
                            <a:gd name="T3" fmla="*/ 0 h 8"/>
                            <a:gd name="T4" fmla="*/ 2147483647 w 32"/>
                            <a:gd name="T5" fmla="*/ 0 h 8"/>
                            <a:gd name="T6" fmla="*/ 2147483647 w 32"/>
                            <a:gd name="T7" fmla="*/ 2147483647 h 8"/>
                            <a:gd name="T8" fmla="*/ 0 w 32"/>
                            <a:gd name="T9" fmla="*/ 2147483647 h 8"/>
                            <a:gd name="T10" fmla="*/ 0 60000 65536"/>
                            <a:gd name="T11" fmla="*/ 0 60000 65536"/>
                            <a:gd name="T12" fmla="*/ 0 60000 65536"/>
                            <a:gd name="T13" fmla="*/ 0 60000 65536"/>
                            <a:gd name="T14" fmla="*/ 0 60000 65536"/>
                            <a:gd name="T15" fmla="*/ 0 w 32"/>
                            <a:gd name="T16" fmla="*/ 0 h 8"/>
                            <a:gd name="T17" fmla="*/ 32 w 32"/>
                            <a:gd name="T18" fmla="*/ 8 h 8"/>
                          </a:gdLst>
                          <a:ahLst/>
                          <a:cxnLst>
                            <a:cxn ang="T10">
                              <a:pos x="T0" y="T1"/>
                            </a:cxn>
                            <a:cxn ang="T11">
                              <a:pos x="T2" y="T3"/>
                            </a:cxn>
                            <a:cxn ang="T12">
                              <a:pos x="T4" y="T5"/>
                            </a:cxn>
                            <a:cxn ang="T13">
                              <a:pos x="T6" y="T7"/>
                            </a:cxn>
                            <a:cxn ang="T14">
                              <a:pos x="T8" y="T9"/>
                            </a:cxn>
                          </a:cxnLst>
                          <a:rect l="T15" t="T16" r="T17" b="T18"/>
                          <a:pathLst>
                            <a:path w="32" h="8">
                              <a:moveTo>
                                <a:pt x="0" y="8"/>
                              </a:moveTo>
                              <a:lnTo>
                                <a:pt x="8" y="0"/>
                              </a:lnTo>
                              <a:lnTo>
                                <a:pt x="20" y="0"/>
                              </a:lnTo>
                              <a:lnTo>
                                <a:pt x="32" y="8"/>
                              </a:lnTo>
                              <a:lnTo>
                                <a:pt x="0" y="8"/>
                              </a:lnTo>
                              <a:close/>
                            </a:path>
                          </a:pathLst>
                        </a:custGeom>
                        <a:solidFill>
                          <a:srgbClr val="FFFFFF"/>
                        </a:solidFill>
                        <a:ln w="9360">
                          <a:solidFill>
                            <a:srgbClr val="969696"/>
                          </a:solidFill>
                          <a:round/>
                          <a:headEnd/>
                          <a:tailEnd/>
                        </a:ln>
                      </p:spPr>
                      <p:txBody>
                        <a:bodyPr wrap="none" anchor="ctr"/>
                        <a:lstStyle/>
                        <a:p>
                          <a:endParaRPr lang="pt-BR"/>
                        </a:p>
                      </p:txBody>
                    </p:sp>
                    <p:pic>
                      <p:nvPicPr>
                        <p:cNvPr id="229" name="Picture 33"/>
                        <p:cNvPicPr>
                          <a:picLocks noChangeAspect="1" noChangeArrowheads="1"/>
                        </p:cNvPicPr>
                        <p:nvPr/>
                      </p:nvPicPr>
                      <p:blipFill>
                        <a:blip r:embed="rId4" cstate="print"/>
                        <a:srcRect/>
                        <a:stretch>
                          <a:fillRect/>
                        </a:stretch>
                      </p:blipFill>
                      <p:spPr bwMode="auto">
                        <a:xfrm>
                          <a:off x="6518220" y="1933469"/>
                          <a:ext cx="75682" cy="86656"/>
                        </a:xfrm>
                        <a:prstGeom prst="rect">
                          <a:avLst/>
                        </a:prstGeom>
                        <a:noFill/>
                        <a:ln w="9525">
                          <a:noFill/>
                          <a:round/>
                          <a:headEnd/>
                          <a:tailEnd/>
                        </a:ln>
                      </p:spPr>
                    </p:pic>
                    <p:pic>
                      <p:nvPicPr>
                        <p:cNvPr id="230" name="Picture 35"/>
                        <p:cNvPicPr>
                          <a:picLocks noChangeAspect="1" noChangeArrowheads="1"/>
                        </p:cNvPicPr>
                        <p:nvPr/>
                      </p:nvPicPr>
                      <p:blipFill>
                        <a:blip r:embed="rId5" cstate="print"/>
                        <a:srcRect/>
                        <a:stretch>
                          <a:fillRect/>
                        </a:stretch>
                      </p:blipFill>
                      <p:spPr bwMode="auto">
                        <a:xfrm>
                          <a:off x="6625531" y="1179327"/>
                          <a:ext cx="74552" cy="86656"/>
                        </a:xfrm>
                        <a:prstGeom prst="rect">
                          <a:avLst/>
                        </a:prstGeom>
                        <a:noFill/>
                        <a:ln w="9525">
                          <a:noFill/>
                          <a:round/>
                          <a:headEnd/>
                          <a:tailEnd/>
                        </a:ln>
                      </p:spPr>
                    </p:pic>
                    <p:pic>
                      <p:nvPicPr>
                        <p:cNvPr id="231" name="Picture 36"/>
                        <p:cNvPicPr>
                          <a:picLocks noChangeAspect="1" noChangeArrowheads="1"/>
                        </p:cNvPicPr>
                        <p:nvPr/>
                      </p:nvPicPr>
                      <p:blipFill>
                        <a:blip r:embed="rId6" cstate="print"/>
                        <a:srcRect/>
                        <a:stretch>
                          <a:fillRect/>
                        </a:stretch>
                      </p:blipFill>
                      <p:spPr bwMode="auto">
                        <a:xfrm>
                          <a:off x="7208395" y="1228510"/>
                          <a:ext cx="77942" cy="87827"/>
                        </a:xfrm>
                        <a:prstGeom prst="rect">
                          <a:avLst/>
                        </a:prstGeom>
                        <a:noFill/>
                        <a:ln w="9525">
                          <a:noFill/>
                          <a:round/>
                          <a:headEnd/>
                          <a:tailEnd/>
                        </a:ln>
                      </p:spPr>
                    </p:pic>
                    <p:sp>
                      <p:nvSpPr>
                        <p:cNvPr id="232" name="Freeform 59"/>
                        <p:cNvSpPr>
                          <a:spLocks noChangeArrowheads="1"/>
                        </p:cNvSpPr>
                        <p:nvPr/>
                      </p:nvSpPr>
                      <p:spPr bwMode="auto">
                        <a:xfrm>
                          <a:off x="7586805" y="2414763"/>
                          <a:ext cx="242861" cy="237720"/>
                        </a:xfrm>
                        <a:custGeom>
                          <a:avLst/>
                          <a:gdLst>
                            <a:gd name="T0" fmla="*/ 2147483647 w 157"/>
                            <a:gd name="T1" fmla="*/ 2147483647 h 150"/>
                            <a:gd name="T2" fmla="*/ 2147483647 w 157"/>
                            <a:gd name="T3" fmla="*/ 2147483647 h 150"/>
                            <a:gd name="T4" fmla="*/ 0 w 157"/>
                            <a:gd name="T5" fmla="*/ 0 h 150"/>
                            <a:gd name="T6" fmla="*/ 0 60000 65536"/>
                            <a:gd name="T7" fmla="*/ 0 60000 65536"/>
                            <a:gd name="T8" fmla="*/ 0 60000 65536"/>
                            <a:gd name="T9" fmla="*/ 0 w 157"/>
                            <a:gd name="T10" fmla="*/ 0 h 150"/>
                            <a:gd name="T11" fmla="*/ 157 w 157"/>
                            <a:gd name="T12" fmla="*/ 150 h 150"/>
                          </a:gdLst>
                          <a:ahLst/>
                          <a:cxnLst>
                            <a:cxn ang="T6">
                              <a:pos x="T0" y="T1"/>
                            </a:cxn>
                            <a:cxn ang="T7">
                              <a:pos x="T2" y="T3"/>
                            </a:cxn>
                            <a:cxn ang="T8">
                              <a:pos x="T4" y="T5"/>
                            </a:cxn>
                          </a:cxnLst>
                          <a:rect l="T9" t="T10" r="T11" b="T12"/>
                          <a:pathLst>
                            <a:path w="157" h="150">
                              <a:moveTo>
                                <a:pt x="123" y="150"/>
                              </a:moveTo>
                              <a:cubicBezTo>
                                <a:pt x="132" y="136"/>
                                <a:pt x="157" y="89"/>
                                <a:pt x="136" y="64"/>
                              </a:cubicBezTo>
                              <a:cubicBezTo>
                                <a:pt x="115" y="39"/>
                                <a:pt x="37" y="13"/>
                                <a:pt x="0" y="0"/>
                              </a:cubicBezTo>
                            </a:path>
                          </a:pathLst>
                        </a:custGeom>
                        <a:noFill/>
                        <a:ln w="28575">
                          <a:solidFill>
                            <a:srgbClr val="0070C0"/>
                          </a:solidFill>
                          <a:round/>
                          <a:headEnd/>
                          <a:tailEnd/>
                        </a:ln>
                      </p:spPr>
                      <p:txBody>
                        <a:bodyPr wrap="none" anchor="ctr"/>
                        <a:lstStyle/>
                        <a:p>
                          <a:endParaRPr lang="pt-BR"/>
                        </a:p>
                      </p:txBody>
                    </p:sp>
                    <p:sp>
                      <p:nvSpPr>
                        <p:cNvPr id="233" name="Freeform 60"/>
                        <p:cNvSpPr>
                          <a:spLocks noChangeArrowheads="1"/>
                        </p:cNvSpPr>
                        <p:nvPr/>
                      </p:nvSpPr>
                      <p:spPr bwMode="auto">
                        <a:xfrm>
                          <a:off x="7524678" y="3021355"/>
                          <a:ext cx="181864" cy="124128"/>
                        </a:xfrm>
                        <a:custGeom>
                          <a:avLst/>
                          <a:gdLst>
                            <a:gd name="T0" fmla="*/ 2147483647 w 193"/>
                            <a:gd name="T1" fmla="*/ 0 h 138"/>
                            <a:gd name="T2" fmla="*/ 0 w 193"/>
                            <a:gd name="T3" fmla="*/ 2147483647 h 138"/>
                            <a:gd name="T4" fmla="*/ 0 60000 65536"/>
                            <a:gd name="T5" fmla="*/ 0 60000 65536"/>
                            <a:gd name="T6" fmla="*/ 0 w 193"/>
                            <a:gd name="T7" fmla="*/ 0 h 138"/>
                            <a:gd name="T8" fmla="*/ 193 w 193"/>
                            <a:gd name="T9" fmla="*/ 138 h 138"/>
                          </a:gdLst>
                          <a:ahLst/>
                          <a:cxnLst>
                            <a:cxn ang="T4">
                              <a:pos x="T0" y="T1"/>
                            </a:cxn>
                            <a:cxn ang="T5">
                              <a:pos x="T2" y="T3"/>
                            </a:cxn>
                          </a:cxnLst>
                          <a:rect l="T6" t="T7" r="T8" b="T9"/>
                          <a:pathLst>
                            <a:path w="193" h="138">
                              <a:moveTo>
                                <a:pt x="193" y="0"/>
                              </a:moveTo>
                              <a:lnTo>
                                <a:pt x="0" y="138"/>
                              </a:lnTo>
                            </a:path>
                          </a:pathLst>
                        </a:custGeom>
                        <a:noFill/>
                        <a:ln w="28575">
                          <a:solidFill>
                            <a:srgbClr val="0070C0"/>
                          </a:solidFill>
                          <a:round/>
                          <a:headEnd/>
                          <a:tailEnd/>
                        </a:ln>
                      </p:spPr>
                      <p:txBody>
                        <a:bodyPr wrap="none" anchor="ctr"/>
                        <a:lstStyle/>
                        <a:p>
                          <a:endParaRPr lang="pt-BR"/>
                        </a:p>
                      </p:txBody>
                    </p:sp>
                    <p:sp>
                      <p:nvSpPr>
                        <p:cNvPr id="234" name="Freeform 61"/>
                        <p:cNvSpPr>
                          <a:spLocks noChangeArrowheads="1"/>
                        </p:cNvSpPr>
                        <p:nvPr/>
                      </p:nvSpPr>
                      <p:spPr bwMode="auto">
                        <a:xfrm>
                          <a:off x="7502086" y="3151339"/>
                          <a:ext cx="14685" cy="221324"/>
                        </a:xfrm>
                        <a:custGeom>
                          <a:avLst/>
                          <a:gdLst>
                            <a:gd name="T0" fmla="*/ 2147483647 w 16"/>
                            <a:gd name="T1" fmla="*/ 0 h 247"/>
                            <a:gd name="T2" fmla="*/ 2147483647 w 16"/>
                            <a:gd name="T3" fmla="*/ 2147483647 h 247"/>
                            <a:gd name="T4" fmla="*/ 0 w 16"/>
                            <a:gd name="T5" fmla="*/ 2147483647 h 247"/>
                            <a:gd name="T6" fmla="*/ 0 60000 65536"/>
                            <a:gd name="T7" fmla="*/ 0 60000 65536"/>
                            <a:gd name="T8" fmla="*/ 0 60000 65536"/>
                            <a:gd name="T9" fmla="*/ 0 w 16"/>
                            <a:gd name="T10" fmla="*/ 0 h 247"/>
                            <a:gd name="T11" fmla="*/ 16 w 16"/>
                            <a:gd name="T12" fmla="*/ 247 h 247"/>
                          </a:gdLst>
                          <a:ahLst/>
                          <a:cxnLst>
                            <a:cxn ang="T6">
                              <a:pos x="T0" y="T1"/>
                            </a:cxn>
                            <a:cxn ang="T7">
                              <a:pos x="T2" y="T3"/>
                            </a:cxn>
                            <a:cxn ang="T8">
                              <a:pos x="T4" y="T5"/>
                            </a:cxn>
                          </a:cxnLst>
                          <a:rect l="T9" t="T10" r="T11" b="T12"/>
                          <a:pathLst>
                            <a:path w="16" h="247">
                              <a:moveTo>
                                <a:pt x="6" y="0"/>
                              </a:moveTo>
                              <a:cubicBezTo>
                                <a:pt x="5" y="43"/>
                                <a:pt x="16" y="77"/>
                                <a:pt x="15" y="120"/>
                              </a:cubicBezTo>
                              <a:cubicBezTo>
                                <a:pt x="10" y="162"/>
                                <a:pt x="5" y="205"/>
                                <a:pt x="0" y="247"/>
                              </a:cubicBezTo>
                            </a:path>
                          </a:pathLst>
                        </a:custGeom>
                        <a:noFill/>
                        <a:ln w="28575">
                          <a:solidFill>
                            <a:srgbClr val="0070C0"/>
                          </a:solidFill>
                          <a:round/>
                          <a:headEnd/>
                          <a:tailEnd/>
                        </a:ln>
                      </p:spPr>
                      <p:txBody>
                        <a:bodyPr wrap="none" anchor="ctr"/>
                        <a:lstStyle/>
                        <a:p>
                          <a:endParaRPr lang="pt-BR"/>
                        </a:p>
                      </p:txBody>
                    </p:sp>
                    <p:sp>
                      <p:nvSpPr>
                        <p:cNvPr id="235" name="Freeform 62"/>
                        <p:cNvSpPr>
                          <a:spLocks noChangeArrowheads="1"/>
                        </p:cNvSpPr>
                        <p:nvPr/>
                      </p:nvSpPr>
                      <p:spPr bwMode="auto">
                        <a:xfrm>
                          <a:off x="7386869" y="3367978"/>
                          <a:ext cx="116348" cy="94853"/>
                        </a:xfrm>
                        <a:custGeom>
                          <a:avLst/>
                          <a:gdLst>
                            <a:gd name="T0" fmla="*/ 2147483647 w 65"/>
                            <a:gd name="T1" fmla="*/ 0 h 60"/>
                            <a:gd name="T2" fmla="*/ 2147483647 w 65"/>
                            <a:gd name="T3" fmla="*/ 2147483647 h 60"/>
                            <a:gd name="T4" fmla="*/ 0 w 65"/>
                            <a:gd name="T5" fmla="*/ 2147483647 h 60"/>
                            <a:gd name="T6" fmla="*/ 0 60000 65536"/>
                            <a:gd name="T7" fmla="*/ 0 60000 65536"/>
                            <a:gd name="T8" fmla="*/ 0 60000 65536"/>
                            <a:gd name="T9" fmla="*/ 0 w 65"/>
                            <a:gd name="T10" fmla="*/ 0 h 60"/>
                            <a:gd name="T11" fmla="*/ 65 w 65"/>
                            <a:gd name="T12" fmla="*/ 60 h 60"/>
                          </a:gdLst>
                          <a:ahLst/>
                          <a:cxnLst>
                            <a:cxn ang="T6">
                              <a:pos x="T0" y="T1"/>
                            </a:cxn>
                            <a:cxn ang="T7">
                              <a:pos x="T2" y="T3"/>
                            </a:cxn>
                            <a:cxn ang="T8">
                              <a:pos x="T4" y="T5"/>
                            </a:cxn>
                          </a:cxnLst>
                          <a:rect l="T9" t="T10" r="T11" b="T12"/>
                          <a:pathLst>
                            <a:path w="65" h="60">
                              <a:moveTo>
                                <a:pt x="65" y="0"/>
                              </a:moveTo>
                              <a:cubicBezTo>
                                <a:pt x="61" y="5"/>
                                <a:pt x="51" y="21"/>
                                <a:pt x="40" y="31"/>
                              </a:cubicBezTo>
                              <a:cubicBezTo>
                                <a:pt x="29" y="41"/>
                                <a:pt x="8" y="54"/>
                                <a:pt x="0" y="60"/>
                              </a:cubicBezTo>
                            </a:path>
                          </a:pathLst>
                        </a:custGeom>
                        <a:noFill/>
                        <a:ln w="28575">
                          <a:solidFill>
                            <a:srgbClr val="0070C0"/>
                          </a:solidFill>
                          <a:round/>
                          <a:headEnd/>
                          <a:tailEnd/>
                        </a:ln>
                      </p:spPr>
                      <p:txBody>
                        <a:bodyPr wrap="none" anchor="ctr"/>
                        <a:lstStyle/>
                        <a:p>
                          <a:endParaRPr lang="pt-BR"/>
                        </a:p>
                      </p:txBody>
                    </p:sp>
                    <p:sp>
                      <p:nvSpPr>
                        <p:cNvPr id="236" name="Freeform 101"/>
                        <p:cNvSpPr>
                          <a:spLocks noChangeArrowheads="1"/>
                        </p:cNvSpPr>
                        <p:nvPr/>
                      </p:nvSpPr>
                      <p:spPr bwMode="auto">
                        <a:xfrm>
                          <a:off x="7591323" y="2652481"/>
                          <a:ext cx="181862" cy="63235"/>
                        </a:xfrm>
                        <a:custGeom>
                          <a:avLst/>
                          <a:gdLst>
                            <a:gd name="T0" fmla="*/ 2147483647 w 117"/>
                            <a:gd name="T1" fmla="*/ 2147483647 h 39"/>
                            <a:gd name="T2" fmla="*/ 2147483647 w 117"/>
                            <a:gd name="T3" fmla="*/ 2147483647 h 39"/>
                            <a:gd name="T4" fmla="*/ 0 w 117"/>
                            <a:gd name="T5" fmla="*/ 2147483647 h 39"/>
                            <a:gd name="T6" fmla="*/ 0 60000 65536"/>
                            <a:gd name="T7" fmla="*/ 0 60000 65536"/>
                            <a:gd name="T8" fmla="*/ 0 60000 65536"/>
                            <a:gd name="T9" fmla="*/ 0 w 117"/>
                            <a:gd name="T10" fmla="*/ 0 h 39"/>
                            <a:gd name="T11" fmla="*/ 117 w 117"/>
                            <a:gd name="T12" fmla="*/ 39 h 39"/>
                          </a:gdLst>
                          <a:ahLst/>
                          <a:cxnLst>
                            <a:cxn ang="T6">
                              <a:pos x="T0" y="T1"/>
                            </a:cxn>
                            <a:cxn ang="T7">
                              <a:pos x="T2" y="T3"/>
                            </a:cxn>
                            <a:cxn ang="T8">
                              <a:pos x="T4" y="T5"/>
                            </a:cxn>
                          </a:cxnLst>
                          <a:rect l="T9" t="T10" r="T11" b="T12"/>
                          <a:pathLst>
                            <a:path w="117" h="39">
                              <a:moveTo>
                                <a:pt x="117" y="7"/>
                              </a:moveTo>
                              <a:cubicBezTo>
                                <a:pt x="99" y="4"/>
                                <a:pt x="85" y="0"/>
                                <a:pt x="66" y="5"/>
                              </a:cubicBezTo>
                              <a:cubicBezTo>
                                <a:pt x="47" y="10"/>
                                <a:pt x="14" y="32"/>
                                <a:pt x="0" y="39"/>
                              </a:cubicBezTo>
                            </a:path>
                          </a:pathLst>
                        </a:custGeom>
                        <a:noFill/>
                        <a:ln w="28575">
                          <a:solidFill>
                            <a:srgbClr val="0070C0"/>
                          </a:solidFill>
                          <a:round/>
                          <a:headEnd/>
                          <a:tailEnd/>
                        </a:ln>
                      </p:spPr>
                      <p:txBody>
                        <a:bodyPr wrap="none" anchor="ctr"/>
                        <a:lstStyle/>
                        <a:p>
                          <a:endParaRPr lang="pt-BR"/>
                        </a:p>
                      </p:txBody>
                    </p:sp>
                    <p:sp>
                      <p:nvSpPr>
                        <p:cNvPr id="237" name="Freeform 105"/>
                        <p:cNvSpPr>
                          <a:spLocks noChangeArrowheads="1"/>
                        </p:cNvSpPr>
                        <p:nvPr/>
                      </p:nvSpPr>
                      <p:spPr bwMode="auto">
                        <a:xfrm>
                          <a:off x="7509993" y="2528351"/>
                          <a:ext cx="67775" cy="48012"/>
                        </a:xfrm>
                        <a:custGeom>
                          <a:avLst/>
                          <a:gdLst>
                            <a:gd name="T0" fmla="*/ 2147483647 w 64"/>
                            <a:gd name="T1" fmla="*/ 2147483647 h 12"/>
                            <a:gd name="T2" fmla="*/ 0 w 64"/>
                            <a:gd name="T3" fmla="*/ 0 h 12"/>
                            <a:gd name="T4" fmla="*/ 0 60000 65536"/>
                            <a:gd name="T5" fmla="*/ 0 60000 65536"/>
                            <a:gd name="T6" fmla="*/ 0 w 64"/>
                            <a:gd name="T7" fmla="*/ 0 h 12"/>
                            <a:gd name="T8" fmla="*/ 64 w 64"/>
                            <a:gd name="T9" fmla="*/ 12 h 12"/>
                          </a:gdLst>
                          <a:ahLst/>
                          <a:cxnLst>
                            <a:cxn ang="T4">
                              <a:pos x="T0" y="T1"/>
                            </a:cxn>
                            <a:cxn ang="T5">
                              <a:pos x="T2" y="T3"/>
                            </a:cxn>
                          </a:cxnLst>
                          <a:rect l="T6" t="T7" r="T8" b="T9"/>
                          <a:pathLst>
                            <a:path w="64" h="12">
                              <a:moveTo>
                                <a:pt x="64" y="12"/>
                              </a:moveTo>
                              <a:cubicBezTo>
                                <a:pt x="53" y="10"/>
                                <a:pt x="13" y="2"/>
                                <a:pt x="0" y="0"/>
                              </a:cubicBezTo>
                            </a:path>
                          </a:pathLst>
                        </a:custGeom>
                        <a:noFill/>
                        <a:ln w="28575">
                          <a:solidFill>
                            <a:srgbClr val="0070C0"/>
                          </a:solidFill>
                          <a:round/>
                          <a:headEnd/>
                          <a:tailEnd/>
                        </a:ln>
                      </p:spPr>
                      <p:txBody>
                        <a:bodyPr wrap="none" anchor="ctr"/>
                        <a:lstStyle/>
                        <a:p>
                          <a:endParaRPr lang="pt-BR"/>
                        </a:p>
                      </p:txBody>
                    </p:sp>
                    <p:sp>
                      <p:nvSpPr>
                        <p:cNvPr id="238" name="Freeform 106"/>
                        <p:cNvSpPr>
                          <a:spLocks noChangeArrowheads="1"/>
                        </p:cNvSpPr>
                        <p:nvPr/>
                      </p:nvSpPr>
                      <p:spPr bwMode="auto">
                        <a:xfrm>
                          <a:off x="7791260" y="2244963"/>
                          <a:ext cx="452963" cy="412203"/>
                        </a:xfrm>
                        <a:custGeom>
                          <a:avLst/>
                          <a:gdLst>
                            <a:gd name="T0" fmla="*/ 0 w 292"/>
                            <a:gd name="T1" fmla="*/ 2147483647 h 262"/>
                            <a:gd name="T2" fmla="*/ 2147483647 w 292"/>
                            <a:gd name="T3" fmla="*/ 2147483647 h 262"/>
                            <a:gd name="T4" fmla="*/ 2147483647 w 292"/>
                            <a:gd name="T5" fmla="*/ 2147483647 h 262"/>
                            <a:gd name="T6" fmla="*/ 2147483647 w 292"/>
                            <a:gd name="T7" fmla="*/ 2147483647 h 262"/>
                            <a:gd name="T8" fmla="*/ 2147483647 w 292"/>
                            <a:gd name="T9" fmla="*/ 2147483647 h 262"/>
                            <a:gd name="T10" fmla="*/ 2147483647 w 292"/>
                            <a:gd name="T11" fmla="*/ 0 h 262"/>
                            <a:gd name="T12" fmla="*/ 0 60000 65536"/>
                            <a:gd name="T13" fmla="*/ 0 60000 65536"/>
                            <a:gd name="T14" fmla="*/ 0 60000 65536"/>
                            <a:gd name="T15" fmla="*/ 0 60000 65536"/>
                            <a:gd name="T16" fmla="*/ 0 60000 65536"/>
                            <a:gd name="T17" fmla="*/ 0 60000 65536"/>
                            <a:gd name="T18" fmla="*/ 0 w 292"/>
                            <a:gd name="T19" fmla="*/ 0 h 262"/>
                            <a:gd name="T20" fmla="*/ 292 w 292"/>
                            <a:gd name="T21" fmla="*/ 262 h 262"/>
                          </a:gdLst>
                          <a:ahLst/>
                          <a:cxnLst>
                            <a:cxn ang="T12">
                              <a:pos x="T0" y="T1"/>
                            </a:cxn>
                            <a:cxn ang="T13">
                              <a:pos x="T2" y="T3"/>
                            </a:cxn>
                            <a:cxn ang="T14">
                              <a:pos x="T4" y="T5"/>
                            </a:cxn>
                            <a:cxn ang="T15">
                              <a:pos x="T6" y="T7"/>
                            </a:cxn>
                            <a:cxn ang="T16">
                              <a:pos x="T8" y="T9"/>
                            </a:cxn>
                            <a:cxn ang="T17">
                              <a:pos x="T10" y="T11"/>
                            </a:cxn>
                          </a:cxnLst>
                          <a:rect l="T18" t="T19" r="T20" b="T21"/>
                          <a:pathLst>
                            <a:path w="292" h="262">
                              <a:moveTo>
                                <a:pt x="0" y="262"/>
                              </a:moveTo>
                              <a:cubicBezTo>
                                <a:pt x="12" y="247"/>
                                <a:pt x="55" y="198"/>
                                <a:pt x="70" y="174"/>
                              </a:cubicBezTo>
                              <a:cubicBezTo>
                                <a:pt x="85" y="150"/>
                                <a:pt x="70" y="134"/>
                                <a:pt x="88" y="118"/>
                              </a:cubicBezTo>
                              <a:cubicBezTo>
                                <a:pt x="106" y="102"/>
                                <a:pt x="160" y="93"/>
                                <a:pt x="178" y="80"/>
                              </a:cubicBezTo>
                              <a:cubicBezTo>
                                <a:pt x="196" y="67"/>
                                <a:pt x="179" y="51"/>
                                <a:pt x="198" y="38"/>
                              </a:cubicBezTo>
                              <a:cubicBezTo>
                                <a:pt x="217" y="25"/>
                                <a:pt x="272" y="8"/>
                                <a:pt x="292" y="0"/>
                              </a:cubicBezTo>
                            </a:path>
                          </a:pathLst>
                        </a:custGeom>
                        <a:noFill/>
                        <a:ln w="28575">
                          <a:solidFill>
                            <a:srgbClr val="0070C0"/>
                          </a:solidFill>
                          <a:round/>
                          <a:headEnd/>
                          <a:tailEnd/>
                        </a:ln>
                      </p:spPr>
                      <p:txBody>
                        <a:bodyPr wrap="none" anchor="ctr"/>
                        <a:lstStyle/>
                        <a:p>
                          <a:endParaRPr lang="pt-BR"/>
                        </a:p>
                      </p:txBody>
                    </p:sp>
                    <p:sp>
                      <p:nvSpPr>
                        <p:cNvPr id="239" name="Text Box 112"/>
                        <p:cNvSpPr txBox="1">
                          <a:spLocks noChangeArrowheads="1"/>
                        </p:cNvSpPr>
                        <p:nvPr/>
                      </p:nvSpPr>
                      <p:spPr bwMode="auto">
                        <a:xfrm>
                          <a:off x="6337487" y="1692238"/>
                          <a:ext cx="242345" cy="72639"/>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dirty="0">
                              <a:solidFill>
                                <a:srgbClr val="000000"/>
                              </a:solidFill>
                              <a:latin typeface="Calibri" pitchFamily="34" charset="0"/>
                            </a:rPr>
                            <a:t>Manaus</a:t>
                          </a:r>
                        </a:p>
                      </p:txBody>
                    </p:sp>
                    <p:sp>
                      <p:nvSpPr>
                        <p:cNvPr id="240" name="Text Box 113"/>
                        <p:cNvSpPr txBox="1">
                          <a:spLocks noChangeArrowheads="1"/>
                        </p:cNvSpPr>
                        <p:nvPr/>
                      </p:nvSpPr>
                      <p:spPr bwMode="auto">
                        <a:xfrm>
                          <a:off x="6790306" y="2271529"/>
                          <a:ext cx="206294" cy="72639"/>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Cuiabá</a:t>
                          </a:r>
                        </a:p>
                      </p:txBody>
                    </p:sp>
                    <p:sp>
                      <p:nvSpPr>
                        <p:cNvPr id="241" name="Text Box 115"/>
                        <p:cNvSpPr txBox="1">
                          <a:spLocks noChangeArrowheads="1"/>
                        </p:cNvSpPr>
                        <p:nvPr/>
                      </p:nvSpPr>
                      <p:spPr bwMode="auto">
                        <a:xfrm>
                          <a:off x="7506711" y="3338703"/>
                          <a:ext cx="424723" cy="80801"/>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Florianópolis</a:t>
                          </a:r>
                        </a:p>
                      </p:txBody>
                    </p:sp>
                    <p:sp>
                      <p:nvSpPr>
                        <p:cNvPr id="242" name="Text Box 116"/>
                        <p:cNvSpPr txBox="1">
                          <a:spLocks noChangeArrowheads="1"/>
                        </p:cNvSpPr>
                        <p:nvPr/>
                      </p:nvSpPr>
                      <p:spPr bwMode="auto">
                        <a:xfrm>
                          <a:off x="7723485" y="3079906"/>
                          <a:ext cx="325319" cy="80802"/>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São Paulo</a:t>
                          </a:r>
                        </a:p>
                      </p:txBody>
                    </p:sp>
                    <p:sp>
                      <p:nvSpPr>
                        <p:cNvPr id="243" name="Text Box 120"/>
                        <p:cNvSpPr txBox="1">
                          <a:spLocks noChangeArrowheads="1"/>
                        </p:cNvSpPr>
                        <p:nvPr/>
                      </p:nvSpPr>
                      <p:spPr bwMode="auto">
                        <a:xfrm>
                          <a:off x="7168860" y="1167617"/>
                          <a:ext cx="271099" cy="80801"/>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Macapá</a:t>
                          </a:r>
                        </a:p>
                      </p:txBody>
                    </p:sp>
                    <p:sp>
                      <p:nvSpPr>
                        <p:cNvPr id="244" name="Text Box 121"/>
                        <p:cNvSpPr txBox="1">
                          <a:spLocks noChangeArrowheads="1"/>
                        </p:cNvSpPr>
                        <p:nvPr/>
                      </p:nvSpPr>
                      <p:spPr bwMode="auto">
                        <a:xfrm>
                          <a:off x="6503535" y="1316338"/>
                          <a:ext cx="311764" cy="80802"/>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Boa Vista</a:t>
                          </a:r>
                        </a:p>
                      </p:txBody>
                    </p:sp>
                    <p:sp>
                      <p:nvSpPr>
                        <p:cNvPr id="245" name="Text Box 122"/>
                        <p:cNvSpPr txBox="1">
                          <a:spLocks noChangeArrowheads="1"/>
                        </p:cNvSpPr>
                        <p:nvPr/>
                      </p:nvSpPr>
                      <p:spPr bwMode="auto">
                        <a:xfrm>
                          <a:off x="6361207" y="2034178"/>
                          <a:ext cx="267711" cy="80801"/>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P. Velho</a:t>
                          </a:r>
                        </a:p>
                      </p:txBody>
                    </p:sp>
                    <p:sp>
                      <p:nvSpPr>
                        <p:cNvPr id="246" name="Text Box 123"/>
                        <p:cNvSpPr txBox="1">
                          <a:spLocks noChangeArrowheads="1"/>
                        </p:cNvSpPr>
                        <p:nvPr/>
                      </p:nvSpPr>
                      <p:spPr bwMode="auto">
                        <a:xfrm>
                          <a:off x="8274722" y="2288292"/>
                          <a:ext cx="262373" cy="72639"/>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Salvador</a:t>
                          </a:r>
                        </a:p>
                      </p:txBody>
                    </p:sp>
                    <p:sp>
                      <p:nvSpPr>
                        <p:cNvPr id="247" name="Text Box 131"/>
                        <p:cNvSpPr txBox="1">
                          <a:spLocks noChangeArrowheads="1"/>
                        </p:cNvSpPr>
                        <p:nvPr/>
                      </p:nvSpPr>
                      <p:spPr bwMode="auto">
                        <a:xfrm>
                          <a:off x="7534806" y="3158963"/>
                          <a:ext cx="262064" cy="80801"/>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Curitiba</a:t>
                          </a:r>
                        </a:p>
                      </p:txBody>
                    </p:sp>
                    <p:sp>
                      <p:nvSpPr>
                        <p:cNvPr id="248" name="Text Box 133"/>
                        <p:cNvSpPr txBox="1">
                          <a:spLocks noChangeArrowheads="1"/>
                        </p:cNvSpPr>
                        <p:nvPr/>
                      </p:nvSpPr>
                      <p:spPr bwMode="auto">
                        <a:xfrm>
                          <a:off x="8418957" y="1981482"/>
                          <a:ext cx="245121" cy="80802"/>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Maceió</a:t>
                          </a:r>
                        </a:p>
                      </p:txBody>
                    </p:sp>
                    <p:sp>
                      <p:nvSpPr>
                        <p:cNvPr id="249" name="Text Box 134"/>
                        <p:cNvSpPr txBox="1">
                          <a:spLocks noChangeArrowheads="1"/>
                        </p:cNvSpPr>
                        <p:nvPr/>
                      </p:nvSpPr>
                      <p:spPr bwMode="auto">
                        <a:xfrm>
                          <a:off x="8471429" y="1866721"/>
                          <a:ext cx="198807" cy="80802"/>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Recife</a:t>
                          </a:r>
                        </a:p>
                      </p:txBody>
                    </p:sp>
                    <p:sp>
                      <p:nvSpPr>
                        <p:cNvPr id="250" name="Text Box 135"/>
                        <p:cNvSpPr txBox="1">
                          <a:spLocks noChangeArrowheads="1"/>
                        </p:cNvSpPr>
                        <p:nvPr/>
                      </p:nvSpPr>
                      <p:spPr bwMode="auto">
                        <a:xfrm>
                          <a:off x="8170800" y="1481453"/>
                          <a:ext cx="307246" cy="80801"/>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Fortaleza</a:t>
                          </a:r>
                        </a:p>
                      </p:txBody>
                    </p:sp>
                    <p:sp>
                      <p:nvSpPr>
                        <p:cNvPr id="251" name="Text Box 138"/>
                        <p:cNvSpPr txBox="1">
                          <a:spLocks noChangeArrowheads="1"/>
                        </p:cNvSpPr>
                        <p:nvPr/>
                      </p:nvSpPr>
                      <p:spPr bwMode="auto">
                        <a:xfrm>
                          <a:off x="7466911" y="2342600"/>
                          <a:ext cx="486850" cy="65972"/>
                        </a:xfrm>
                        <a:prstGeom prst="rect">
                          <a:avLst/>
                        </a:prstGeom>
                        <a:noFill/>
                        <a:ln w="9525">
                          <a:noFill/>
                          <a:round/>
                          <a:headEnd/>
                          <a:tailEnd/>
                        </a:ln>
                      </p:spPr>
                      <p:txBody>
                        <a:bodyPr lIns="0" tIns="0" rIns="0" bIns="0">
                          <a:spAutoFit/>
                        </a:bodyPr>
                        <a:lstStyle/>
                        <a:p>
                          <a:pPr defTabSz="457200">
                            <a:lnSpc>
                              <a:spcPct val="7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Brasília</a:t>
                          </a:r>
                        </a:p>
                      </p:txBody>
                    </p:sp>
                    <p:sp>
                      <p:nvSpPr>
                        <p:cNvPr id="252" name="Text Box 139"/>
                        <p:cNvSpPr txBox="1">
                          <a:spLocks noChangeArrowheads="1"/>
                        </p:cNvSpPr>
                        <p:nvPr/>
                      </p:nvSpPr>
                      <p:spPr bwMode="auto">
                        <a:xfrm>
                          <a:off x="7944515" y="2995592"/>
                          <a:ext cx="423603" cy="72639"/>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Rio de Janeiro</a:t>
                          </a:r>
                        </a:p>
                      </p:txBody>
                    </p:sp>
                    <p:sp>
                      <p:nvSpPr>
                        <p:cNvPr id="253" name="Text Box 140"/>
                        <p:cNvSpPr txBox="1">
                          <a:spLocks noChangeArrowheads="1"/>
                        </p:cNvSpPr>
                        <p:nvPr/>
                      </p:nvSpPr>
                      <p:spPr bwMode="auto">
                        <a:xfrm>
                          <a:off x="7267909" y="3500305"/>
                          <a:ext cx="543329" cy="80801"/>
                        </a:xfrm>
                        <a:prstGeom prst="rect">
                          <a:avLst/>
                        </a:prstGeom>
                        <a:noFill/>
                        <a:ln w="9525">
                          <a:noFill/>
                          <a:round/>
                          <a:headEnd/>
                          <a:tailEnd/>
                        </a:ln>
                      </p:spPr>
                      <p:txBody>
                        <a:bodyPr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Porto Alegre</a:t>
                          </a:r>
                        </a:p>
                      </p:txBody>
                    </p:sp>
                    <p:sp>
                      <p:nvSpPr>
                        <p:cNvPr id="254" name="Freeform 256"/>
                        <p:cNvSpPr>
                          <a:spLocks noChangeArrowheads="1"/>
                        </p:cNvSpPr>
                        <p:nvPr/>
                      </p:nvSpPr>
                      <p:spPr bwMode="auto">
                        <a:xfrm>
                          <a:off x="7385740" y="3139629"/>
                          <a:ext cx="143457" cy="332572"/>
                        </a:xfrm>
                        <a:custGeom>
                          <a:avLst/>
                          <a:gdLst>
                            <a:gd name="T0" fmla="*/ 2147483647 w 153"/>
                            <a:gd name="T1" fmla="*/ 0 h 372"/>
                            <a:gd name="T2" fmla="*/ 2147483647 w 153"/>
                            <a:gd name="T3" fmla="*/ 2147483647 h 372"/>
                            <a:gd name="T4" fmla="*/ 2147483647 w 153"/>
                            <a:gd name="T5" fmla="*/ 2147483647 h 372"/>
                            <a:gd name="T6" fmla="*/ 0 w 153"/>
                            <a:gd name="T7" fmla="*/ 2147483647 h 372"/>
                            <a:gd name="T8" fmla="*/ 0 60000 65536"/>
                            <a:gd name="T9" fmla="*/ 0 60000 65536"/>
                            <a:gd name="T10" fmla="*/ 0 60000 65536"/>
                            <a:gd name="T11" fmla="*/ 0 60000 65536"/>
                            <a:gd name="T12" fmla="*/ 0 w 153"/>
                            <a:gd name="T13" fmla="*/ 0 h 372"/>
                            <a:gd name="T14" fmla="*/ 153 w 153"/>
                            <a:gd name="T15" fmla="*/ 372 h 372"/>
                          </a:gdLst>
                          <a:ahLst/>
                          <a:cxnLst>
                            <a:cxn ang="T8">
                              <a:pos x="T0" y="T1"/>
                            </a:cxn>
                            <a:cxn ang="T9">
                              <a:pos x="T2" y="T3"/>
                            </a:cxn>
                            <a:cxn ang="T10">
                              <a:pos x="T4" y="T5"/>
                            </a:cxn>
                            <a:cxn ang="T11">
                              <a:pos x="T6" y="T7"/>
                            </a:cxn>
                          </a:cxnLst>
                          <a:rect l="T12" t="T13" r="T14" b="T15"/>
                          <a:pathLst>
                            <a:path w="153" h="372">
                              <a:moveTo>
                                <a:pt x="153" y="0"/>
                              </a:moveTo>
                              <a:cubicBezTo>
                                <a:pt x="144" y="5"/>
                                <a:pt x="119" y="4"/>
                                <a:pt x="96" y="33"/>
                              </a:cubicBezTo>
                              <a:cubicBezTo>
                                <a:pt x="73" y="62"/>
                                <a:pt x="32" y="116"/>
                                <a:pt x="16" y="172"/>
                              </a:cubicBezTo>
                              <a:cubicBezTo>
                                <a:pt x="0" y="228"/>
                                <a:pt x="0" y="318"/>
                                <a:pt x="0" y="372"/>
                              </a:cubicBezTo>
                            </a:path>
                          </a:pathLst>
                        </a:custGeom>
                        <a:noFill/>
                        <a:ln w="28575">
                          <a:solidFill>
                            <a:srgbClr val="0070C0"/>
                          </a:solidFill>
                          <a:round/>
                          <a:headEnd/>
                          <a:tailEnd/>
                        </a:ln>
                      </p:spPr>
                      <p:txBody>
                        <a:bodyPr wrap="none" anchor="ctr"/>
                        <a:lstStyle/>
                        <a:p>
                          <a:endParaRPr lang="pt-BR"/>
                        </a:p>
                      </p:txBody>
                    </p:sp>
                    <p:graphicFrame>
                      <p:nvGraphicFramePr>
                        <p:cNvPr id="255" name="Object 2"/>
                        <p:cNvGraphicFramePr>
                          <a:graphicFrameLocks noChangeAspect="1"/>
                        </p:cNvGraphicFramePr>
                        <p:nvPr/>
                      </p:nvGraphicFramePr>
                      <p:xfrm>
                        <a:off x="7755113" y="2640772"/>
                        <a:ext cx="54220" cy="55038"/>
                      </p:xfrm>
                      <a:graphic>
                        <a:graphicData uri="http://schemas.openxmlformats.org/presentationml/2006/ole">
                          <p:oleObj spid="_x0000_s2100607" r:id="rId7" imgW="312983" imgH="312983" progId="">
                            <p:embed/>
                          </p:oleObj>
                        </a:graphicData>
                      </a:graphic>
                    </p:graphicFrame>
                    <p:sp>
                      <p:nvSpPr>
                        <p:cNvPr id="256" name="Text Box 119"/>
                        <p:cNvSpPr txBox="1">
                          <a:spLocks noChangeArrowheads="1"/>
                        </p:cNvSpPr>
                        <p:nvPr/>
                      </p:nvSpPr>
                      <p:spPr bwMode="auto">
                        <a:xfrm>
                          <a:off x="7307710" y="2437012"/>
                          <a:ext cx="232331" cy="72639"/>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Goiânia</a:t>
                          </a:r>
                        </a:p>
                      </p:txBody>
                    </p:sp>
                    <p:graphicFrame>
                      <p:nvGraphicFramePr>
                        <p:cNvPr id="257" name="Object 3"/>
                        <p:cNvGraphicFramePr>
                          <a:graphicFrameLocks noChangeAspect="1"/>
                        </p:cNvGraphicFramePr>
                        <p:nvPr/>
                      </p:nvGraphicFramePr>
                      <p:xfrm>
                        <a:off x="7477236" y="3126747"/>
                        <a:ext cx="56480" cy="56209"/>
                      </p:xfrm>
                      <a:graphic>
                        <a:graphicData uri="http://schemas.openxmlformats.org/presentationml/2006/ole">
                          <p:oleObj spid="_x0000_s2100608" r:id="rId8" imgW="312983" imgH="312983" progId="">
                            <p:embed/>
                          </p:oleObj>
                        </a:graphicData>
                      </a:graphic>
                    </p:graphicFrame>
                    <p:graphicFrame>
                      <p:nvGraphicFramePr>
                        <p:cNvPr id="258" name="Object 4"/>
                        <p:cNvGraphicFramePr>
                          <a:graphicFrameLocks noChangeAspect="1"/>
                        </p:cNvGraphicFramePr>
                        <p:nvPr/>
                      </p:nvGraphicFramePr>
                      <p:xfrm>
                        <a:off x="7476107" y="2507274"/>
                        <a:ext cx="50831" cy="52696"/>
                      </p:xfrm>
                      <a:graphic>
                        <a:graphicData uri="http://schemas.openxmlformats.org/presentationml/2006/ole">
                          <p:oleObj spid="_x0000_s2100609" r:id="rId9" imgW="312983" imgH="312983" progId="">
                            <p:embed/>
                          </p:oleObj>
                        </a:graphicData>
                      </a:graphic>
                    </p:graphicFrame>
                    <p:graphicFrame>
                      <p:nvGraphicFramePr>
                        <p:cNvPr id="259" name="Object 5"/>
                        <p:cNvGraphicFramePr>
                          <a:graphicFrameLocks noChangeAspect="1"/>
                        </p:cNvGraphicFramePr>
                        <p:nvPr/>
                      </p:nvGraphicFramePr>
                      <p:xfrm>
                        <a:off x="7576638" y="2686441"/>
                        <a:ext cx="50832" cy="52697"/>
                      </p:xfrm>
                      <a:graphic>
                        <a:graphicData uri="http://schemas.openxmlformats.org/presentationml/2006/ole">
                          <p:oleObj spid="_x0000_s2100610" r:id="rId10" imgW="312983" imgH="312983" progId="">
                            <p:embed/>
                          </p:oleObj>
                        </a:graphicData>
                      </a:graphic>
                    </p:graphicFrame>
                    <p:graphicFrame>
                      <p:nvGraphicFramePr>
                        <p:cNvPr id="260" name="Object 6"/>
                        <p:cNvGraphicFramePr>
                          <a:graphicFrameLocks noChangeAspect="1"/>
                        </p:cNvGraphicFramePr>
                        <p:nvPr/>
                      </p:nvGraphicFramePr>
                      <p:xfrm>
                        <a:off x="8448678" y="1865551"/>
                        <a:ext cx="50832" cy="52696"/>
                      </p:xfrm>
                      <a:graphic>
                        <a:graphicData uri="http://schemas.openxmlformats.org/presentationml/2006/ole">
                          <p:oleObj spid="_x0000_s2100611" r:id="rId11" imgW="312983" imgH="312983" progId="">
                            <p:embed/>
                          </p:oleObj>
                        </a:graphicData>
                      </a:graphic>
                    </p:graphicFrame>
                    <p:graphicFrame>
                      <p:nvGraphicFramePr>
                        <p:cNvPr id="261" name="Object 7"/>
                        <p:cNvGraphicFramePr>
                          <a:graphicFrameLocks noChangeAspect="1"/>
                        </p:cNvGraphicFramePr>
                        <p:nvPr/>
                      </p:nvGraphicFramePr>
                      <p:xfrm>
                        <a:off x="8398976" y="1967429"/>
                        <a:ext cx="51961" cy="52697"/>
                      </p:xfrm>
                      <a:graphic>
                        <a:graphicData uri="http://schemas.openxmlformats.org/presentationml/2006/ole">
                          <p:oleObj spid="_x0000_s2100612" r:id="rId12" imgW="312983" imgH="312983" progId="">
                            <p:embed/>
                          </p:oleObj>
                        </a:graphicData>
                      </a:graphic>
                    </p:graphicFrame>
                    <p:graphicFrame>
                      <p:nvGraphicFramePr>
                        <p:cNvPr id="262" name="Object 8"/>
                        <p:cNvGraphicFramePr>
                          <a:graphicFrameLocks noChangeAspect="1"/>
                        </p:cNvGraphicFramePr>
                        <p:nvPr/>
                      </p:nvGraphicFramePr>
                      <p:xfrm>
                        <a:off x="7668135" y="3001448"/>
                        <a:ext cx="54220" cy="55038"/>
                      </p:xfrm>
                      <a:graphic>
                        <a:graphicData uri="http://schemas.openxmlformats.org/presentationml/2006/ole">
                          <p:oleObj spid="_x0000_s2100613" r:id="rId13" imgW="312983" imgH="312983" progId="">
                            <p:embed/>
                          </p:oleObj>
                        </a:graphicData>
                      </a:graphic>
                    </p:graphicFrame>
                    <p:graphicFrame>
                      <p:nvGraphicFramePr>
                        <p:cNvPr id="263" name="Object 9"/>
                        <p:cNvGraphicFramePr>
                          <a:graphicFrameLocks noChangeAspect="1"/>
                        </p:cNvGraphicFramePr>
                        <p:nvPr/>
                      </p:nvGraphicFramePr>
                      <p:xfrm>
                        <a:off x="7474976" y="3337533"/>
                        <a:ext cx="55350" cy="56209"/>
                      </p:xfrm>
                      <a:graphic>
                        <a:graphicData uri="http://schemas.openxmlformats.org/presentationml/2006/ole">
                          <p:oleObj spid="_x0000_s2100614" r:id="rId14" imgW="312983" imgH="312983" progId="">
                            <p:embed/>
                          </p:oleObj>
                        </a:graphicData>
                      </a:graphic>
                    </p:graphicFrame>
                    <p:sp>
                      <p:nvSpPr>
                        <p:cNvPr id="264" name="Text Box 136"/>
                        <p:cNvSpPr txBox="1">
                          <a:spLocks noChangeArrowheads="1"/>
                        </p:cNvSpPr>
                        <p:nvPr/>
                      </p:nvSpPr>
                      <p:spPr bwMode="auto">
                        <a:xfrm>
                          <a:off x="7515114" y="1350297"/>
                          <a:ext cx="189269" cy="74446"/>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dirty="0" err="1">
                              <a:solidFill>
                                <a:srgbClr val="000000"/>
                              </a:solidFill>
                              <a:latin typeface="Calibri" pitchFamily="34" charset="0"/>
                            </a:rPr>
                            <a:t>Belém</a:t>
                          </a:r>
                          <a:endParaRPr lang="en-GB" sz="900" dirty="0">
                            <a:solidFill>
                              <a:srgbClr val="000000"/>
                            </a:solidFill>
                            <a:latin typeface="Calibri" pitchFamily="34" charset="0"/>
                          </a:endParaRPr>
                        </a:p>
                      </p:txBody>
                    </p:sp>
                    <p:sp>
                      <p:nvSpPr>
                        <p:cNvPr id="265" name="Text Box 117"/>
                        <p:cNvSpPr txBox="1">
                          <a:spLocks noChangeArrowheads="1"/>
                        </p:cNvSpPr>
                        <p:nvPr/>
                      </p:nvSpPr>
                      <p:spPr bwMode="auto">
                        <a:xfrm>
                          <a:off x="7686630" y="2594903"/>
                          <a:ext cx="239699" cy="110800"/>
                        </a:xfrm>
                        <a:prstGeom prst="rect">
                          <a:avLst/>
                        </a:prstGeom>
                        <a:noFill/>
                        <a:ln w="9525">
                          <a:noFill/>
                          <a:round/>
                          <a:headEnd/>
                          <a:tailEnd/>
                        </a:ln>
                      </p:spPr>
                      <p:txBody>
                        <a:bodyPr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BHE</a:t>
                          </a:r>
                        </a:p>
                      </p:txBody>
                    </p:sp>
                    <p:graphicFrame>
                      <p:nvGraphicFramePr>
                        <p:cNvPr id="266" name="Object 10"/>
                        <p:cNvGraphicFramePr>
                          <a:graphicFrameLocks noChangeAspect="1"/>
                        </p:cNvGraphicFramePr>
                        <p:nvPr/>
                      </p:nvGraphicFramePr>
                      <p:xfrm>
                        <a:off x="6466259" y="1959232"/>
                        <a:ext cx="51961" cy="53867"/>
                      </p:xfrm>
                      <a:graphic>
                        <a:graphicData uri="http://schemas.openxmlformats.org/presentationml/2006/ole">
                          <p:oleObj spid="_x0000_s2100615" r:id="rId15" imgW="312983" imgH="312983" progId="">
                            <p:embed/>
                          </p:oleObj>
                        </a:graphicData>
                      </a:graphic>
                    </p:graphicFrame>
                    <p:graphicFrame>
                      <p:nvGraphicFramePr>
                        <p:cNvPr id="267" name="Object 11"/>
                        <p:cNvGraphicFramePr>
                          <a:graphicFrameLocks noChangeAspect="1"/>
                        </p:cNvGraphicFramePr>
                        <p:nvPr/>
                      </p:nvGraphicFramePr>
                      <p:xfrm>
                        <a:off x="6578087" y="1638371"/>
                        <a:ext cx="50832" cy="52696"/>
                      </p:xfrm>
                      <a:graphic>
                        <a:graphicData uri="http://schemas.openxmlformats.org/presentationml/2006/ole">
                          <p:oleObj spid="_x0000_s2100616" r:id="rId16" imgW="312983" imgH="312983" progId="">
                            <p:embed/>
                          </p:oleObj>
                        </a:graphicData>
                      </a:graphic>
                    </p:graphicFrame>
                    <p:graphicFrame>
                      <p:nvGraphicFramePr>
                        <p:cNvPr id="268" name="Object 12"/>
                        <p:cNvGraphicFramePr>
                          <a:graphicFrameLocks noChangeAspect="1"/>
                        </p:cNvGraphicFramePr>
                        <p:nvPr/>
                      </p:nvGraphicFramePr>
                      <p:xfrm>
                        <a:off x="6628919" y="1262471"/>
                        <a:ext cx="51961" cy="53867"/>
                      </p:xfrm>
                      <a:graphic>
                        <a:graphicData uri="http://schemas.openxmlformats.org/presentationml/2006/ole">
                          <p:oleObj spid="_x0000_s2100617" r:id="rId17" imgW="312983" imgH="312983" progId="">
                            <p:embed/>
                          </p:oleObj>
                        </a:graphicData>
                      </a:graphic>
                    </p:graphicFrame>
                    <p:graphicFrame>
                      <p:nvGraphicFramePr>
                        <p:cNvPr id="269" name="Object 13"/>
                        <p:cNvGraphicFramePr>
                          <a:graphicFrameLocks noChangeAspect="1"/>
                        </p:cNvGraphicFramePr>
                        <p:nvPr/>
                      </p:nvGraphicFramePr>
                      <p:xfrm>
                        <a:off x="7294243" y="1247247"/>
                        <a:ext cx="51961" cy="52696"/>
                      </p:xfrm>
                      <a:graphic>
                        <a:graphicData uri="http://schemas.openxmlformats.org/presentationml/2006/ole">
                          <p:oleObj spid="_x0000_s2100618" r:id="rId18" imgW="312983" imgH="312983" progId="">
                            <p:embed/>
                          </p:oleObj>
                        </a:graphicData>
                      </a:graphic>
                    </p:graphicFrame>
                    <p:graphicFrame>
                      <p:nvGraphicFramePr>
                        <p:cNvPr id="270" name="Object 14"/>
                        <p:cNvGraphicFramePr>
                          <a:graphicFrameLocks noChangeAspect="1"/>
                        </p:cNvGraphicFramePr>
                        <p:nvPr/>
                      </p:nvGraphicFramePr>
                      <p:xfrm>
                        <a:off x="7572121" y="2393683"/>
                        <a:ext cx="50832" cy="52697"/>
                      </p:xfrm>
                      <a:graphic>
                        <a:graphicData uri="http://schemas.openxmlformats.org/presentationml/2006/ole">
                          <p:oleObj spid="_x0000_s2100619" r:id="rId19" imgW="312983" imgH="312983" progId="">
                            <p:embed/>
                          </p:oleObj>
                        </a:graphicData>
                      </a:graphic>
                    </p:graphicFrame>
                    <p:graphicFrame>
                      <p:nvGraphicFramePr>
                        <p:cNvPr id="271" name="Object 15"/>
                        <p:cNvGraphicFramePr>
                          <a:graphicFrameLocks noChangeAspect="1"/>
                        </p:cNvGraphicFramePr>
                        <p:nvPr/>
                      </p:nvGraphicFramePr>
                      <p:xfrm>
                        <a:off x="7502086" y="1433440"/>
                        <a:ext cx="51961" cy="56209"/>
                      </p:xfrm>
                      <a:graphic>
                        <a:graphicData uri="http://schemas.openxmlformats.org/presentationml/2006/ole">
                          <p:oleObj spid="_x0000_s2100620" r:id="rId20" imgW="312983" imgH="312983" progId="">
                            <p:embed/>
                          </p:oleObj>
                        </a:graphicData>
                      </a:graphic>
                    </p:graphicFrame>
                    <p:graphicFrame>
                      <p:nvGraphicFramePr>
                        <p:cNvPr id="272" name="Object 16"/>
                        <p:cNvGraphicFramePr>
                          <a:graphicFrameLocks noChangeAspect="1"/>
                        </p:cNvGraphicFramePr>
                        <p:nvPr/>
                      </p:nvGraphicFramePr>
                      <p:xfrm>
                        <a:off x="7922291" y="2946409"/>
                        <a:ext cx="54220" cy="55039"/>
                      </p:xfrm>
                      <a:graphic>
                        <a:graphicData uri="http://schemas.openxmlformats.org/presentationml/2006/ole">
                          <p:oleObj spid="_x0000_s2100621" r:id="rId21" imgW="312983" imgH="312983" progId="">
                            <p:embed/>
                          </p:oleObj>
                        </a:graphicData>
                      </a:graphic>
                    </p:graphicFrame>
                    <p:graphicFrame>
                      <p:nvGraphicFramePr>
                        <p:cNvPr id="273" name="Object 17"/>
                        <p:cNvGraphicFramePr>
                          <a:graphicFrameLocks noChangeAspect="1"/>
                        </p:cNvGraphicFramePr>
                        <p:nvPr/>
                      </p:nvGraphicFramePr>
                      <p:xfrm>
                        <a:off x="7547270" y="2809399"/>
                        <a:ext cx="51961" cy="52696"/>
                      </p:xfrm>
                      <a:graphic>
                        <a:graphicData uri="http://schemas.openxmlformats.org/presentationml/2006/ole">
                          <p:oleObj spid="_x0000_s2100622" r:id="rId22" imgW="312983" imgH="312983" progId="">
                            <p:embed/>
                          </p:oleObj>
                        </a:graphicData>
                      </a:graphic>
                    </p:graphicFrame>
                    <p:graphicFrame>
                      <p:nvGraphicFramePr>
                        <p:cNvPr id="274" name="Object 18"/>
                        <p:cNvGraphicFramePr>
                          <a:graphicFrameLocks noChangeAspect="1"/>
                        </p:cNvGraphicFramePr>
                        <p:nvPr/>
                      </p:nvGraphicFramePr>
                      <p:xfrm>
                        <a:off x="7355241" y="3441755"/>
                        <a:ext cx="56480" cy="56209"/>
                      </p:xfrm>
                      <a:graphic>
                        <a:graphicData uri="http://schemas.openxmlformats.org/presentationml/2006/ole">
                          <p:oleObj spid="_x0000_s2100623" r:id="rId23" imgW="312983" imgH="312983" progId="">
                            <p:embed/>
                          </p:oleObj>
                        </a:graphicData>
                      </a:graphic>
                    </p:graphicFrame>
                    <p:graphicFrame>
                      <p:nvGraphicFramePr>
                        <p:cNvPr id="275" name="Object 19"/>
                        <p:cNvGraphicFramePr>
                          <a:graphicFrameLocks noChangeAspect="1"/>
                        </p:cNvGraphicFramePr>
                        <p:nvPr/>
                      </p:nvGraphicFramePr>
                      <p:xfrm>
                        <a:off x="8153857" y="1565766"/>
                        <a:ext cx="51961" cy="52696"/>
                      </p:xfrm>
                      <a:graphic>
                        <a:graphicData uri="http://schemas.openxmlformats.org/presentationml/2006/ole">
                          <p:oleObj spid="_x0000_s2100624" r:id="rId24" imgW="312983" imgH="312983" progId="">
                            <p:embed/>
                          </p:oleObj>
                        </a:graphicData>
                      </a:graphic>
                    </p:graphicFrame>
                    <p:sp>
                      <p:nvSpPr>
                        <p:cNvPr id="276" name="Oval 275"/>
                        <p:cNvSpPr/>
                        <p:nvPr/>
                      </p:nvSpPr>
                      <p:spPr bwMode="auto">
                        <a:xfrm>
                          <a:off x="8408418" y="1983165"/>
                          <a:ext cx="37370" cy="40810"/>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graphicFrame>
                      <p:nvGraphicFramePr>
                        <p:cNvPr id="277" name="Object 20"/>
                        <p:cNvGraphicFramePr>
                          <a:graphicFrameLocks noChangeAspect="1"/>
                        </p:cNvGraphicFramePr>
                        <p:nvPr/>
                      </p:nvGraphicFramePr>
                      <p:xfrm>
                        <a:off x="8300703" y="2119663"/>
                        <a:ext cx="51961" cy="52697"/>
                      </p:xfrm>
                      <a:graphic>
                        <a:graphicData uri="http://schemas.openxmlformats.org/presentationml/2006/ole">
                          <p:oleObj spid="_x0000_s2100625" r:id="rId25" imgW="312983" imgH="312983" progId="">
                            <p:embed/>
                          </p:oleObj>
                        </a:graphicData>
                      </a:graphic>
                    </p:graphicFrame>
                    <p:sp>
                      <p:nvSpPr>
                        <p:cNvPr id="278" name="Oval 277"/>
                        <p:cNvSpPr/>
                        <p:nvPr/>
                      </p:nvSpPr>
                      <p:spPr bwMode="auto">
                        <a:xfrm>
                          <a:off x="8309866" y="2136283"/>
                          <a:ext cx="38865" cy="41116"/>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279" name="Text Box 132"/>
                        <p:cNvSpPr txBox="1">
                          <a:spLocks noChangeArrowheads="1"/>
                        </p:cNvSpPr>
                        <p:nvPr/>
                      </p:nvSpPr>
                      <p:spPr bwMode="auto">
                        <a:xfrm>
                          <a:off x="8370736" y="2125519"/>
                          <a:ext cx="254156" cy="80801"/>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Aracaju</a:t>
                          </a:r>
                        </a:p>
                      </p:txBody>
                    </p:sp>
                    <p:sp>
                      <p:nvSpPr>
                        <p:cNvPr id="280" name="Oval 279"/>
                        <p:cNvSpPr/>
                        <p:nvPr/>
                      </p:nvSpPr>
                      <p:spPr bwMode="auto">
                        <a:xfrm>
                          <a:off x="7304099" y="1263689"/>
                          <a:ext cx="37370" cy="42118"/>
                        </a:xfrm>
                        <a:prstGeom prst="ellipse">
                          <a:avLst/>
                        </a:prstGeom>
                        <a:solidFill>
                          <a:srgbClr val="FF0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281" name="Oval 280"/>
                        <p:cNvSpPr/>
                        <p:nvPr/>
                      </p:nvSpPr>
                      <p:spPr bwMode="auto">
                        <a:xfrm>
                          <a:off x="6639204" y="1277155"/>
                          <a:ext cx="37733" cy="40811"/>
                        </a:xfrm>
                        <a:prstGeom prst="ellipse">
                          <a:avLst/>
                        </a:prstGeom>
                        <a:solidFill>
                          <a:srgbClr val="FF0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282" name="Oval 281"/>
                        <p:cNvSpPr/>
                        <p:nvPr/>
                      </p:nvSpPr>
                      <p:spPr bwMode="auto">
                        <a:xfrm>
                          <a:off x="6585186" y="1648297"/>
                          <a:ext cx="37733" cy="42118"/>
                        </a:xfrm>
                        <a:prstGeom prst="ellipse">
                          <a:avLst/>
                        </a:prstGeom>
                        <a:solidFill>
                          <a:srgbClr val="FF0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283" name="Oval 282"/>
                        <p:cNvSpPr/>
                        <p:nvPr/>
                      </p:nvSpPr>
                      <p:spPr bwMode="auto">
                        <a:xfrm>
                          <a:off x="6473742" y="1978040"/>
                          <a:ext cx="38865" cy="41797"/>
                        </a:xfrm>
                        <a:prstGeom prst="ellipse">
                          <a:avLst/>
                        </a:prstGeom>
                        <a:solidFill>
                          <a:srgbClr val="FF0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284" name="Oval 283"/>
                        <p:cNvSpPr/>
                        <p:nvPr/>
                      </p:nvSpPr>
                      <p:spPr bwMode="auto">
                        <a:xfrm>
                          <a:off x="6990694" y="2294671"/>
                          <a:ext cx="37733" cy="41368"/>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285" name="Oval 284"/>
                        <p:cNvSpPr/>
                        <p:nvPr/>
                      </p:nvSpPr>
                      <p:spPr bwMode="auto">
                        <a:xfrm>
                          <a:off x="7582504" y="2413600"/>
                          <a:ext cx="37370" cy="41858"/>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286" name="Oval 285"/>
                        <p:cNvSpPr/>
                        <p:nvPr/>
                      </p:nvSpPr>
                      <p:spPr bwMode="auto">
                        <a:xfrm>
                          <a:off x="7587030" y="2703400"/>
                          <a:ext cx="37733" cy="41115"/>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287" name="Oval 286"/>
                        <p:cNvSpPr/>
                        <p:nvPr/>
                      </p:nvSpPr>
                      <p:spPr bwMode="auto">
                        <a:xfrm>
                          <a:off x="7485960" y="2524283"/>
                          <a:ext cx="37733" cy="41368"/>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288" name="Oval 287"/>
                        <p:cNvSpPr/>
                        <p:nvPr/>
                      </p:nvSpPr>
                      <p:spPr bwMode="auto">
                        <a:xfrm>
                          <a:off x="7632329" y="2980535"/>
                          <a:ext cx="37370" cy="41623"/>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289" name="Oval 288"/>
                        <p:cNvSpPr/>
                        <p:nvPr/>
                      </p:nvSpPr>
                      <p:spPr bwMode="auto">
                        <a:xfrm>
                          <a:off x="7486249" y="3355481"/>
                          <a:ext cx="37370" cy="41062"/>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290" name="Oval 289"/>
                        <p:cNvSpPr/>
                        <p:nvPr/>
                      </p:nvSpPr>
                      <p:spPr bwMode="auto">
                        <a:xfrm>
                          <a:off x="7370077" y="3458961"/>
                          <a:ext cx="37733" cy="41116"/>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291" name="Oval 290"/>
                        <p:cNvSpPr/>
                        <p:nvPr/>
                      </p:nvSpPr>
                      <p:spPr bwMode="auto">
                        <a:xfrm>
                          <a:off x="7863518" y="2972745"/>
                          <a:ext cx="37733" cy="41116"/>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292" name="Oval 291"/>
                        <p:cNvSpPr/>
                        <p:nvPr/>
                      </p:nvSpPr>
                      <p:spPr bwMode="auto">
                        <a:xfrm>
                          <a:off x="8175754" y="2246041"/>
                          <a:ext cx="38865" cy="41369"/>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293" name="Oval 292"/>
                        <p:cNvSpPr/>
                        <p:nvPr/>
                      </p:nvSpPr>
                      <p:spPr bwMode="auto">
                        <a:xfrm>
                          <a:off x="7957150" y="2612759"/>
                          <a:ext cx="37370" cy="41116"/>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294" name="Oval 293"/>
                        <p:cNvSpPr/>
                        <p:nvPr/>
                      </p:nvSpPr>
                      <p:spPr bwMode="auto">
                        <a:xfrm>
                          <a:off x="7883436" y="2503977"/>
                          <a:ext cx="38865" cy="41622"/>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295" name="Oval 294"/>
                        <p:cNvSpPr/>
                        <p:nvPr/>
                      </p:nvSpPr>
                      <p:spPr bwMode="auto">
                        <a:xfrm>
                          <a:off x="7868565" y="2837744"/>
                          <a:ext cx="37370" cy="41116"/>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296" name="Oval 295"/>
                        <p:cNvSpPr/>
                        <p:nvPr/>
                      </p:nvSpPr>
                      <p:spPr bwMode="auto">
                        <a:xfrm>
                          <a:off x="7465076" y="3275151"/>
                          <a:ext cx="37370" cy="41063"/>
                        </a:xfrm>
                        <a:prstGeom prst="ellipse">
                          <a:avLst/>
                        </a:prstGeom>
                        <a:solidFill>
                          <a:srgbClr val="FF0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297" name="Oval 296"/>
                        <p:cNvSpPr/>
                        <p:nvPr/>
                      </p:nvSpPr>
                      <p:spPr bwMode="auto">
                        <a:xfrm>
                          <a:off x="7700340" y="3044442"/>
                          <a:ext cx="37733" cy="40811"/>
                        </a:xfrm>
                        <a:prstGeom prst="ellipse">
                          <a:avLst/>
                        </a:prstGeom>
                        <a:solidFill>
                          <a:srgbClr val="FF0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298" name="Oval 297"/>
                        <p:cNvSpPr/>
                        <p:nvPr/>
                      </p:nvSpPr>
                      <p:spPr bwMode="auto">
                        <a:xfrm>
                          <a:off x="7728741" y="2998912"/>
                          <a:ext cx="37370" cy="41798"/>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299" name="Text Box 135"/>
                        <p:cNvSpPr txBox="1">
                          <a:spLocks noChangeArrowheads="1"/>
                        </p:cNvSpPr>
                        <p:nvPr/>
                      </p:nvSpPr>
                      <p:spPr bwMode="auto">
                        <a:xfrm>
                          <a:off x="7791260" y="1397140"/>
                          <a:ext cx="265453" cy="80801"/>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São Luis</a:t>
                          </a:r>
                        </a:p>
                      </p:txBody>
                    </p:sp>
                    <p:sp>
                      <p:nvSpPr>
                        <p:cNvPr id="300" name="Text Box 135"/>
                        <p:cNvSpPr txBox="1">
                          <a:spLocks noChangeArrowheads="1"/>
                        </p:cNvSpPr>
                        <p:nvPr/>
                      </p:nvSpPr>
                      <p:spPr bwMode="auto">
                        <a:xfrm>
                          <a:off x="8441899" y="1614950"/>
                          <a:ext cx="181864" cy="80801"/>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Natal</a:t>
                          </a:r>
                        </a:p>
                      </p:txBody>
                    </p:sp>
                    <p:sp>
                      <p:nvSpPr>
                        <p:cNvPr id="301" name="Text Box 135"/>
                        <p:cNvSpPr txBox="1">
                          <a:spLocks noChangeArrowheads="1"/>
                        </p:cNvSpPr>
                        <p:nvPr/>
                      </p:nvSpPr>
                      <p:spPr bwMode="auto">
                        <a:xfrm>
                          <a:off x="8461920" y="1743764"/>
                          <a:ext cx="396483" cy="80801"/>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João Pessoa</a:t>
                          </a:r>
                        </a:p>
                      </p:txBody>
                    </p:sp>
                    <p:sp>
                      <p:nvSpPr>
                        <p:cNvPr id="302" name="Text Box 135"/>
                        <p:cNvSpPr txBox="1">
                          <a:spLocks noChangeArrowheads="1"/>
                        </p:cNvSpPr>
                        <p:nvPr/>
                      </p:nvSpPr>
                      <p:spPr bwMode="auto">
                        <a:xfrm>
                          <a:off x="7309572" y="2079262"/>
                          <a:ext cx="240601" cy="80801"/>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Palmas</a:t>
                          </a:r>
                        </a:p>
                      </p:txBody>
                    </p:sp>
                    <p:sp>
                      <p:nvSpPr>
                        <p:cNvPr id="303" name="Text Box 123"/>
                        <p:cNvSpPr txBox="1">
                          <a:spLocks noChangeArrowheads="1"/>
                        </p:cNvSpPr>
                        <p:nvPr/>
                      </p:nvSpPr>
                      <p:spPr bwMode="auto">
                        <a:xfrm>
                          <a:off x="8086626" y="2791791"/>
                          <a:ext cx="205292" cy="72639"/>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Vitoria</a:t>
                          </a:r>
                        </a:p>
                      </p:txBody>
                    </p:sp>
                    <p:sp>
                      <p:nvSpPr>
                        <p:cNvPr id="304" name="Text Box 135"/>
                        <p:cNvSpPr txBox="1">
                          <a:spLocks noChangeArrowheads="1"/>
                        </p:cNvSpPr>
                        <p:nvPr/>
                      </p:nvSpPr>
                      <p:spPr bwMode="auto">
                        <a:xfrm>
                          <a:off x="7740428" y="1750789"/>
                          <a:ext cx="279007" cy="80801"/>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Teresina</a:t>
                          </a:r>
                        </a:p>
                      </p:txBody>
                    </p:sp>
                    <p:sp>
                      <p:nvSpPr>
                        <p:cNvPr id="305" name="Text Box 122"/>
                        <p:cNvSpPr txBox="1">
                          <a:spLocks noChangeArrowheads="1"/>
                        </p:cNvSpPr>
                        <p:nvPr/>
                      </p:nvSpPr>
                      <p:spPr bwMode="auto">
                        <a:xfrm>
                          <a:off x="5994095" y="2162991"/>
                          <a:ext cx="354689" cy="80801"/>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Rio Branco</a:t>
                          </a:r>
                        </a:p>
                      </p:txBody>
                    </p:sp>
                    <p:sp>
                      <p:nvSpPr>
                        <p:cNvPr id="306" name="Freeform 63"/>
                        <p:cNvSpPr>
                          <a:spLocks noChangeArrowheads="1"/>
                        </p:cNvSpPr>
                        <p:nvPr/>
                      </p:nvSpPr>
                      <p:spPr bwMode="auto">
                        <a:xfrm>
                          <a:off x="7618507" y="2986616"/>
                          <a:ext cx="78827" cy="50996"/>
                        </a:xfrm>
                        <a:custGeom>
                          <a:avLst/>
                          <a:gdLst>
                            <a:gd name="T0" fmla="*/ 190582785 w 51"/>
                            <a:gd name="T1" fmla="*/ 0 h 31"/>
                            <a:gd name="T2" fmla="*/ 0 w 51"/>
                            <a:gd name="T3" fmla="*/ 216449299 h 31"/>
                            <a:gd name="T4" fmla="*/ 462842688 w 51"/>
                            <a:gd name="T5" fmla="*/ 248515327 h 31"/>
                            <a:gd name="T6" fmla="*/ 0 60000 65536"/>
                            <a:gd name="T7" fmla="*/ 0 60000 65536"/>
                            <a:gd name="T8" fmla="*/ 0 60000 65536"/>
                            <a:gd name="T9" fmla="*/ 0 w 51"/>
                            <a:gd name="T10" fmla="*/ 0 h 31"/>
                            <a:gd name="T11" fmla="*/ 51 w 51"/>
                            <a:gd name="T12" fmla="*/ 31 h 31"/>
                          </a:gdLst>
                          <a:ahLst/>
                          <a:cxnLst>
                            <a:cxn ang="T6">
                              <a:pos x="T0" y="T1"/>
                            </a:cxn>
                            <a:cxn ang="T7">
                              <a:pos x="T2" y="T3"/>
                            </a:cxn>
                            <a:cxn ang="T8">
                              <a:pos x="T4" y="T5"/>
                            </a:cxn>
                          </a:cxnLst>
                          <a:rect l="T9" t="T10" r="T11" b="T12"/>
                          <a:pathLst>
                            <a:path w="51" h="31">
                              <a:moveTo>
                                <a:pt x="21" y="0"/>
                              </a:moveTo>
                              <a:cubicBezTo>
                                <a:pt x="16" y="9"/>
                                <a:pt x="5" y="18"/>
                                <a:pt x="0" y="27"/>
                              </a:cubicBezTo>
                              <a:cubicBezTo>
                                <a:pt x="17" y="28"/>
                                <a:pt x="34" y="30"/>
                                <a:pt x="51" y="31"/>
                              </a:cubicBezTo>
                            </a:path>
                          </a:pathLst>
                        </a:custGeom>
                        <a:noFill/>
                        <a:ln w="28575">
                          <a:solidFill>
                            <a:schemeClr val="accent4">
                              <a:lumMod val="65000"/>
                              <a:lumOff val="35000"/>
                            </a:schemeClr>
                          </a:solidFill>
                          <a:round/>
                          <a:headEnd/>
                          <a:tailEnd/>
                        </a:ln>
                      </p:spPr>
                      <p:txBody>
                        <a:bodyPr wrap="none" anchor="ctr"/>
                        <a:lstStyle/>
                        <a:p>
                          <a:pPr>
                            <a:defRPr/>
                          </a:pPr>
                          <a:endParaRPr lang="pt-BR" sz="700">
                            <a:latin typeface="Arial" charset="0"/>
                          </a:endParaRPr>
                        </a:p>
                      </p:txBody>
                    </p:sp>
                    <p:sp>
                      <p:nvSpPr>
                        <p:cNvPr id="307" name="Oval 306"/>
                        <p:cNvSpPr/>
                        <p:nvPr/>
                      </p:nvSpPr>
                      <p:spPr bwMode="auto">
                        <a:xfrm>
                          <a:off x="7676948" y="3018243"/>
                          <a:ext cx="38864" cy="41062"/>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308" name="Oval 307"/>
                        <p:cNvSpPr/>
                        <p:nvPr/>
                      </p:nvSpPr>
                      <p:spPr bwMode="auto">
                        <a:xfrm>
                          <a:off x="7252768" y="3041459"/>
                          <a:ext cx="36844" cy="39928"/>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p>
                      </p:txBody>
                    </p:sp>
                    <p:sp>
                      <p:nvSpPr>
                        <p:cNvPr id="309" name="Oval 308"/>
                        <p:cNvSpPr/>
                        <p:nvPr/>
                      </p:nvSpPr>
                      <p:spPr bwMode="auto">
                        <a:xfrm>
                          <a:off x="7434531" y="2833102"/>
                          <a:ext cx="37369" cy="41115"/>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310" name="Oval 309"/>
                        <p:cNvSpPr/>
                        <p:nvPr/>
                      </p:nvSpPr>
                      <p:spPr bwMode="auto">
                        <a:xfrm>
                          <a:off x="7330504" y="2913431"/>
                          <a:ext cx="37370" cy="41797"/>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311" name="Oval 310"/>
                        <p:cNvSpPr/>
                        <p:nvPr/>
                      </p:nvSpPr>
                      <p:spPr bwMode="auto">
                        <a:xfrm>
                          <a:off x="7480860" y="2955814"/>
                          <a:ext cx="37733" cy="41116"/>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312" name="Oval 311"/>
                        <p:cNvSpPr/>
                        <p:nvPr/>
                      </p:nvSpPr>
                      <p:spPr bwMode="auto">
                        <a:xfrm>
                          <a:off x="7615584" y="3017434"/>
                          <a:ext cx="37732" cy="40811"/>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313" name="Freeform 155"/>
                        <p:cNvSpPr>
                          <a:spLocks/>
                        </p:cNvSpPr>
                        <p:nvPr/>
                      </p:nvSpPr>
                      <p:spPr bwMode="auto">
                        <a:xfrm>
                          <a:off x="8182096" y="1589189"/>
                          <a:ext cx="290303" cy="266995"/>
                        </a:xfrm>
                        <a:custGeom>
                          <a:avLst/>
                          <a:gdLst>
                            <a:gd name="T0" fmla="*/ 2147483647 w 274"/>
                            <a:gd name="T1" fmla="*/ 2147483647 h 306"/>
                            <a:gd name="T2" fmla="*/ 2147483647 w 274"/>
                            <a:gd name="T3" fmla="*/ 2147483647 h 306"/>
                            <a:gd name="T4" fmla="*/ 2147483647 w 274"/>
                            <a:gd name="T5" fmla="*/ 2147483647 h 306"/>
                            <a:gd name="T6" fmla="*/ 2147483647 w 274"/>
                            <a:gd name="T7" fmla="*/ 2147483647 h 306"/>
                            <a:gd name="T8" fmla="*/ 0 w 274"/>
                            <a:gd name="T9" fmla="*/ 0 h 306"/>
                            <a:gd name="T10" fmla="*/ 0 60000 65536"/>
                            <a:gd name="T11" fmla="*/ 0 60000 65536"/>
                            <a:gd name="T12" fmla="*/ 0 60000 65536"/>
                            <a:gd name="T13" fmla="*/ 0 60000 65536"/>
                            <a:gd name="T14" fmla="*/ 0 60000 65536"/>
                            <a:gd name="T15" fmla="*/ 0 w 274"/>
                            <a:gd name="T16" fmla="*/ 0 h 306"/>
                            <a:gd name="T17" fmla="*/ 274 w 274"/>
                            <a:gd name="T18" fmla="*/ 306 h 306"/>
                          </a:gdLst>
                          <a:ahLst/>
                          <a:cxnLst>
                            <a:cxn ang="T10">
                              <a:pos x="T0" y="T1"/>
                            </a:cxn>
                            <a:cxn ang="T11">
                              <a:pos x="T2" y="T3"/>
                            </a:cxn>
                            <a:cxn ang="T12">
                              <a:pos x="T4" y="T5"/>
                            </a:cxn>
                            <a:cxn ang="T13">
                              <a:pos x="T6" y="T7"/>
                            </a:cxn>
                            <a:cxn ang="T14">
                              <a:pos x="T8" y="T9"/>
                            </a:cxn>
                          </a:cxnLst>
                          <a:rect l="T15" t="T16" r="T17" b="T18"/>
                          <a:pathLst>
                            <a:path w="274" h="306">
                              <a:moveTo>
                                <a:pt x="270" y="306"/>
                              </a:moveTo>
                              <a:cubicBezTo>
                                <a:pt x="266" y="284"/>
                                <a:pt x="274" y="191"/>
                                <a:pt x="262" y="160"/>
                              </a:cubicBezTo>
                              <a:cubicBezTo>
                                <a:pt x="250" y="129"/>
                                <a:pt x="218" y="132"/>
                                <a:pt x="195" y="120"/>
                              </a:cubicBezTo>
                              <a:cubicBezTo>
                                <a:pt x="172" y="108"/>
                                <a:pt x="156" y="108"/>
                                <a:pt x="124" y="88"/>
                              </a:cubicBezTo>
                              <a:lnTo>
                                <a:pt x="0" y="0"/>
                              </a:lnTo>
                            </a:path>
                          </a:pathLst>
                        </a:custGeom>
                        <a:noFill/>
                        <a:ln w="28575">
                          <a:solidFill>
                            <a:srgbClr val="0070C0"/>
                          </a:solidFill>
                          <a:round/>
                          <a:headEnd/>
                          <a:tailEnd/>
                        </a:ln>
                      </p:spPr>
                      <p:txBody>
                        <a:bodyPr wrap="none" anchor="ctr"/>
                        <a:lstStyle/>
                        <a:p>
                          <a:endParaRPr lang="pt-BR"/>
                        </a:p>
                      </p:txBody>
                    </p:sp>
                    <p:sp>
                      <p:nvSpPr>
                        <p:cNvPr id="314" name="Oval 313"/>
                        <p:cNvSpPr/>
                        <p:nvPr/>
                      </p:nvSpPr>
                      <p:spPr bwMode="auto">
                        <a:xfrm>
                          <a:off x="8457186" y="1881559"/>
                          <a:ext cx="37733" cy="41369"/>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315" name="Oval 314"/>
                        <p:cNvSpPr/>
                        <p:nvPr/>
                      </p:nvSpPr>
                      <p:spPr bwMode="auto">
                        <a:xfrm>
                          <a:off x="7488228" y="3143994"/>
                          <a:ext cx="37370" cy="41115"/>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316" name="Text Box 113"/>
                        <p:cNvSpPr txBox="1">
                          <a:spLocks noChangeArrowheads="1"/>
                        </p:cNvSpPr>
                        <p:nvPr/>
                      </p:nvSpPr>
                      <p:spPr bwMode="auto">
                        <a:xfrm>
                          <a:off x="6710704" y="2792771"/>
                          <a:ext cx="449640" cy="72639"/>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Campo Grande</a:t>
                          </a:r>
                        </a:p>
                      </p:txBody>
                    </p:sp>
                    <p:sp>
                      <p:nvSpPr>
                        <p:cNvPr id="317" name="Oval 316"/>
                        <p:cNvSpPr/>
                        <p:nvPr/>
                      </p:nvSpPr>
                      <p:spPr bwMode="auto">
                        <a:xfrm>
                          <a:off x="8425089" y="1701316"/>
                          <a:ext cx="38865" cy="41063"/>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318" name="Oval 317"/>
                        <p:cNvSpPr/>
                        <p:nvPr/>
                      </p:nvSpPr>
                      <p:spPr bwMode="auto">
                        <a:xfrm>
                          <a:off x="8452149" y="1798162"/>
                          <a:ext cx="37733" cy="42118"/>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319" name="Oval 318"/>
                        <p:cNvSpPr/>
                        <p:nvPr/>
                      </p:nvSpPr>
                      <p:spPr bwMode="auto">
                        <a:xfrm>
                          <a:off x="8161248" y="1581865"/>
                          <a:ext cx="37370" cy="41798"/>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320" name="Oval 319"/>
                        <p:cNvSpPr/>
                        <p:nvPr/>
                      </p:nvSpPr>
                      <p:spPr bwMode="auto">
                        <a:xfrm>
                          <a:off x="7892150" y="1715268"/>
                          <a:ext cx="37370" cy="41369"/>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321" name="Oval 320"/>
                        <p:cNvSpPr/>
                        <p:nvPr/>
                      </p:nvSpPr>
                      <p:spPr bwMode="auto">
                        <a:xfrm>
                          <a:off x="7757374" y="1484585"/>
                          <a:ext cx="37370" cy="41115"/>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322" name="Oval 321"/>
                        <p:cNvSpPr/>
                        <p:nvPr/>
                      </p:nvSpPr>
                      <p:spPr bwMode="auto">
                        <a:xfrm>
                          <a:off x="7511636" y="1451327"/>
                          <a:ext cx="37733" cy="41314"/>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323" name="Oval 322"/>
                        <p:cNvSpPr/>
                        <p:nvPr/>
                      </p:nvSpPr>
                      <p:spPr bwMode="auto">
                        <a:xfrm>
                          <a:off x="7997050" y="2884497"/>
                          <a:ext cx="37733" cy="41063"/>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324" name="Oval 323"/>
                        <p:cNvSpPr/>
                        <p:nvPr/>
                      </p:nvSpPr>
                      <p:spPr bwMode="auto">
                        <a:xfrm>
                          <a:off x="7936026" y="2962858"/>
                          <a:ext cx="37370" cy="41797"/>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325" name="Oval 324"/>
                        <p:cNvSpPr/>
                        <p:nvPr/>
                      </p:nvSpPr>
                      <p:spPr bwMode="auto">
                        <a:xfrm>
                          <a:off x="7556208" y="2826431"/>
                          <a:ext cx="37370" cy="41314"/>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326" name="Freeform 354"/>
                        <p:cNvSpPr>
                          <a:spLocks noChangeArrowheads="1"/>
                        </p:cNvSpPr>
                        <p:nvPr/>
                      </p:nvSpPr>
                      <p:spPr bwMode="auto">
                        <a:xfrm>
                          <a:off x="7152203" y="2834782"/>
                          <a:ext cx="102183" cy="212120"/>
                        </a:xfrm>
                        <a:custGeom>
                          <a:avLst/>
                          <a:gdLst>
                            <a:gd name="T0" fmla="*/ 44308 w 120770"/>
                            <a:gd name="T1" fmla="*/ 132899 h 232913"/>
                            <a:gd name="T2" fmla="*/ 25319 w 120770"/>
                            <a:gd name="T3" fmla="*/ 113211 h 232913"/>
                            <a:gd name="T4" fmla="*/ 12659 w 120770"/>
                            <a:gd name="T5" fmla="*/ 83678 h 232913"/>
                            <a:gd name="T6" fmla="*/ 9495 w 120770"/>
                            <a:gd name="T7" fmla="*/ 29533 h 232913"/>
                            <a:gd name="T8" fmla="*/ 3165 w 120770"/>
                            <a:gd name="T9" fmla="*/ 14767 h 232913"/>
                            <a:gd name="T10" fmla="*/ 0 w 120770"/>
                            <a:gd name="T11" fmla="*/ 0 h 232913"/>
                            <a:gd name="T12" fmla="*/ 0 60000 65536"/>
                            <a:gd name="T13" fmla="*/ 0 60000 65536"/>
                            <a:gd name="T14" fmla="*/ 0 60000 65536"/>
                            <a:gd name="T15" fmla="*/ 0 60000 65536"/>
                            <a:gd name="T16" fmla="*/ 0 60000 65536"/>
                            <a:gd name="T17" fmla="*/ 0 60000 65536"/>
                            <a:gd name="T18" fmla="*/ 0 w 120770"/>
                            <a:gd name="T19" fmla="*/ 0 h 232913"/>
                            <a:gd name="T20" fmla="*/ 120770 w 120770"/>
                            <a:gd name="T21" fmla="*/ 232913 h 232913"/>
                          </a:gdLst>
                          <a:ahLst/>
                          <a:cxnLst>
                            <a:cxn ang="T12">
                              <a:pos x="T0" y="T1"/>
                            </a:cxn>
                            <a:cxn ang="T13">
                              <a:pos x="T2" y="T3"/>
                            </a:cxn>
                            <a:cxn ang="T14">
                              <a:pos x="T4" y="T5"/>
                            </a:cxn>
                            <a:cxn ang="T15">
                              <a:pos x="T6" y="T7"/>
                            </a:cxn>
                            <a:cxn ang="T16">
                              <a:pos x="T8" y="T9"/>
                            </a:cxn>
                            <a:cxn ang="T17">
                              <a:pos x="T10" y="T11"/>
                            </a:cxn>
                          </a:cxnLst>
                          <a:rect l="T18" t="T19" r="T20" b="T21"/>
                          <a:pathLst>
                            <a:path w="120770" h="232913">
                              <a:moveTo>
                                <a:pt x="120770" y="232913"/>
                              </a:moveTo>
                              <a:cubicBezTo>
                                <a:pt x="103517" y="221411"/>
                                <a:pt x="80514" y="215661"/>
                                <a:pt x="69012" y="198408"/>
                              </a:cubicBezTo>
                              <a:lnTo>
                                <a:pt x="34506" y="146649"/>
                              </a:lnTo>
                              <a:cubicBezTo>
                                <a:pt x="31630" y="115019"/>
                                <a:pt x="32534" y="82814"/>
                                <a:pt x="25879" y="51759"/>
                              </a:cubicBezTo>
                              <a:cubicBezTo>
                                <a:pt x="23707" y="41621"/>
                                <a:pt x="13264" y="35152"/>
                                <a:pt x="8627" y="25879"/>
                              </a:cubicBezTo>
                              <a:cubicBezTo>
                                <a:pt x="4561" y="17746"/>
                                <a:pt x="0" y="0"/>
                                <a:pt x="0" y="0"/>
                              </a:cubicBezTo>
                            </a:path>
                          </a:pathLst>
                        </a:custGeom>
                        <a:solidFill>
                          <a:schemeClr val="bg1"/>
                        </a:solidFill>
                        <a:ln w="28575" algn="ctr">
                          <a:solidFill>
                            <a:srgbClr val="D09E00"/>
                          </a:solidFill>
                          <a:prstDash val="sysDash"/>
                          <a:round/>
                          <a:headEnd/>
                          <a:tailEnd/>
                        </a:ln>
                      </p:spPr>
                      <p:txBody>
                        <a:bodyPr wrap="none" lIns="0" tIns="0" rIns="0" bIns="0" anchor="ctr"/>
                        <a:lstStyle/>
                        <a:p>
                          <a:endParaRPr lang="pt-BR"/>
                        </a:p>
                      </p:txBody>
                    </p:sp>
                    <p:sp>
                      <p:nvSpPr>
                        <p:cNvPr id="327" name="Freeform 357"/>
                        <p:cNvSpPr>
                          <a:spLocks noChangeArrowheads="1"/>
                        </p:cNvSpPr>
                        <p:nvPr/>
                      </p:nvSpPr>
                      <p:spPr bwMode="auto">
                        <a:xfrm flipV="1">
                          <a:off x="7188694" y="2457677"/>
                          <a:ext cx="318018" cy="87938"/>
                        </a:xfrm>
                        <a:custGeom>
                          <a:avLst/>
                          <a:gdLst>
                            <a:gd name="T0" fmla="*/ 0 w 467464"/>
                            <a:gd name="T1" fmla="*/ 575988 h 60385"/>
                            <a:gd name="T2" fmla="*/ 11118 w 467464"/>
                            <a:gd name="T3" fmla="*/ 411425 h 60385"/>
                            <a:gd name="T4" fmla="*/ 23090 w 467464"/>
                            <a:gd name="T5" fmla="*/ 329140 h 60385"/>
                            <a:gd name="T6" fmla="*/ 41903 w 467464"/>
                            <a:gd name="T7" fmla="*/ 164566 h 60385"/>
                            <a:gd name="T8" fmla="*/ 42759 w 467464"/>
                            <a:gd name="T9" fmla="*/ 0 h 60385"/>
                            <a:gd name="T10" fmla="*/ 0 60000 65536"/>
                            <a:gd name="T11" fmla="*/ 0 60000 65536"/>
                            <a:gd name="T12" fmla="*/ 0 60000 65536"/>
                            <a:gd name="T13" fmla="*/ 0 60000 65536"/>
                            <a:gd name="T14" fmla="*/ 0 60000 65536"/>
                            <a:gd name="T15" fmla="*/ 0 w 467464"/>
                            <a:gd name="T16" fmla="*/ 0 h 60385"/>
                            <a:gd name="T17" fmla="*/ 467464 w 467464"/>
                            <a:gd name="T18" fmla="*/ 60385 h 60385"/>
                          </a:gdLst>
                          <a:ahLst/>
                          <a:cxnLst>
                            <a:cxn ang="T10">
                              <a:pos x="T0" y="T1"/>
                            </a:cxn>
                            <a:cxn ang="T11">
                              <a:pos x="T2" y="T3"/>
                            </a:cxn>
                            <a:cxn ang="T12">
                              <a:pos x="T4" y="T5"/>
                            </a:cxn>
                            <a:cxn ang="T13">
                              <a:pos x="T6" y="T7"/>
                            </a:cxn>
                            <a:cxn ang="T14">
                              <a:pos x="T8" y="T9"/>
                            </a:cxn>
                          </a:cxnLst>
                          <a:rect l="T15" t="T16" r="T17" b="T18"/>
                          <a:pathLst>
                            <a:path w="467464" h="60385">
                              <a:moveTo>
                                <a:pt x="0" y="60385"/>
                              </a:moveTo>
                              <a:cubicBezTo>
                                <a:pt x="51295" y="43288"/>
                                <a:pt x="23189" y="50545"/>
                                <a:pt x="112144" y="43132"/>
                              </a:cubicBezTo>
                              <a:cubicBezTo>
                                <a:pt x="152364" y="39780"/>
                                <a:pt x="192657" y="37381"/>
                                <a:pt x="232914" y="34506"/>
                              </a:cubicBezTo>
                              <a:cubicBezTo>
                                <a:pt x="327509" y="10858"/>
                                <a:pt x="212733" y="37250"/>
                                <a:pt x="422695" y="17253"/>
                              </a:cubicBezTo>
                              <a:cubicBezTo>
                                <a:pt x="467464" y="12989"/>
                                <a:pt x="447663" y="8171"/>
                                <a:pt x="431321" y="0"/>
                              </a:cubicBezTo>
                            </a:path>
                          </a:pathLst>
                        </a:custGeom>
                        <a:solidFill>
                          <a:schemeClr val="bg1"/>
                        </a:solidFill>
                        <a:ln w="28575" algn="ctr">
                          <a:solidFill>
                            <a:srgbClr val="D09E00"/>
                          </a:solidFill>
                          <a:prstDash val="sysDash"/>
                          <a:round/>
                          <a:headEnd/>
                          <a:tailEnd/>
                        </a:ln>
                      </p:spPr>
                      <p:txBody>
                        <a:bodyPr wrap="none" lIns="0" tIns="0" rIns="0" bIns="0" anchor="ctr"/>
                        <a:lstStyle/>
                        <a:p>
                          <a:endParaRPr lang="pt-BR"/>
                        </a:p>
                      </p:txBody>
                    </p:sp>
                    <p:sp>
                      <p:nvSpPr>
                        <p:cNvPr id="328" name="Freeform 358"/>
                        <p:cNvSpPr>
                          <a:spLocks noChangeArrowheads="1"/>
                        </p:cNvSpPr>
                        <p:nvPr/>
                      </p:nvSpPr>
                      <p:spPr bwMode="auto">
                        <a:xfrm>
                          <a:off x="8093744" y="2426254"/>
                          <a:ext cx="73149" cy="337822"/>
                        </a:xfrm>
                        <a:custGeom>
                          <a:avLst/>
                          <a:gdLst>
                            <a:gd name="T0" fmla="*/ 0 w 86455"/>
                            <a:gd name="T1" fmla="*/ 211660 h 370935"/>
                            <a:gd name="T2" fmla="*/ 9495 w 86455"/>
                            <a:gd name="T3" fmla="*/ 201815 h 370935"/>
                            <a:gd name="T4" fmla="*/ 12658 w 86455"/>
                            <a:gd name="T5" fmla="*/ 187049 h 370935"/>
                            <a:gd name="T6" fmla="*/ 15824 w 86455"/>
                            <a:gd name="T7" fmla="*/ 147670 h 370935"/>
                            <a:gd name="T8" fmla="*/ 22153 w 86455"/>
                            <a:gd name="T9" fmla="*/ 113213 h 370935"/>
                            <a:gd name="T10" fmla="*/ 28483 w 86455"/>
                            <a:gd name="T11" fmla="*/ 78757 h 370935"/>
                            <a:gd name="T12" fmla="*/ 31647 w 86455"/>
                            <a:gd name="T13" fmla="*/ 0 h 370935"/>
                            <a:gd name="T14" fmla="*/ 0 60000 65536"/>
                            <a:gd name="T15" fmla="*/ 0 60000 65536"/>
                            <a:gd name="T16" fmla="*/ 0 60000 65536"/>
                            <a:gd name="T17" fmla="*/ 0 60000 65536"/>
                            <a:gd name="T18" fmla="*/ 0 60000 65536"/>
                            <a:gd name="T19" fmla="*/ 0 60000 65536"/>
                            <a:gd name="T20" fmla="*/ 0 60000 65536"/>
                            <a:gd name="T21" fmla="*/ 0 w 86455"/>
                            <a:gd name="T22" fmla="*/ 0 h 370935"/>
                            <a:gd name="T23" fmla="*/ 86455 w 86455"/>
                            <a:gd name="T24" fmla="*/ 370935 h 3709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6455" h="370935">
                              <a:moveTo>
                                <a:pt x="0" y="370935"/>
                              </a:moveTo>
                              <a:cubicBezTo>
                                <a:pt x="8626" y="365184"/>
                                <a:pt x="19403" y="361779"/>
                                <a:pt x="25879" y="353683"/>
                              </a:cubicBezTo>
                              <a:cubicBezTo>
                                <a:pt x="31559" y="346582"/>
                                <a:pt x="32878" y="336750"/>
                                <a:pt x="34505" y="327803"/>
                              </a:cubicBezTo>
                              <a:cubicBezTo>
                                <a:pt x="38652" y="304994"/>
                                <a:pt x="39321" y="281659"/>
                                <a:pt x="43132" y="258792"/>
                              </a:cubicBezTo>
                              <a:cubicBezTo>
                                <a:pt x="48528" y="226415"/>
                                <a:pt x="52177" y="227135"/>
                                <a:pt x="60385" y="198407"/>
                              </a:cubicBezTo>
                              <a:cubicBezTo>
                                <a:pt x="82049" y="122584"/>
                                <a:pt x="56953" y="200071"/>
                                <a:pt x="77638" y="138022"/>
                              </a:cubicBezTo>
                              <a:cubicBezTo>
                                <a:pt x="86455" y="5757"/>
                                <a:pt x="86264" y="51854"/>
                                <a:pt x="86264" y="0"/>
                              </a:cubicBezTo>
                            </a:path>
                          </a:pathLst>
                        </a:custGeom>
                        <a:solidFill>
                          <a:schemeClr val="bg1"/>
                        </a:solidFill>
                        <a:ln w="28575" algn="ctr">
                          <a:solidFill>
                            <a:srgbClr val="D09E00"/>
                          </a:solidFill>
                          <a:prstDash val="sysDash"/>
                          <a:round/>
                          <a:headEnd/>
                          <a:tailEnd/>
                        </a:ln>
                      </p:spPr>
                      <p:txBody>
                        <a:bodyPr wrap="none" lIns="0" tIns="0" rIns="0" bIns="0" anchor="ctr"/>
                        <a:lstStyle/>
                        <a:p>
                          <a:endParaRPr lang="pt-BR"/>
                        </a:p>
                      </p:txBody>
                    </p:sp>
                    <p:sp>
                      <p:nvSpPr>
                        <p:cNvPr id="329" name="Freeform 360"/>
                        <p:cNvSpPr>
                          <a:spLocks noChangeArrowheads="1"/>
                        </p:cNvSpPr>
                        <p:nvPr/>
                      </p:nvSpPr>
                      <p:spPr bwMode="auto">
                        <a:xfrm>
                          <a:off x="8187562" y="2245338"/>
                          <a:ext cx="71002" cy="185127"/>
                        </a:xfrm>
                        <a:custGeom>
                          <a:avLst/>
                          <a:gdLst>
                            <a:gd name="T0" fmla="*/ 1238 w 92199"/>
                            <a:gd name="T1" fmla="*/ 593504 h 146649"/>
                            <a:gd name="T2" fmla="*/ 3037 w 92199"/>
                            <a:gd name="T3" fmla="*/ 244384 h 146649"/>
                            <a:gd name="T4" fmla="*/ 13832 w 92199"/>
                            <a:gd name="T5" fmla="*/ 174558 h 146649"/>
                            <a:gd name="T6" fmla="*/ 19230 w 92199"/>
                            <a:gd name="T7" fmla="*/ 0 h 146649"/>
                            <a:gd name="T8" fmla="*/ 0 60000 65536"/>
                            <a:gd name="T9" fmla="*/ 0 60000 65536"/>
                            <a:gd name="T10" fmla="*/ 0 60000 65536"/>
                            <a:gd name="T11" fmla="*/ 0 60000 65536"/>
                            <a:gd name="T12" fmla="*/ 0 w 92199"/>
                            <a:gd name="T13" fmla="*/ 0 h 146649"/>
                            <a:gd name="T14" fmla="*/ 92199 w 92199"/>
                            <a:gd name="T15" fmla="*/ 146649 h 146649"/>
                          </a:gdLst>
                          <a:ahLst/>
                          <a:cxnLst>
                            <a:cxn ang="T8">
                              <a:pos x="T0" y="T1"/>
                            </a:cxn>
                            <a:cxn ang="T9">
                              <a:pos x="T2" y="T3"/>
                            </a:cxn>
                            <a:cxn ang="T10">
                              <a:pos x="T4" y="T5"/>
                            </a:cxn>
                            <a:cxn ang="T11">
                              <a:pos x="T6" y="T7"/>
                            </a:cxn>
                          </a:cxnLst>
                          <a:rect l="T12" t="T13" r="T14" b="T15"/>
                          <a:pathLst>
                            <a:path w="92199" h="146649">
                              <a:moveTo>
                                <a:pt x="5935" y="146649"/>
                              </a:moveTo>
                              <a:cubicBezTo>
                                <a:pt x="8810" y="117894"/>
                                <a:pt x="0" y="85347"/>
                                <a:pt x="14561" y="60385"/>
                              </a:cubicBezTo>
                              <a:cubicBezTo>
                                <a:pt x="23725" y="44676"/>
                                <a:pt x="66320" y="43132"/>
                                <a:pt x="66320" y="43132"/>
                              </a:cubicBezTo>
                              <a:cubicBezTo>
                                <a:pt x="87139" y="11903"/>
                                <a:pt x="78935" y="26526"/>
                                <a:pt x="92199" y="0"/>
                              </a:cubicBezTo>
                            </a:path>
                          </a:pathLst>
                        </a:custGeom>
                        <a:solidFill>
                          <a:schemeClr val="bg1"/>
                        </a:solidFill>
                        <a:ln w="28575" algn="ctr">
                          <a:solidFill>
                            <a:srgbClr val="D09E00"/>
                          </a:solidFill>
                          <a:prstDash val="sysDash"/>
                          <a:round/>
                          <a:headEnd/>
                          <a:tailEnd/>
                        </a:ln>
                      </p:spPr>
                      <p:txBody>
                        <a:bodyPr wrap="none" lIns="0" tIns="0" rIns="0" bIns="0" anchor="ctr"/>
                        <a:lstStyle/>
                        <a:p>
                          <a:endParaRPr lang="pt-BR"/>
                        </a:p>
                      </p:txBody>
                    </p:sp>
                    <p:sp>
                      <p:nvSpPr>
                        <p:cNvPr id="330" name="Freeform 361"/>
                        <p:cNvSpPr>
                          <a:spLocks noChangeArrowheads="1"/>
                        </p:cNvSpPr>
                        <p:nvPr/>
                      </p:nvSpPr>
                      <p:spPr bwMode="auto">
                        <a:xfrm>
                          <a:off x="7447779" y="2825498"/>
                          <a:ext cx="123444" cy="35378"/>
                        </a:xfrm>
                        <a:custGeom>
                          <a:avLst/>
                          <a:gdLst>
                            <a:gd name="T0" fmla="*/ 123444 w 123444"/>
                            <a:gd name="T1" fmla="*/ 0 h 35378"/>
                            <a:gd name="T2" fmla="*/ 96012 w 123444"/>
                            <a:gd name="T3" fmla="*/ 9144 h 35378"/>
                            <a:gd name="T4" fmla="*/ 82296 w 123444"/>
                            <a:gd name="T5" fmla="*/ 13716 h 35378"/>
                            <a:gd name="T6" fmla="*/ 59436 w 123444"/>
                            <a:gd name="T7" fmla="*/ 18288 h 35378"/>
                            <a:gd name="T8" fmla="*/ 45720 w 123444"/>
                            <a:gd name="T9" fmla="*/ 27432 h 35378"/>
                            <a:gd name="T10" fmla="*/ 0 w 123444"/>
                            <a:gd name="T11" fmla="*/ 32004 h 35378"/>
                            <a:gd name="T12" fmla="*/ 0 60000 65536"/>
                            <a:gd name="T13" fmla="*/ 0 60000 65536"/>
                            <a:gd name="T14" fmla="*/ 0 60000 65536"/>
                            <a:gd name="T15" fmla="*/ 0 60000 65536"/>
                            <a:gd name="T16" fmla="*/ 0 60000 65536"/>
                            <a:gd name="T17" fmla="*/ 0 60000 65536"/>
                            <a:gd name="T18" fmla="*/ 0 w 123444"/>
                            <a:gd name="T19" fmla="*/ 0 h 35378"/>
                            <a:gd name="T20" fmla="*/ 123444 w 123444"/>
                            <a:gd name="T21" fmla="*/ 35378 h 35378"/>
                          </a:gdLst>
                          <a:ahLst/>
                          <a:cxnLst>
                            <a:cxn ang="T12">
                              <a:pos x="T0" y="T1"/>
                            </a:cxn>
                            <a:cxn ang="T13">
                              <a:pos x="T2" y="T3"/>
                            </a:cxn>
                            <a:cxn ang="T14">
                              <a:pos x="T4" y="T5"/>
                            </a:cxn>
                            <a:cxn ang="T15">
                              <a:pos x="T6" y="T7"/>
                            </a:cxn>
                            <a:cxn ang="T16">
                              <a:pos x="T8" y="T9"/>
                            </a:cxn>
                            <a:cxn ang="T17">
                              <a:pos x="T10" y="T11"/>
                            </a:cxn>
                          </a:cxnLst>
                          <a:rect l="T18" t="T19" r="T20" b="T21"/>
                          <a:pathLst>
                            <a:path w="123444" h="35378">
                              <a:moveTo>
                                <a:pt x="123444" y="0"/>
                              </a:moveTo>
                              <a:lnTo>
                                <a:pt x="96012" y="9144"/>
                              </a:lnTo>
                              <a:cubicBezTo>
                                <a:pt x="91440" y="10668"/>
                                <a:pt x="87022" y="12771"/>
                                <a:pt x="82296" y="13716"/>
                              </a:cubicBezTo>
                              <a:lnTo>
                                <a:pt x="59436" y="18288"/>
                              </a:lnTo>
                              <a:cubicBezTo>
                                <a:pt x="54864" y="21336"/>
                                <a:pt x="50635" y="24975"/>
                                <a:pt x="45720" y="27432"/>
                              </a:cubicBezTo>
                              <a:cubicBezTo>
                                <a:pt x="29829" y="35378"/>
                                <a:pt x="19235" y="32004"/>
                                <a:pt x="0" y="32004"/>
                              </a:cubicBezTo>
                            </a:path>
                          </a:pathLst>
                        </a:custGeom>
                        <a:solidFill>
                          <a:schemeClr val="bg1"/>
                        </a:solidFill>
                        <a:ln w="28575" algn="ctr">
                          <a:solidFill>
                            <a:srgbClr val="D09E00"/>
                          </a:solidFill>
                          <a:prstDash val="sysDash"/>
                          <a:round/>
                          <a:headEnd/>
                          <a:tailEnd/>
                        </a:ln>
                      </p:spPr>
                      <p:txBody>
                        <a:bodyPr wrap="none" lIns="0" tIns="0" rIns="0" bIns="0" anchor="ctr"/>
                        <a:lstStyle/>
                        <a:p>
                          <a:endParaRPr lang="pt-BR"/>
                        </a:p>
                      </p:txBody>
                    </p:sp>
                    <p:sp>
                      <p:nvSpPr>
                        <p:cNvPr id="331" name="Freeform 362"/>
                        <p:cNvSpPr>
                          <a:spLocks noChangeArrowheads="1"/>
                        </p:cNvSpPr>
                        <p:nvPr/>
                      </p:nvSpPr>
                      <p:spPr bwMode="auto">
                        <a:xfrm>
                          <a:off x="7351767" y="2857501"/>
                          <a:ext cx="91440" cy="74420"/>
                        </a:xfrm>
                        <a:custGeom>
                          <a:avLst/>
                          <a:gdLst>
                            <a:gd name="T0" fmla="*/ 91440 w 91440"/>
                            <a:gd name="T1" fmla="*/ 0 h 74420"/>
                            <a:gd name="T2" fmla="*/ 73152 w 91440"/>
                            <a:gd name="T3" fmla="*/ 4572 h 74420"/>
                            <a:gd name="T4" fmla="*/ 45720 w 91440"/>
                            <a:gd name="T5" fmla="*/ 22860 h 74420"/>
                            <a:gd name="T6" fmla="*/ 13716 w 91440"/>
                            <a:gd name="T7" fmla="*/ 59436 h 74420"/>
                            <a:gd name="T8" fmla="*/ 0 w 91440"/>
                            <a:gd name="T9" fmla="*/ 73152 h 74420"/>
                            <a:gd name="T10" fmla="*/ 0 60000 65536"/>
                            <a:gd name="T11" fmla="*/ 0 60000 65536"/>
                            <a:gd name="T12" fmla="*/ 0 60000 65536"/>
                            <a:gd name="T13" fmla="*/ 0 60000 65536"/>
                            <a:gd name="T14" fmla="*/ 0 60000 65536"/>
                            <a:gd name="T15" fmla="*/ 0 w 91440"/>
                            <a:gd name="T16" fmla="*/ 0 h 74420"/>
                            <a:gd name="T17" fmla="*/ 91440 w 91440"/>
                            <a:gd name="T18" fmla="*/ 74420 h 74420"/>
                          </a:gdLst>
                          <a:ahLst/>
                          <a:cxnLst>
                            <a:cxn ang="T10">
                              <a:pos x="T0" y="T1"/>
                            </a:cxn>
                            <a:cxn ang="T11">
                              <a:pos x="T2" y="T3"/>
                            </a:cxn>
                            <a:cxn ang="T12">
                              <a:pos x="T4" y="T5"/>
                            </a:cxn>
                            <a:cxn ang="T13">
                              <a:pos x="T6" y="T7"/>
                            </a:cxn>
                            <a:cxn ang="T14">
                              <a:pos x="T8" y="T9"/>
                            </a:cxn>
                          </a:cxnLst>
                          <a:rect l="T15" t="T16" r="T17" b="T18"/>
                          <a:pathLst>
                            <a:path w="91440" h="74420">
                              <a:moveTo>
                                <a:pt x="91440" y="0"/>
                              </a:moveTo>
                              <a:cubicBezTo>
                                <a:pt x="85344" y="1524"/>
                                <a:pt x="78772" y="1762"/>
                                <a:pt x="73152" y="4572"/>
                              </a:cubicBezTo>
                              <a:cubicBezTo>
                                <a:pt x="63322" y="9487"/>
                                <a:pt x="45720" y="22860"/>
                                <a:pt x="45720" y="22860"/>
                              </a:cubicBezTo>
                              <a:cubicBezTo>
                                <a:pt x="24384" y="54864"/>
                                <a:pt x="36576" y="44196"/>
                                <a:pt x="13716" y="59436"/>
                              </a:cubicBezTo>
                              <a:cubicBezTo>
                                <a:pt x="3727" y="74420"/>
                                <a:pt x="10067" y="73152"/>
                                <a:pt x="0" y="73152"/>
                              </a:cubicBezTo>
                            </a:path>
                          </a:pathLst>
                        </a:custGeom>
                        <a:solidFill>
                          <a:schemeClr val="bg1"/>
                        </a:solidFill>
                        <a:ln w="28575" algn="ctr">
                          <a:solidFill>
                            <a:srgbClr val="D09E00"/>
                          </a:solidFill>
                          <a:prstDash val="sysDash"/>
                          <a:round/>
                          <a:headEnd/>
                          <a:tailEnd/>
                        </a:ln>
                      </p:spPr>
                      <p:txBody>
                        <a:bodyPr wrap="none" lIns="0" tIns="0" rIns="0" bIns="0" anchor="ctr"/>
                        <a:lstStyle/>
                        <a:p>
                          <a:endParaRPr lang="pt-BR"/>
                        </a:p>
                      </p:txBody>
                    </p:sp>
                    <p:sp>
                      <p:nvSpPr>
                        <p:cNvPr id="332" name="Freeform 363"/>
                        <p:cNvSpPr>
                          <a:spLocks noChangeArrowheads="1"/>
                        </p:cNvSpPr>
                        <p:nvPr/>
                      </p:nvSpPr>
                      <p:spPr bwMode="auto">
                        <a:xfrm>
                          <a:off x="7463180" y="2966456"/>
                          <a:ext cx="158334" cy="47461"/>
                        </a:xfrm>
                        <a:custGeom>
                          <a:avLst/>
                          <a:gdLst>
                            <a:gd name="T0" fmla="*/ 25746 w 158334"/>
                            <a:gd name="T1" fmla="*/ 9919 h 47461"/>
                            <a:gd name="T2" fmla="*/ 53178 w 158334"/>
                            <a:gd name="T3" fmla="*/ 23635 h 47461"/>
                            <a:gd name="T4" fmla="*/ 80610 w 158334"/>
                            <a:gd name="T5" fmla="*/ 32779 h 47461"/>
                            <a:gd name="T6" fmla="*/ 94326 w 158334"/>
                            <a:gd name="T7" fmla="*/ 37351 h 47461"/>
                            <a:gd name="T8" fmla="*/ 108042 w 158334"/>
                            <a:gd name="T9" fmla="*/ 41923 h 47461"/>
                            <a:gd name="T10" fmla="*/ 126330 w 158334"/>
                            <a:gd name="T11" fmla="*/ 46495 h 47461"/>
                            <a:gd name="T12" fmla="*/ 158334 w 158334"/>
                            <a:gd name="T13" fmla="*/ 46495 h 47461"/>
                            <a:gd name="T14" fmla="*/ 0 60000 65536"/>
                            <a:gd name="T15" fmla="*/ 0 60000 65536"/>
                            <a:gd name="T16" fmla="*/ 0 60000 65536"/>
                            <a:gd name="T17" fmla="*/ 0 60000 65536"/>
                            <a:gd name="T18" fmla="*/ 0 60000 65536"/>
                            <a:gd name="T19" fmla="*/ 0 60000 65536"/>
                            <a:gd name="T20" fmla="*/ 0 60000 65536"/>
                            <a:gd name="T21" fmla="*/ 0 w 158334"/>
                            <a:gd name="T22" fmla="*/ 0 h 47461"/>
                            <a:gd name="T23" fmla="*/ 158334 w 158334"/>
                            <a:gd name="T24" fmla="*/ 47461 h 4746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334" h="47461">
                              <a:moveTo>
                                <a:pt x="25746" y="9919"/>
                              </a:moveTo>
                              <a:cubicBezTo>
                                <a:pt x="75768" y="26593"/>
                                <a:pt x="0" y="0"/>
                                <a:pt x="53178" y="23635"/>
                              </a:cubicBezTo>
                              <a:cubicBezTo>
                                <a:pt x="61986" y="27550"/>
                                <a:pt x="71466" y="29731"/>
                                <a:pt x="80610" y="32779"/>
                              </a:cubicBezTo>
                              <a:lnTo>
                                <a:pt x="94326" y="37351"/>
                              </a:lnTo>
                              <a:cubicBezTo>
                                <a:pt x="98898" y="38875"/>
                                <a:pt x="103367" y="40754"/>
                                <a:pt x="108042" y="41923"/>
                              </a:cubicBezTo>
                              <a:cubicBezTo>
                                <a:pt x="114138" y="43447"/>
                                <a:pt x="120072" y="45926"/>
                                <a:pt x="126330" y="46495"/>
                              </a:cubicBezTo>
                              <a:cubicBezTo>
                                <a:pt x="136954" y="47461"/>
                                <a:pt x="147666" y="46495"/>
                                <a:pt x="158334" y="46495"/>
                              </a:cubicBezTo>
                            </a:path>
                          </a:pathLst>
                        </a:custGeom>
                        <a:solidFill>
                          <a:schemeClr val="bg1"/>
                        </a:solidFill>
                        <a:ln w="28575" algn="ctr">
                          <a:solidFill>
                            <a:srgbClr val="D09E00"/>
                          </a:solidFill>
                          <a:prstDash val="sysDash"/>
                          <a:round/>
                          <a:headEnd/>
                          <a:tailEnd/>
                        </a:ln>
                      </p:spPr>
                      <p:txBody>
                        <a:bodyPr wrap="none" lIns="0" tIns="0" rIns="0" bIns="0" anchor="ctr"/>
                        <a:lstStyle/>
                        <a:p>
                          <a:endParaRPr lang="pt-BR"/>
                        </a:p>
                      </p:txBody>
                    </p:sp>
                    <p:sp>
                      <p:nvSpPr>
                        <p:cNvPr id="333" name="Freeform 364"/>
                        <p:cNvSpPr>
                          <a:spLocks noChangeArrowheads="1"/>
                        </p:cNvSpPr>
                        <p:nvPr/>
                      </p:nvSpPr>
                      <p:spPr bwMode="auto">
                        <a:xfrm>
                          <a:off x="7342623" y="2930654"/>
                          <a:ext cx="137646" cy="42112"/>
                        </a:xfrm>
                        <a:custGeom>
                          <a:avLst/>
                          <a:gdLst>
                            <a:gd name="T0" fmla="*/ 0 w 137646"/>
                            <a:gd name="T1" fmla="*/ 0 h 42112"/>
                            <a:gd name="T2" fmla="*/ 27432 w 137646"/>
                            <a:gd name="T3" fmla="*/ 9144 h 42112"/>
                            <a:gd name="T4" fmla="*/ 41148 w 137646"/>
                            <a:gd name="T5" fmla="*/ 22860 h 42112"/>
                            <a:gd name="T6" fmla="*/ 77724 w 137646"/>
                            <a:gd name="T7" fmla="*/ 27432 h 42112"/>
                            <a:gd name="T8" fmla="*/ 100584 w 137646"/>
                            <a:gd name="T9" fmla="*/ 32004 h 42112"/>
                            <a:gd name="T10" fmla="*/ 137160 w 137646"/>
                            <a:gd name="T11" fmla="*/ 41148 h 42112"/>
                            <a:gd name="T12" fmla="*/ 0 60000 65536"/>
                            <a:gd name="T13" fmla="*/ 0 60000 65536"/>
                            <a:gd name="T14" fmla="*/ 0 60000 65536"/>
                            <a:gd name="T15" fmla="*/ 0 60000 65536"/>
                            <a:gd name="T16" fmla="*/ 0 60000 65536"/>
                            <a:gd name="T17" fmla="*/ 0 60000 65536"/>
                            <a:gd name="T18" fmla="*/ 0 w 137646"/>
                            <a:gd name="T19" fmla="*/ 0 h 42112"/>
                            <a:gd name="T20" fmla="*/ 137646 w 137646"/>
                            <a:gd name="T21" fmla="*/ 42112 h 42112"/>
                          </a:gdLst>
                          <a:ahLst/>
                          <a:cxnLst>
                            <a:cxn ang="T12">
                              <a:pos x="T0" y="T1"/>
                            </a:cxn>
                            <a:cxn ang="T13">
                              <a:pos x="T2" y="T3"/>
                            </a:cxn>
                            <a:cxn ang="T14">
                              <a:pos x="T4" y="T5"/>
                            </a:cxn>
                            <a:cxn ang="T15">
                              <a:pos x="T6" y="T7"/>
                            </a:cxn>
                            <a:cxn ang="T16">
                              <a:pos x="T8" y="T9"/>
                            </a:cxn>
                            <a:cxn ang="T17">
                              <a:pos x="T10" y="T11"/>
                            </a:cxn>
                          </a:cxnLst>
                          <a:rect l="T18" t="T19" r="T20" b="T21"/>
                          <a:pathLst>
                            <a:path w="137646" h="42112">
                              <a:moveTo>
                                <a:pt x="0" y="0"/>
                              </a:moveTo>
                              <a:cubicBezTo>
                                <a:pt x="9144" y="3048"/>
                                <a:pt x="20616" y="2328"/>
                                <a:pt x="27432" y="9144"/>
                              </a:cubicBezTo>
                              <a:cubicBezTo>
                                <a:pt x="32004" y="13716"/>
                                <a:pt x="35071" y="20650"/>
                                <a:pt x="41148" y="22860"/>
                              </a:cubicBezTo>
                              <a:cubicBezTo>
                                <a:pt x="52695" y="27059"/>
                                <a:pt x="65580" y="25564"/>
                                <a:pt x="77724" y="27432"/>
                              </a:cubicBezTo>
                              <a:cubicBezTo>
                                <a:pt x="85405" y="28614"/>
                                <a:pt x="93087" y="29959"/>
                                <a:pt x="100584" y="32004"/>
                              </a:cubicBezTo>
                              <a:cubicBezTo>
                                <a:pt x="137646" y="42112"/>
                                <a:pt x="116246" y="41148"/>
                                <a:pt x="137160" y="41148"/>
                              </a:cubicBezTo>
                            </a:path>
                          </a:pathLst>
                        </a:custGeom>
                        <a:solidFill>
                          <a:schemeClr val="bg1"/>
                        </a:solidFill>
                        <a:ln w="28575" algn="ctr">
                          <a:solidFill>
                            <a:srgbClr val="D09E00"/>
                          </a:solidFill>
                          <a:prstDash val="sysDash"/>
                          <a:round/>
                          <a:headEnd/>
                          <a:tailEnd/>
                        </a:ln>
                      </p:spPr>
                      <p:txBody>
                        <a:bodyPr wrap="none" lIns="0" tIns="0" rIns="0" bIns="0" anchor="ctr"/>
                        <a:lstStyle/>
                        <a:p>
                          <a:endParaRPr lang="pt-BR"/>
                        </a:p>
                      </p:txBody>
                    </p:sp>
                    <p:sp>
                      <p:nvSpPr>
                        <p:cNvPr id="334" name="Oval 333"/>
                        <p:cNvSpPr/>
                        <p:nvPr/>
                      </p:nvSpPr>
                      <p:spPr bwMode="auto">
                        <a:xfrm>
                          <a:off x="8248181" y="2248989"/>
                          <a:ext cx="37370" cy="42118"/>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335" name="Oval 334"/>
                        <p:cNvSpPr/>
                        <p:nvPr/>
                      </p:nvSpPr>
                      <p:spPr bwMode="auto">
                        <a:xfrm>
                          <a:off x="8161898" y="2419939"/>
                          <a:ext cx="38865" cy="41116"/>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336" name="Oval 335"/>
                        <p:cNvSpPr/>
                        <p:nvPr/>
                      </p:nvSpPr>
                      <p:spPr bwMode="auto">
                        <a:xfrm>
                          <a:off x="8080697" y="2768987"/>
                          <a:ext cx="37370" cy="41314"/>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337" name="Oval 336"/>
                        <p:cNvSpPr/>
                        <p:nvPr/>
                      </p:nvSpPr>
                      <p:spPr bwMode="auto">
                        <a:xfrm>
                          <a:off x="7766070" y="2660476"/>
                          <a:ext cx="38865" cy="41314"/>
                        </a:xfrm>
                        <a:prstGeom prst="ellipse">
                          <a:avLst/>
                        </a:prstGeom>
                        <a:solidFill>
                          <a:srgbClr val="0000FF"/>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graphicFrame>
                      <p:nvGraphicFramePr>
                        <p:cNvPr id="338" name="Object 21"/>
                        <p:cNvGraphicFramePr>
                          <a:graphicFrameLocks noChangeAspect="1"/>
                        </p:cNvGraphicFramePr>
                        <p:nvPr/>
                      </p:nvGraphicFramePr>
                      <p:xfrm>
                        <a:off x="6983608" y="2275410"/>
                        <a:ext cx="51961" cy="52696"/>
                      </p:xfrm>
                      <a:graphic>
                        <a:graphicData uri="http://schemas.openxmlformats.org/presentationml/2006/ole">
                          <p:oleObj spid="_x0000_s2100626" r:id="rId26" imgW="312983" imgH="312983" progId="">
                            <p:embed/>
                          </p:oleObj>
                        </a:graphicData>
                      </a:graphic>
                    </p:graphicFrame>
                    <p:sp>
                      <p:nvSpPr>
                        <p:cNvPr id="339" name="Oval 338"/>
                        <p:cNvSpPr/>
                        <p:nvPr/>
                      </p:nvSpPr>
                      <p:spPr bwMode="auto">
                        <a:xfrm>
                          <a:off x="7157688" y="2434528"/>
                          <a:ext cx="37733" cy="41062"/>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340" name="Oval 339"/>
                        <p:cNvSpPr/>
                        <p:nvPr/>
                      </p:nvSpPr>
                      <p:spPr bwMode="auto">
                        <a:xfrm>
                          <a:off x="7124825" y="2820013"/>
                          <a:ext cx="37733" cy="42056"/>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341" name="Oval 340"/>
                        <p:cNvSpPr/>
                        <p:nvPr/>
                      </p:nvSpPr>
                      <p:spPr bwMode="auto">
                        <a:xfrm>
                          <a:off x="7033804" y="1572803"/>
                          <a:ext cx="37370" cy="41623"/>
                        </a:xfrm>
                        <a:prstGeom prst="ellipse">
                          <a:avLst/>
                        </a:prstGeom>
                        <a:solidFill>
                          <a:srgbClr val="FF0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342" name="Oval 341"/>
                        <p:cNvSpPr/>
                        <p:nvPr/>
                      </p:nvSpPr>
                      <p:spPr bwMode="auto">
                        <a:xfrm>
                          <a:off x="6196327" y="2128531"/>
                          <a:ext cx="38864" cy="41369"/>
                        </a:xfrm>
                        <a:prstGeom prst="ellipse">
                          <a:avLst/>
                        </a:prstGeom>
                        <a:solidFill>
                          <a:srgbClr val="FF0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grpSp>
                </p:grpSp>
                <p:grpSp>
                  <p:nvGrpSpPr>
                    <p:cNvPr id="190" name="Group 244"/>
                    <p:cNvGrpSpPr>
                      <a:grpSpLocks/>
                    </p:cNvGrpSpPr>
                    <p:nvPr/>
                  </p:nvGrpSpPr>
                  <p:grpSpPr bwMode="auto">
                    <a:xfrm>
                      <a:off x="6217873" y="4423207"/>
                      <a:ext cx="1205853" cy="654090"/>
                      <a:chOff x="6704919" y="4366260"/>
                      <a:chExt cx="1231311" cy="642468"/>
                    </a:xfrm>
                  </p:grpSpPr>
                  <p:sp>
                    <p:nvSpPr>
                      <p:cNvPr id="195" name="Freeform 205"/>
                      <p:cNvSpPr>
                        <a:spLocks noChangeArrowheads="1"/>
                      </p:cNvSpPr>
                      <p:nvPr/>
                    </p:nvSpPr>
                    <p:spPr bwMode="auto">
                      <a:xfrm>
                        <a:off x="7799070" y="4366260"/>
                        <a:ext cx="137160" cy="202828"/>
                      </a:xfrm>
                      <a:custGeom>
                        <a:avLst/>
                        <a:gdLst>
                          <a:gd name="T0" fmla="*/ 137160 w 137160"/>
                          <a:gd name="T1" fmla="*/ 0 h 202828"/>
                          <a:gd name="T2" fmla="*/ 129540 w 137160"/>
                          <a:gd name="T3" fmla="*/ 11430 h 202828"/>
                          <a:gd name="T4" fmla="*/ 114300 w 137160"/>
                          <a:gd name="T5" fmla="*/ 22860 h 202828"/>
                          <a:gd name="T6" fmla="*/ 110490 w 137160"/>
                          <a:gd name="T7" fmla="*/ 34290 h 202828"/>
                          <a:gd name="T8" fmla="*/ 95250 w 137160"/>
                          <a:gd name="T9" fmla="*/ 64770 h 202828"/>
                          <a:gd name="T10" fmla="*/ 80010 w 137160"/>
                          <a:gd name="T11" fmla="*/ 87630 h 202828"/>
                          <a:gd name="T12" fmla="*/ 72390 w 137160"/>
                          <a:gd name="T13" fmla="*/ 99060 h 202828"/>
                          <a:gd name="T14" fmla="*/ 60960 w 137160"/>
                          <a:gd name="T15" fmla="*/ 118110 h 202828"/>
                          <a:gd name="T16" fmla="*/ 53340 w 137160"/>
                          <a:gd name="T17" fmla="*/ 140970 h 202828"/>
                          <a:gd name="T18" fmla="*/ 41910 w 137160"/>
                          <a:gd name="T19" fmla="*/ 156210 h 202828"/>
                          <a:gd name="T20" fmla="*/ 34290 w 137160"/>
                          <a:gd name="T21" fmla="*/ 167640 h 202828"/>
                          <a:gd name="T22" fmla="*/ 22860 w 137160"/>
                          <a:gd name="T23" fmla="*/ 175260 h 202828"/>
                          <a:gd name="T24" fmla="*/ 3810 w 137160"/>
                          <a:gd name="T25" fmla="*/ 201930 h 202828"/>
                          <a:gd name="T26" fmla="*/ 0 w 137160"/>
                          <a:gd name="T27" fmla="*/ 201930 h 20282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7160"/>
                          <a:gd name="T43" fmla="*/ 0 h 202828"/>
                          <a:gd name="T44" fmla="*/ 137160 w 137160"/>
                          <a:gd name="T45" fmla="*/ 202828 h 20282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7160" h="202828">
                            <a:moveTo>
                              <a:pt x="137160" y="0"/>
                            </a:moveTo>
                            <a:cubicBezTo>
                              <a:pt x="134620" y="3810"/>
                              <a:pt x="132778" y="8192"/>
                              <a:pt x="129540" y="11430"/>
                            </a:cubicBezTo>
                            <a:cubicBezTo>
                              <a:pt x="125050" y="15920"/>
                              <a:pt x="118365" y="17982"/>
                              <a:pt x="114300" y="22860"/>
                            </a:cubicBezTo>
                            <a:cubicBezTo>
                              <a:pt x="111729" y="25945"/>
                              <a:pt x="112152" y="30634"/>
                              <a:pt x="110490" y="34290"/>
                            </a:cubicBezTo>
                            <a:cubicBezTo>
                              <a:pt x="105790" y="44631"/>
                              <a:pt x="101551" y="55319"/>
                              <a:pt x="95250" y="64770"/>
                            </a:cubicBezTo>
                            <a:lnTo>
                              <a:pt x="80010" y="87630"/>
                            </a:lnTo>
                            <a:cubicBezTo>
                              <a:pt x="77470" y="91440"/>
                              <a:pt x="74746" y="95133"/>
                              <a:pt x="72390" y="99060"/>
                            </a:cubicBezTo>
                            <a:cubicBezTo>
                              <a:pt x="68580" y="105410"/>
                              <a:pt x="64024" y="111368"/>
                              <a:pt x="60960" y="118110"/>
                            </a:cubicBezTo>
                            <a:cubicBezTo>
                              <a:pt x="57636" y="125422"/>
                              <a:pt x="58159" y="134544"/>
                              <a:pt x="53340" y="140970"/>
                            </a:cubicBezTo>
                            <a:cubicBezTo>
                              <a:pt x="49530" y="146050"/>
                              <a:pt x="45601" y="151043"/>
                              <a:pt x="41910" y="156210"/>
                            </a:cubicBezTo>
                            <a:cubicBezTo>
                              <a:pt x="39248" y="159936"/>
                              <a:pt x="37528" y="164402"/>
                              <a:pt x="34290" y="167640"/>
                            </a:cubicBezTo>
                            <a:cubicBezTo>
                              <a:pt x="31052" y="170878"/>
                              <a:pt x="26670" y="172720"/>
                              <a:pt x="22860" y="175260"/>
                            </a:cubicBezTo>
                            <a:cubicBezTo>
                              <a:pt x="18533" y="181750"/>
                              <a:pt x="8536" y="197204"/>
                              <a:pt x="3810" y="201930"/>
                            </a:cubicBezTo>
                            <a:cubicBezTo>
                              <a:pt x="2912" y="202828"/>
                              <a:pt x="1270" y="201930"/>
                              <a:pt x="0" y="201930"/>
                            </a:cubicBezTo>
                          </a:path>
                        </a:pathLst>
                      </a:custGeom>
                      <a:solidFill>
                        <a:schemeClr val="bg1"/>
                      </a:solidFill>
                      <a:ln w="28575" algn="ctr">
                        <a:solidFill>
                          <a:srgbClr val="D09E00"/>
                        </a:solidFill>
                        <a:prstDash val="sysDash"/>
                        <a:round/>
                        <a:headEnd/>
                        <a:tailEnd/>
                      </a:ln>
                    </p:spPr>
                    <p:txBody>
                      <a:bodyPr wrap="none" lIns="0" tIns="0" rIns="0" bIns="0" anchor="ctr"/>
                      <a:lstStyle/>
                      <a:p>
                        <a:endParaRPr lang="pt-BR"/>
                      </a:p>
                    </p:txBody>
                  </p:sp>
                  <p:sp>
                    <p:nvSpPr>
                      <p:cNvPr id="196" name="Freeform 195"/>
                      <p:cNvSpPr>
                        <a:spLocks noChangeArrowheads="1"/>
                      </p:cNvSpPr>
                      <p:nvPr/>
                    </p:nvSpPr>
                    <p:spPr bwMode="auto">
                      <a:xfrm>
                        <a:off x="7680416" y="4590722"/>
                        <a:ext cx="67756" cy="106000"/>
                      </a:xfrm>
                      <a:custGeom>
                        <a:avLst/>
                        <a:gdLst>
                          <a:gd name="T0" fmla="*/ 68580 w 68580"/>
                          <a:gd name="T1" fmla="*/ 0 h 106680"/>
                          <a:gd name="T2" fmla="*/ 57150 w 68580"/>
                          <a:gd name="T3" fmla="*/ 3810 h 106680"/>
                          <a:gd name="T4" fmla="*/ 49530 w 68580"/>
                          <a:gd name="T5" fmla="*/ 15240 h 106680"/>
                          <a:gd name="T6" fmla="*/ 38100 w 68580"/>
                          <a:gd name="T7" fmla="*/ 22860 h 106680"/>
                          <a:gd name="T8" fmla="*/ 22860 w 68580"/>
                          <a:gd name="T9" fmla="*/ 45720 h 106680"/>
                          <a:gd name="T10" fmla="*/ 19050 w 68580"/>
                          <a:gd name="T11" fmla="*/ 57150 h 106680"/>
                          <a:gd name="T12" fmla="*/ 11430 w 68580"/>
                          <a:gd name="T13" fmla="*/ 87630 h 106680"/>
                          <a:gd name="T14" fmla="*/ 0 w 68580"/>
                          <a:gd name="T15" fmla="*/ 106680 h 106680"/>
                          <a:gd name="T16" fmla="*/ 0 60000 65536"/>
                          <a:gd name="T17" fmla="*/ 0 60000 65536"/>
                          <a:gd name="T18" fmla="*/ 0 60000 65536"/>
                          <a:gd name="T19" fmla="*/ 0 60000 65536"/>
                          <a:gd name="T20" fmla="*/ 0 60000 65536"/>
                          <a:gd name="T21" fmla="*/ 0 60000 65536"/>
                          <a:gd name="T22" fmla="*/ 0 60000 65536"/>
                          <a:gd name="T23" fmla="*/ 0 60000 65536"/>
                          <a:gd name="T24" fmla="*/ 0 w 68580"/>
                          <a:gd name="T25" fmla="*/ 0 h 106680"/>
                          <a:gd name="T26" fmla="*/ 68580 w 68580"/>
                          <a:gd name="T27" fmla="*/ 106680 h 1066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8580" h="106680">
                            <a:moveTo>
                              <a:pt x="68580" y="0"/>
                            </a:moveTo>
                            <a:cubicBezTo>
                              <a:pt x="64770" y="1270"/>
                              <a:pt x="60286" y="1301"/>
                              <a:pt x="57150" y="3810"/>
                            </a:cubicBezTo>
                            <a:cubicBezTo>
                              <a:pt x="53574" y="6671"/>
                              <a:pt x="52768" y="12002"/>
                              <a:pt x="49530" y="15240"/>
                            </a:cubicBezTo>
                            <a:cubicBezTo>
                              <a:pt x="46292" y="18478"/>
                              <a:pt x="41910" y="20320"/>
                              <a:pt x="38100" y="22860"/>
                            </a:cubicBezTo>
                            <a:cubicBezTo>
                              <a:pt x="29041" y="50038"/>
                              <a:pt x="41886" y="17180"/>
                              <a:pt x="22860" y="45720"/>
                            </a:cubicBezTo>
                            <a:cubicBezTo>
                              <a:pt x="20632" y="49062"/>
                              <a:pt x="20107" y="53275"/>
                              <a:pt x="19050" y="57150"/>
                            </a:cubicBezTo>
                            <a:cubicBezTo>
                              <a:pt x="16294" y="67254"/>
                              <a:pt x="17239" y="78916"/>
                              <a:pt x="11430" y="87630"/>
                            </a:cubicBezTo>
                            <a:cubicBezTo>
                              <a:pt x="2235" y="101423"/>
                              <a:pt x="5858" y="94964"/>
                              <a:pt x="0" y="106680"/>
                            </a:cubicBezTo>
                          </a:path>
                        </a:pathLst>
                      </a:custGeom>
                      <a:solidFill>
                        <a:schemeClr val="accent2">
                          <a:lumMod val="60000"/>
                          <a:lumOff val="40000"/>
                        </a:schemeClr>
                      </a:solidFill>
                      <a:ln w="28575" algn="ctr">
                        <a:solidFill>
                          <a:srgbClr val="FFC000"/>
                        </a:solidFill>
                        <a:prstDash val="sysDash"/>
                        <a:round/>
                        <a:headEnd/>
                        <a:tailEnd/>
                      </a:ln>
                    </p:spPr>
                    <p:txBody>
                      <a:bodyPr wrap="none" lIns="0" tIns="0" rIns="0" bIns="0" anchor="ctr"/>
                      <a:lstStyle/>
                      <a:p>
                        <a:pPr defTabSz="873125" eaLnBrk="0" hangingPunct="0">
                          <a:defRPr/>
                        </a:pPr>
                        <a:endParaRPr lang="pt-BR">
                          <a:latin typeface="Arial" charset="0"/>
                        </a:endParaRPr>
                      </a:p>
                    </p:txBody>
                  </p:sp>
                  <p:sp>
                    <p:nvSpPr>
                      <p:cNvPr id="197" name="Freeform 209"/>
                      <p:cNvSpPr>
                        <a:spLocks noChangeArrowheads="1"/>
                      </p:cNvSpPr>
                      <p:nvPr/>
                    </p:nvSpPr>
                    <p:spPr bwMode="auto">
                      <a:xfrm>
                        <a:off x="6704919" y="4817660"/>
                        <a:ext cx="248615" cy="191068"/>
                      </a:xfrm>
                      <a:custGeom>
                        <a:avLst/>
                        <a:gdLst>
                          <a:gd name="T0" fmla="*/ 2956 w 248615"/>
                          <a:gd name="T1" fmla="*/ 191068 h 191068"/>
                          <a:gd name="T2" fmla="*/ 23427 w 248615"/>
                          <a:gd name="T3" fmla="*/ 136477 h 191068"/>
                          <a:gd name="T4" fmla="*/ 30251 w 248615"/>
                          <a:gd name="T5" fmla="*/ 116006 h 191068"/>
                          <a:gd name="T6" fmla="*/ 50723 w 248615"/>
                          <a:gd name="T7" fmla="*/ 102358 h 191068"/>
                          <a:gd name="T8" fmla="*/ 64371 w 248615"/>
                          <a:gd name="T9" fmla="*/ 81886 h 191068"/>
                          <a:gd name="T10" fmla="*/ 105314 w 248615"/>
                          <a:gd name="T11" fmla="*/ 54591 h 191068"/>
                          <a:gd name="T12" fmla="*/ 125785 w 248615"/>
                          <a:gd name="T13" fmla="*/ 47767 h 191068"/>
                          <a:gd name="T14" fmla="*/ 173553 w 248615"/>
                          <a:gd name="T15" fmla="*/ 34119 h 191068"/>
                          <a:gd name="T16" fmla="*/ 194024 w 248615"/>
                          <a:gd name="T17" fmla="*/ 20471 h 191068"/>
                          <a:gd name="T18" fmla="*/ 234968 w 248615"/>
                          <a:gd name="T19" fmla="*/ 6824 h 191068"/>
                          <a:gd name="T20" fmla="*/ 248615 w 248615"/>
                          <a:gd name="T21" fmla="*/ 0 h 19106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48615"/>
                          <a:gd name="T34" fmla="*/ 0 h 191068"/>
                          <a:gd name="T35" fmla="*/ 248615 w 248615"/>
                          <a:gd name="T36" fmla="*/ 191068 h 19106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48615" h="191068">
                            <a:moveTo>
                              <a:pt x="2956" y="191068"/>
                            </a:moveTo>
                            <a:cubicBezTo>
                              <a:pt x="16121" y="125244"/>
                              <a:pt x="0" y="183332"/>
                              <a:pt x="23427" y="136477"/>
                            </a:cubicBezTo>
                            <a:cubicBezTo>
                              <a:pt x="26644" y="130044"/>
                              <a:pt x="25758" y="121623"/>
                              <a:pt x="30251" y="116006"/>
                            </a:cubicBezTo>
                            <a:cubicBezTo>
                              <a:pt x="35374" y="109602"/>
                              <a:pt x="43899" y="106907"/>
                              <a:pt x="50723" y="102358"/>
                            </a:cubicBezTo>
                            <a:cubicBezTo>
                              <a:pt x="55272" y="95534"/>
                              <a:pt x="58199" y="87287"/>
                              <a:pt x="64371" y="81886"/>
                            </a:cubicBezTo>
                            <a:cubicBezTo>
                              <a:pt x="76715" y="71085"/>
                              <a:pt x="89753" y="59778"/>
                              <a:pt x="105314" y="54591"/>
                            </a:cubicBezTo>
                            <a:cubicBezTo>
                              <a:pt x="112138" y="52316"/>
                              <a:pt x="118869" y="49743"/>
                              <a:pt x="125785" y="47767"/>
                            </a:cubicBezTo>
                            <a:cubicBezTo>
                              <a:pt x="185773" y="30627"/>
                              <a:pt x="124462" y="50483"/>
                              <a:pt x="173553" y="34119"/>
                            </a:cubicBezTo>
                            <a:cubicBezTo>
                              <a:pt x="180377" y="29570"/>
                              <a:pt x="186530" y="23802"/>
                              <a:pt x="194024" y="20471"/>
                            </a:cubicBezTo>
                            <a:cubicBezTo>
                              <a:pt x="207170" y="14628"/>
                              <a:pt x="222101" y="13258"/>
                              <a:pt x="234968" y="6824"/>
                            </a:cubicBezTo>
                            <a:lnTo>
                              <a:pt x="248615" y="0"/>
                            </a:lnTo>
                          </a:path>
                        </a:pathLst>
                      </a:custGeom>
                      <a:solidFill>
                        <a:schemeClr val="bg1"/>
                      </a:solidFill>
                      <a:ln w="28575" algn="ctr">
                        <a:solidFill>
                          <a:srgbClr val="0070C0"/>
                        </a:solidFill>
                        <a:round/>
                        <a:headEnd/>
                        <a:tailEnd/>
                      </a:ln>
                    </p:spPr>
                    <p:txBody>
                      <a:bodyPr wrap="none" lIns="0" tIns="0" rIns="0" bIns="0" anchor="ctr"/>
                      <a:lstStyle/>
                      <a:p>
                        <a:endParaRPr lang="pt-BR"/>
                      </a:p>
                    </p:txBody>
                  </p:sp>
                </p:grpSp>
                <p:sp>
                  <p:nvSpPr>
                    <p:cNvPr id="191" name="Text Box 123"/>
                    <p:cNvSpPr txBox="1">
                      <a:spLocks noChangeArrowheads="1"/>
                    </p:cNvSpPr>
                    <p:nvPr/>
                  </p:nvSpPr>
                  <p:spPr bwMode="auto">
                    <a:xfrm>
                      <a:off x="7335403" y="4615961"/>
                      <a:ext cx="491343" cy="134503"/>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a:solidFill>
                            <a:srgbClr val="000000"/>
                          </a:solidFill>
                          <a:latin typeface="Calibri" pitchFamily="34" charset="0"/>
                        </a:rPr>
                        <a:t>Campos</a:t>
                      </a:r>
                    </a:p>
                  </p:txBody>
                </p:sp>
                <p:sp>
                  <p:nvSpPr>
                    <p:cNvPr id="192" name="Text Box 120"/>
                    <p:cNvSpPr txBox="1">
                      <a:spLocks noChangeArrowheads="1"/>
                    </p:cNvSpPr>
                    <p:nvPr/>
                  </p:nvSpPr>
                  <p:spPr bwMode="auto">
                    <a:xfrm>
                      <a:off x="5267315" y="2272923"/>
                      <a:ext cx="464729" cy="137849"/>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dirty="0" err="1">
                          <a:solidFill>
                            <a:srgbClr val="000000"/>
                          </a:solidFill>
                          <a:latin typeface="Calibri" pitchFamily="34" charset="0"/>
                        </a:rPr>
                        <a:t>Tucuruí</a:t>
                      </a:r>
                      <a:endParaRPr lang="en-GB" sz="900" dirty="0">
                        <a:solidFill>
                          <a:srgbClr val="000000"/>
                        </a:solidFill>
                        <a:latin typeface="Calibri" pitchFamily="34" charset="0"/>
                      </a:endParaRPr>
                    </a:p>
                  </p:txBody>
                </p:sp>
                <p:pic>
                  <p:nvPicPr>
                    <p:cNvPr id="193" name="Picture 35"/>
                    <p:cNvPicPr>
                      <a:picLocks noChangeAspect="1" noChangeArrowheads="1"/>
                    </p:cNvPicPr>
                    <p:nvPr/>
                  </p:nvPicPr>
                  <p:blipFill>
                    <a:blip r:embed="rId5" cstate="print"/>
                    <a:srcRect/>
                    <a:stretch>
                      <a:fillRect/>
                    </a:stretch>
                  </p:blipFill>
                  <p:spPr bwMode="auto">
                    <a:xfrm>
                      <a:off x="4244319" y="2123132"/>
                      <a:ext cx="152411" cy="160458"/>
                    </a:xfrm>
                    <a:prstGeom prst="rect">
                      <a:avLst/>
                    </a:prstGeom>
                    <a:noFill/>
                    <a:ln w="9525">
                      <a:noFill/>
                      <a:round/>
                      <a:headEnd/>
                      <a:tailEnd/>
                    </a:ln>
                  </p:spPr>
                </p:pic>
                <p:pic>
                  <p:nvPicPr>
                    <p:cNvPr id="194" name="Picture 35"/>
                    <p:cNvPicPr>
                      <a:picLocks noChangeAspect="1" noChangeArrowheads="1"/>
                    </p:cNvPicPr>
                    <p:nvPr/>
                  </p:nvPicPr>
                  <p:blipFill>
                    <a:blip r:embed="rId5" cstate="print"/>
                    <a:srcRect/>
                    <a:stretch>
                      <a:fillRect/>
                    </a:stretch>
                  </p:blipFill>
                  <p:spPr bwMode="auto">
                    <a:xfrm>
                      <a:off x="6025099" y="1858140"/>
                      <a:ext cx="152411" cy="160458"/>
                    </a:xfrm>
                    <a:prstGeom prst="rect">
                      <a:avLst/>
                    </a:prstGeom>
                    <a:noFill/>
                    <a:ln w="9525">
                      <a:noFill/>
                      <a:round/>
                      <a:headEnd/>
                      <a:tailEnd/>
                    </a:ln>
                  </p:spPr>
                </p:pic>
              </p:grpSp>
              <p:sp>
                <p:nvSpPr>
                  <p:cNvPr id="187" name="Freeform 22"/>
                  <p:cNvSpPr/>
                  <p:nvPr/>
                </p:nvSpPr>
                <p:spPr>
                  <a:xfrm>
                    <a:off x="6455286" y="2016790"/>
                    <a:ext cx="185589" cy="1814714"/>
                  </a:xfrm>
                  <a:custGeom>
                    <a:avLst/>
                    <a:gdLst>
                      <a:gd name="connsiteX0" fmla="*/ 30637 w 186180"/>
                      <a:gd name="connsiteY0" fmla="*/ 0 h 1814660"/>
                      <a:gd name="connsiteX1" fmla="*/ 2357 w 186180"/>
                      <a:gd name="connsiteY1" fmla="*/ 325225 h 1814660"/>
                      <a:gd name="connsiteX2" fmla="*/ 44777 w 186180"/>
                      <a:gd name="connsiteY2" fmla="*/ 504334 h 1814660"/>
                      <a:gd name="connsiteX3" fmla="*/ 49491 w 186180"/>
                      <a:gd name="connsiteY3" fmla="*/ 768285 h 1814660"/>
                      <a:gd name="connsiteX4" fmla="*/ 49491 w 186180"/>
                      <a:gd name="connsiteY4" fmla="*/ 1008668 h 1814660"/>
                      <a:gd name="connsiteX5" fmla="*/ 73058 w 186180"/>
                      <a:gd name="connsiteY5" fmla="*/ 1197204 h 1814660"/>
                      <a:gd name="connsiteX6" fmla="*/ 82485 w 186180"/>
                      <a:gd name="connsiteY6" fmla="*/ 1437588 h 1814660"/>
                      <a:gd name="connsiteX7" fmla="*/ 110765 w 186180"/>
                      <a:gd name="connsiteY7" fmla="*/ 1659118 h 1814660"/>
                      <a:gd name="connsiteX8" fmla="*/ 186180 w 186180"/>
                      <a:gd name="connsiteY8" fmla="*/ 1814660 h 181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180" h="1814660">
                        <a:moveTo>
                          <a:pt x="30637" y="0"/>
                        </a:moveTo>
                        <a:cubicBezTo>
                          <a:pt x="15318" y="120584"/>
                          <a:pt x="0" y="241169"/>
                          <a:pt x="2357" y="325225"/>
                        </a:cubicBezTo>
                        <a:cubicBezTo>
                          <a:pt x="4714" y="409281"/>
                          <a:pt x="36921" y="430491"/>
                          <a:pt x="44777" y="504334"/>
                        </a:cubicBezTo>
                        <a:cubicBezTo>
                          <a:pt x="52633" y="578177"/>
                          <a:pt x="48705" y="684229"/>
                          <a:pt x="49491" y="768285"/>
                        </a:cubicBezTo>
                        <a:cubicBezTo>
                          <a:pt x="50277" y="852341"/>
                          <a:pt x="45563" y="937182"/>
                          <a:pt x="49491" y="1008668"/>
                        </a:cubicBezTo>
                        <a:cubicBezTo>
                          <a:pt x="53419" y="1080154"/>
                          <a:pt x="67559" y="1125717"/>
                          <a:pt x="73058" y="1197204"/>
                        </a:cubicBezTo>
                        <a:cubicBezTo>
                          <a:pt x="78557" y="1268691"/>
                          <a:pt x="76201" y="1360602"/>
                          <a:pt x="82485" y="1437588"/>
                        </a:cubicBezTo>
                        <a:cubicBezTo>
                          <a:pt x="88769" y="1514574"/>
                          <a:pt x="93483" y="1596273"/>
                          <a:pt x="110765" y="1659118"/>
                        </a:cubicBezTo>
                        <a:cubicBezTo>
                          <a:pt x="128047" y="1721963"/>
                          <a:pt x="172040" y="1789522"/>
                          <a:pt x="186180" y="1814660"/>
                        </a:cubicBezTo>
                      </a:path>
                    </a:pathLst>
                  </a:custGeom>
                  <a:ln w="28575">
                    <a:solidFill>
                      <a:srgbClr val="0070C0"/>
                    </a:solidFill>
                  </a:ln>
                </p:spPr>
                <p:style>
                  <a:lnRef idx="1">
                    <a:schemeClr val="accent1"/>
                  </a:lnRef>
                  <a:fillRef idx="0">
                    <a:schemeClr val="accent1"/>
                  </a:fillRef>
                  <a:effectRef idx="0">
                    <a:schemeClr val="accent1"/>
                  </a:effectRef>
                  <a:fontRef idx="minor">
                    <a:schemeClr val="tx1"/>
                  </a:fontRef>
                </p:style>
                <p:txBody>
                  <a:bodyPr anchor="ctr"/>
                  <a:lstStyle/>
                  <a:p>
                    <a:pPr>
                      <a:defRPr/>
                    </a:pPr>
                    <a:endParaRPr lang="pt-BR"/>
                  </a:p>
                </p:txBody>
              </p:sp>
              <p:sp>
                <p:nvSpPr>
                  <p:cNvPr id="188" name="Freeform 550"/>
                  <p:cNvSpPr>
                    <a:spLocks noChangeArrowheads="1"/>
                  </p:cNvSpPr>
                  <p:nvPr/>
                </p:nvSpPr>
                <p:spPr bwMode="auto">
                  <a:xfrm>
                    <a:off x="6882938" y="4932218"/>
                    <a:ext cx="548640" cy="124691"/>
                  </a:xfrm>
                  <a:custGeom>
                    <a:avLst/>
                    <a:gdLst>
                      <a:gd name="T0" fmla="*/ 0 w 548640"/>
                      <a:gd name="T1" fmla="*/ 99753 h 124691"/>
                      <a:gd name="T2" fmla="*/ 155171 w 548640"/>
                      <a:gd name="T3" fmla="*/ 121920 h 124691"/>
                      <a:gd name="T4" fmla="*/ 304800 w 548640"/>
                      <a:gd name="T5" fmla="*/ 83127 h 124691"/>
                      <a:gd name="T6" fmla="*/ 459971 w 548640"/>
                      <a:gd name="T7" fmla="*/ 72044 h 124691"/>
                      <a:gd name="T8" fmla="*/ 548640 w 548640"/>
                      <a:gd name="T9" fmla="*/ 0 h 124691"/>
                      <a:gd name="T10" fmla="*/ 0 60000 65536"/>
                      <a:gd name="T11" fmla="*/ 0 60000 65536"/>
                      <a:gd name="T12" fmla="*/ 0 60000 65536"/>
                      <a:gd name="T13" fmla="*/ 0 60000 65536"/>
                      <a:gd name="T14" fmla="*/ 0 60000 65536"/>
                      <a:gd name="T15" fmla="*/ 0 w 548640"/>
                      <a:gd name="T16" fmla="*/ 0 h 124691"/>
                      <a:gd name="T17" fmla="*/ 548640 w 548640"/>
                      <a:gd name="T18" fmla="*/ 124691 h 124691"/>
                    </a:gdLst>
                    <a:ahLst/>
                    <a:cxnLst>
                      <a:cxn ang="T10">
                        <a:pos x="T0" y="T1"/>
                      </a:cxn>
                      <a:cxn ang="T11">
                        <a:pos x="T2" y="T3"/>
                      </a:cxn>
                      <a:cxn ang="T12">
                        <a:pos x="T4" y="T5"/>
                      </a:cxn>
                      <a:cxn ang="T13">
                        <a:pos x="T6" y="T7"/>
                      </a:cxn>
                      <a:cxn ang="T14">
                        <a:pos x="T8" y="T9"/>
                      </a:cxn>
                    </a:cxnLst>
                    <a:rect l="T15" t="T16" r="T17" b="T18"/>
                    <a:pathLst>
                      <a:path w="548640" h="124691">
                        <a:moveTo>
                          <a:pt x="0" y="99753"/>
                        </a:moveTo>
                        <a:cubicBezTo>
                          <a:pt x="52185" y="112222"/>
                          <a:pt x="104371" y="124691"/>
                          <a:pt x="155171" y="121920"/>
                        </a:cubicBezTo>
                        <a:cubicBezTo>
                          <a:pt x="205971" y="119149"/>
                          <a:pt x="254000" y="91440"/>
                          <a:pt x="304800" y="83127"/>
                        </a:cubicBezTo>
                        <a:cubicBezTo>
                          <a:pt x="355600" y="74814"/>
                          <a:pt x="419331" y="85898"/>
                          <a:pt x="459971" y="72044"/>
                        </a:cubicBezTo>
                        <a:cubicBezTo>
                          <a:pt x="500611" y="58190"/>
                          <a:pt x="536633" y="12931"/>
                          <a:pt x="548640" y="0"/>
                        </a:cubicBezTo>
                      </a:path>
                    </a:pathLst>
                  </a:custGeom>
                  <a:noFill/>
                  <a:ln w="28575">
                    <a:solidFill>
                      <a:srgbClr val="0070C0"/>
                    </a:solidFill>
                    <a:round/>
                    <a:headEnd/>
                    <a:tailEnd/>
                  </a:ln>
                </p:spPr>
                <p:txBody>
                  <a:bodyPr wrap="none" anchor="ctr"/>
                  <a:lstStyle/>
                  <a:p>
                    <a:endParaRPr lang="pt-BR"/>
                  </a:p>
                </p:txBody>
              </p:sp>
            </p:grpSp>
            <p:sp>
              <p:nvSpPr>
                <p:cNvPr id="181" name="Freeform 63"/>
                <p:cNvSpPr>
                  <a:spLocks noChangeArrowheads="1"/>
                </p:cNvSpPr>
                <p:nvPr/>
              </p:nvSpPr>
              <p:spPr bwMode="auto">
                <a:xfrm>
                  <a:off x="5502988" y="5838298"/>
                  <a:ext cx="646654" cy="30352"/>
                </a:xfrm>
                <a:custGeom>
                  <a:avLst/>
                  <a:gdLst>
                    <a:gd name="T0" fmla="*/ 2147483647 w 203"/>
                    <a:gd name="T1" fmla="*/ 2147483647 h 11"/>
                    <a:gd name="T2" fmla="*/ 2147483647 w 203"/>
                    <a:gd name="T3" fmla="*/ 2147483647 h 11"/>
                    <a:gd name="T4" fmla="*/ 0 w 203"/>
                    <a:gd name="T5" fmla="*/ 0 h 11"/>
                    <a:gd name="T6" fmla="*/ 0 60000 65536"/>
                    <a:gd name="T7" fmla="*/ 0 60000 65536"/>
                    <a:gd name="T8" fmla="*/ 0 60000 65536"/>
                    <a:gd name="T9" fmla="*/ 0 w 203"/>
                    <a:gd name="T10" fmla="*/ 0 h 11"/>
                    <a:gd name="T11" fmla="*/ 203 w 203"/>
                    <a:gd name="T12" fmla="*/ 11 h 11"/>
                  </a:gdLst>
                  <a:ahLst/>
                  <a:cxnLst>
                    <a:cxn ang="T6">
                      <a:pos x="T0" y="T1"/>
                    </a:cxn>
                    <a:cxn ang="T7">
                      <a:pos x="T2" y="T3"/>
                    </a:cxn>
                    <a:cxn ang="T8">
                      <a:pos x="T4" y="T5"/>
                    </a:cxn>
                  </a:cxnLst>
                  <a:rect l="T9" t="T10" r="T11" b="T12"/>
                  <a:pathLst>
                    <a:path w="203" h="11">
                      <a:moveTo>
                        <a:pt x="203" y="3"/>
                      </a:moveTo>
                      <a:cubicBezTo>
                        <a:pt x="194" y="6"/>
                        <a:pt x="167" y="11"/>
                        <a:pt x="133" y="11"/>
                      </a:cubicBezTo>
                      <a:cubicBezTo>
                        <a:pt x="99" y="11"/>
                        <a:pt x="28" y="2"/>
                        <a:pt x="0" y="0"/>
                      </a:cubicBezTo>
                    </a:path>
                  </a:pathLst>
                </a:custGeom>
                <a:noFill/>
                <a:ln w="28575">
                  <a:solidFill>
                    <a:srgbClr val="0070C0"/>
                  </a:solidFill>
                  <a:round/>
                  <a:headEnd/>
                  <a:tailEnd/>
                </a:ln>
              </p:spPr>
              <p:txBody>
                <a:bodyPr wrap="none" anchor="ctr"/>
                <a:lstStyle/>
                <a:p>
                  <a:endParaRPr lang="pt-BR"/>
                </a:p>
              </p:txBody>
            </p:sp>
            <p:sp>
              <p:nvSpPr>
                <p:cNvPr id="182" name="Freeform 58"/>
                <p:cNvSpPr>
                  <a:spLocks/>
                </p:cNvSpPr>
                <p:nvPr/>
              </p:nvSpPr>
              <p:spPr bwMode="auto">
                <a:xfrm>
                  <a:off x="7751149" y="2923947"/>
                  <a:ext cx="308344" cy="236423"/>
                </a:xfrm>
                <a:custGeom>
                  <a:avLst/>
                  <a:gdLst>
                    <a:gd name="T0" fmla="*/ 223284 w 308344"/>
                    <a:gd name="T1" fmla="*/ 0 h 236423"/>
                    <a:gd name="T2" fmla="*/ 53163 w 308344"/>
                    <a:gd name="T3" fmla="*/ 10633 h 236423"/>
                    <a:gd name="T4" fmla="*/ 21265 w 308344"/>
                    <a:gd name="T5" fmla="*/ 21265 h 236423"/>
                    <a:gd name="T6" fmla="*/ 0 w 308344"/>
                    <a:gd name="T7" fmla="*/ 42531 h 236423"/>
                    <a:gd name="T8" fmla="*/ 10633 w 308344"/>
                    <a:gd name="T9" fmla="*/ 74428 h 236423"/>
                    <a:gd name="T10" fmla="*/ 138223 w 308344"/>
                    <a:gd name="T11" fmla="*/ 138224 h 236423"/>
                    <a:gd name="T12" fmla="*/ 170121 w 308344"/>
                    <a:gd name="T13" fmla="*/ 159489 h 236423"/>
                    <a:gd name="T14" fmla="*/ 180754 w 308344"/>
                    <a:gd name="T15" fmla="*/ 191386 h 236423"/>
                    <a:gd name="T16" fmla="*/ 212651 w 308344"/>
                    <a:gd name="T17" fmla="*/ 202019 h 236423"/>
                    <a:gd name="T18" fmla="*/ 276447 w 308344"/>
                    <a:gd name="T19" fmla="*/ 212651 h 236423"/>
                    <a:gd name="T20" fmla="*/ 308344 w 308344"/>
                    <a:gd name="T21" fmla="*/ 233917 h 2364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08344"/>
                    <a:gd name="T34" fmla="*/ 0 h 236423"/>
                    <a:gd name="T35" fmla="*/ 308344 w 308344"/>
                    <a:gd name="T36" fmla="*/ 236423 h 2364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08344" h="236423">
                      <a:moveTo>
                        <a:pt x="223284" y="0"/>
                      </a:moveTo>
                      <a:cubicBezTo>
                        <a:pt x="166577" y="3544"/>
                        <a:pt x="109668" y="4685"/>
                        <a:pt x="53163" y="10633"/>
                      </a:cubicBezTo>
                      <a:cubicBezTo>
                        <a:pt x="42017" y="11806"/>
                        <a:pt x="30876" y="15499"/>
                        <a:pt x="21265" y="21265"/>
                      </a:cubicBezTo>
                      <a:cubicBezTo>
                        <a:pt x="12669" y="26423"/>
                        <a:pt x="7088" y="35442"/>
                        <a:pt x="0" y="42531"/>
                      </a:cubicBezTo>
                      <a:cubicBezTo>
                        <a:pt x="3544" y="53163"/>
                        <a:pt x="2708" y="66503"/>
                        <a:pt x="10633" y="74428"/>
                      </a:cubicBezTo>
                      <a:cubicBezTo>
                        <a:pt x="51856" y="115650"/>
                        <a:pt x="86337" y="120928"/>
                        <a:pt x="138223" y="138224"/>
                      </a:cubicBezTo>
                      <a:cubicBezTo>
                        <a:pt x="150346" y="142265"/>
                        <a:pt x="159488" y="152401"/>
                        <a:pt x="170121" y="159489"/>
                      </a:cubicBezTo>
                      <a:cubicBezTo>
                        <a:pt x="173665" y="170121"/>
                        <a:pt x="172829" y="183461"/>
                        <a:pt x="180754" y="191386"/>
                      </a:cubicBezTo>
                      <a:cubicBezTo>
                        <a:pt x="188679" y="199311"/>
                        <a:pt x="201710" y="199588"/>
                        <a:pt x="212651" y="202019"/>
                      </a:cubicBezTo>
                      <a:cubicBezTo>
                        <a:pt x="233696" y="206696"/>
                        <a:pt x="255182" y="209107"/>
                        <a:pt x="276447" y="212651"/>
                      </a:cubicBezTo>
                      <a:cubicBezTo>
                        <a:pt x="300218" y="236423"/>
                        <a:pt x="287687" y="233917"/>
                        <a:pt x="308344" y="233917"/>
                      </a:cubicBezTo>
                    </a:path>
                  </a:pathLst>
                </a:custGeom>
                <a:solidFill>
                  <a:schemeClr val="bg1"/>
                </a:solidFill>
                <a:ln w="28575" cap="flat" cmpd="sng" algn="ctr">
                  <a:solidFill>
                    <a:srgbClr val="D09E00"/>
                  </a:solidFill>
                  <a:prstDash val="sysDash"/>
                  <a:round/>
                  <a:headEnd type="none" w="med" len="med"/>
                  <a:tailEnd type="none" w="med" len="med"/>
                </a:ln>
              </p:spPr>
              <p:txBody>
                <a:bodyPr anchor="ctr"/>
                <a:lstStyle/>
                <a:p>
                  <a:endParaRPr lang="pt-BR"/>
                </a:p>
              </p:txBody>
            </p:sp>
            <p:sp>
              <p:nvSpPr>
                <p:cNvPr id="183" name="Text Box 135"/>
                <p:cNvSpPr txBox="1">
                  <a:spLocks noChangeArrowheads="1"/>
                </p:cNvSpPr>
                <p:nvPr/>
              </p:nvSpPr>
              <p:spPr bwMode="auto">
                <a:xfrm>
                  <a:off x="7323829" y="3029608"/>
                  <a:ext cx="424796" cy="113557"/>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dirty="0" err="1">
                      <a:solidFill>
                        <a:srgbClr val="000000"/>
                      </a:solidFill>
                      <a:latin typeface="Calibri" pitchFamily="34" charset="0"/>
                    </a:rPr>
                    <a:t>Petrolina</a:t>
                  </a:r>
                  <a:endParaRPr lang="en-GB" sz="900" dirty="0">
                    <a:solidFill>
                      <a:srgbClr val="000000"/>
                    </a:solidFill>
                    <a:latin typeface="Calibri" pitchFamily="34" charset="0"/>
                  </a:endParaRPr>
                </a:p>
              </p:txBody>
            </p:sp>
            <p:sp>
              <p:nvSpPr>
                <p:cNvPr id="184" name="Oval 183"/>
                <p:cNvSpPr/>
                <p:nvPr/>
              </p:nvSpPr>
              <p:spPr bwMode="auto">
                <a:xfrm>
                  <a:off x="7670379" y="2939692"/>
                  <a:ext cx="79461" cy="77386"/>
                </a:xfrm>
                <a:prstGeom prst="ellipse">
                  <a:avLst/>
                </a:prstGeom>
                <a:solidFill>
                  <a:srgbClr val="FF0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sz="1000">
                    <a:solidFill>
                      <a:srgbClr val="5F5F5F"/>
                    </a:solidFill>
                  </a:endParaRPr>
                </a:p>
              </p:txBody>
            </p:sp>
            <p:sp>
              <p:nvSpPr>
                <p:cNvPr id="185" name="Oval 184"/>
                <p:cNvSpPr/>
                <p:nvPr/>
              </p:nvSpPr>
              <p:spPr bwMode="auto">
                <a:xfrm>
                  <a:off x="5788740" y="5846409"/>
                  <a:ext cx="76090" cy="72163"/>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sz="1000">
                    <a:solidFill>
                      <a:srgbClr val="FFFFFF"/>
                    </a:solidFill>
                  </a:endParaRPr>
                </a:p>
              </p:txBody>
            </p:sp>
          </p:grpSp>
          <p:sp>
            <p:nvSpPr>
              <p:cNvPr id="164" name="Freeform 36"/>
              <p:cNvSpPr>
                <a:spLocks/>
              </p:cNvSpPr>
              <p:nvPr/>
            </p:nvSpPr>
            <p:spPr bwMode="auto">
              <a:xfrm>
                <a:off x="5935484" y="5029571"/>
                <a:ext cx="483191" cy="162648"/>
              </a:xfrm>
              <a:custGeom>
                <a:avLst/>
                <a:gdLst>
                  <a:gd name="T0" fmla="*/ 0 w 435935"/>
                  <a:gd name="T1" fmla="*/ 0 h 148855"/>
                  <a:gd name="T2" fmla="*/ 176530 w 435935"/>
                  <a:gd name="T3" fmla="*/ 45468 h 148855"/>
                  <a:gd name="T4" fmla="*/ 224673 w 435935"/>
                  <a:gd name="T5" fmla="*/ 60623 h 148855"/>
                  <a:gd name="T6" fmla="*/ 385156 w 435935"/>
                  <a:gd name="T7" fmla="*/ 30310 h 148855"/>
                  <a:gd name="T8" fmla="*/ 433301 w 435935"/>
                  <a:gd name="T9" fmla="*/ 0 h 148855"/>
                  <a:gd name="T10" fmla="*/ 481445 w 435935"/>
                  <a:gd name="T11" fmla="*/ 15154 h 148855"/>
                  <a:gd name="T12" fmla="*/ 497493 w 435935"/>
                  <a:gd name="T13" fmla="*/ 60623 h 148855"/>
                  <a:gd name="T14" fmla="*/ 561685 w 435935"/>
                  <a:gd name="T15" fmla="*/ 136402 h 148855"/>
                  <a:gd name="T16" fmla="*/ 593782 w 435935"/>
                  <a:gd name="T17" fmla="*/ 181869 h 148855"/>
                  <a:gd name="T18" fmla="*/ 641926 w 435935"/>
                  <a:gd name="T19" fmla="*/ 197025 h 148855"/>
                  <a:gd name="T20" fmla="*/ 657977 w 435935"/>
                  <a:gd name="T21" fmla="*/ 212180 h 1488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35935"/>
                  <a:gd name="T34" fmla="*/ 0 h 148855"/>
                  <a:gd name="T35" fmla="*/ 435935 w 435935"/>
                  <a:gd name="T36" fmla="*/ 148855 h 1488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35935" h="148855">
                    <a:moveTo>
                      <a:pt x="0" y="0"/>
                    </a:moveTo>
                    <a:cubicBezTo>
                      <a:pt x="75138" y="15027"/>
                      <a:pt x="36023" y="4918"/>
                      <a:pt x="116958" y="31897"/>
                    </a:cubicBezTo>
                    <a:lnTo>
                      <a:pt x="148855" y="42530"/>
                    </a:lnTo>
                    <a:cubicBezTo>
                      <a:pt x="176278" y="38612"/>
                      <a:pt x="225491" y="36110"/>
                      <a:pt x="255181" y="21265"/>
                    </a:cubicBezTo>
                    <a:cubicBezTo>
                      <a:pt x="266611" y="15550"/>
                      <a:pt x="276446" y="7088"/>
                      <a:pt x="287079" y="0"/>
                    </a:cubicBezTo>
                    <a:cubicBezTo>
                      <a:pt x="297711" y="3544"/>
                      <a:pt x="311051" y="2707"/>
                      <a:pt x="318976" y="10632"/>
                    </a:cubicBezTo>
                    <a:cubicBezTo>
                      <a:pt x="326901" y="18557"/>
                      <a:pt x="324597" y="32505"/>
                      <a:pt x="329609" y="42530"/>
                    </a:cubicBezTo>
                    <a:cubicBezTo>
                      <a:pt x="351424" y="86159"/>
                      <a:pt x="345769" y="62731"/>
                      <a:pt x="372139" y="95693"/>
                    </a:cubicBezTo>
                    <a:cubicBezTo>
                      <a:pt x="380122" y="105671"/>
                      <a:pt x="383426" y="119607"/>
                      <a:pt x="393404" y="127590"/>
                    </a:cubicBezTo>
                    <a:cubicBezTo>
                      <a:pt x="402156" y="134591"/>
                      <a:pt x="415277" y="133211"/>
                      <a:pt x="425302" y="138223"/>
                    </a:cubicBezTo>
                    <a:cubicBezTo>
                      <a:pt x="429785" y="140464"/>
                      <a:pt x="432391" y="145311"/>
                      <a:pt x="435935" y="148855"/>
                    </a:cubicBezTo>
                  </a:path>
                </a:pathLst>
              </a:custGeom>
              <a:solidFill>
                <a:schemeClr val="bg1"/>
              </a:solidFill>
              <a:ln w="28575" cap="flat" cmpd="sng" algn="ctr">
                <a:solidFill>
                  <a:srgbClr val="D09E00"/>
                </a:solidFill>
                <a:prstDash val="sysDash"/>
                <a:round/>
                <a:headEnd type="none" w="med" len="med"/>
                <a:tailEnd type="none" w="med" len="med"/>
              </a:ln>
            </p:spPr>
            <p:txBody>
              <a:bodyPr anchor="ctr"/>
              <a:lstStyle/>
              <a:p>
                <a:endParaRPr lang="pt-BR"/>
              </a:p>
            </p:txBody>
          </p:sp>
          <p:sp>
            <p:nvSpPr>
              <p:cNvPr id="165" name="Oval 164"/>
              <p:cNvSpPr/>
              <p:nvPr/>
            </p:nvSpPr>
            <p:spPr bwMode="auto">
              <a:xfrm>
                <a:off x="6256532" y="4961472"/>
                <a:ext cx="76405" cy="76025"/>
              </a:xfrm>
              <a:prstGeom prst="ellipse">
                <a:avLst/>
              </a:prstGeom>
              <a:solidFill>
                <a:srgbClr val="FF0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sz="1000">
                  <a:solidFill>
                    <a:srgbClr val="5F5F5F"/>
                  </a:solidFill>
                </a:endParaRPr>
              </a:p>
            </p:txBody>
          </p:sp>
          <p:sp>
            <p:nvSpPr>
              <p:cNvPr id="166" name="Text Box 135"/>
              <p:cNvSpPr txBox="1">
                <a:spLocks noChangeArrowheads="1"/>
              </p:cNvSpPr>
              <p:nvPr/>
            </p:nvSpPr>
            <p:spPr bwMode="auto">
              <a:xfrm>
                <a:off x="5963859" y="4880004"/>
                <a:ext cx="314189" cy="88358"/>
              </a:xfrm>
              <a:prstGeom prst="rect">
                <a:avLst/>
              </a:prstGeom>
              <a:noFill/>
              <a:ln w="9525">
                <a:noFill/>
                <a:round/>
                <a:headEnd/>
                <a:tailEnd/>
              </a:ln>
            </p:spPr>
            <p:txBody>
              <a:bodyPr wrap="none" lIns="0" tIns="0" rIns="0" bIns="0">
                <a:spAutoFit/>
              </a:bodyPr>
              <a:lstStyle/>
              <a:p>
                <a:pPr defTabSz="457200">
                  <a:lnSpc>
                    <a:spcPct val="80000"/>
                  </a:lnSpc>
                  <a:buClr>
                    <a:srgbClr val="000000"/>
                  </a:buClr>
                  <a:buSzPct val="100000"/>
                  <a:buFont typeface="Calibri"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700">
                    <a:solidFill>
                      <a:srgbClr val="000000"/>
                    </a:solidFill>
                    <a:latin typeface="Calibri" pitchFamily="34" charset="0"/>
                  </a:rPr>
                  <a:t>Maringa</a:t>
                </a:r>
              </a:p>
            </p:txBody>
          </p:sp>
          <p:sp>
            <p:nvSpPr>
              <p:cNvPr id="167" name="Freeform 39"/>
              <p:cNvSpPr>
                <a:spLocks/>
              </p:cNvSpPr>
              <p:nvPr/>
            </p:nvSpPr>
            <p:spPr bwMode="auto">
              <a:xfrm>
                <a:off x="4209299" y="3029829"/>
                <a:ext cx="1091685" cy="540000"/>
              </a:xfrm>
              <a:custGeom>
                <a:avLst/>
                <a:gdLst>
                  <a:gd name="T0" fmla="*/ 1422634 w 999460"/>
                  <a:gd name="T1" fmla="*/ 601277 h 520995"/>
                  <a:gd name="T2" fmla="*/ 1392366 w 999460"/>
                  <a:gd name="T3" fmla="*/ 564464 h 520995"/>
                  <a:gd name="T4" fmla="*/ 1301559 w 999460"/>
                  <a:gd name="T5" fmla="*/ 527651 h 520995"/>
                  <a:gd name="T6" fmla="*/ 1256157 w 999460"/>
                  <a:gd name="T7" fmla="*/ 503109 h 520995"/>
                  <a:gd name="T8" fmla="*/ 665914 w 999460"/>
                  <a:gd name="T9" fmla="*/ 466296 h 520995"/>
                  <a:gd name="T10" fmla="*/ 575107 w 999460"/>
                  <a:gd name="T11" fmla="*/ 454026 h 520995"/>
                  <a:gd name="T12" fmla="*/ 484302 w 999460"/>
                  <a:gd name="T13" fmla="*/ 429483 h 520995"/>
                  <a:gd name="T14" fmla="*/ 454034 w 999460"/>
                  <a:gd name="T15" fmla="*/ 404941 h 520995"/>
                  <a:gd name="T16" fmla="*/ 438898 w 999460"/>
                  <a:gd name="T17" fmla="*/ 368129 h 520995"/>
                  <a:gd name="T18" fmla="*/ 393494 w 999460"/>
                  <a:gd name="T19" fmla="*/ 343587 h 520995"/>
                  <a:gd name="T20" fmla="*/ 363226 w 999460"/>
                  <a:gd name="T21" fmla="*/ 306775 h 520995"/>
                  <a:gd name="T22" fmla="*/ 272420 w 999460"/>
                  <a:gd name="T23" fmla="*/ 257690 h 520995"/>
                  <a:gd name="T24" fmla="*/ 242151 w 999460"/>
                  <a:gd name="T25" fmla="*/ 220877 h 520995"/>
                  <a:gd name="T26" fmla="*/ 151342 w 999460"/>
                  <a:gd name="T27" fmla="*/ 159522 h 520995"/>
                  <a:gd name="T28" fmla="*/ 90806 w 999460"/>
                  <a:gd name="T29" fmla="*/ 98167 h 520995"/>
                  <a:gd name="T30" fmla="*/ 75673 w 999460"/>
                  <a:gd name="T31" fmla="*/ 61354 h 520995"/>
                  <a:gd name="T32" fmla="*/ 30268 w 999460"/>
                  <a:gd name="T33" fmla="*/ 24542 h 520995"/>
                  <a:gd name="T34" fmla="*/ 0 w 999460"/>
                  <a:gd name="T35" fmla="*/ 0 h 52099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99460"/>
                  <a:gd name="T55" fmla="*/ 0 h 520995"/>
                  <a:gd name="T56" fmla="*/ 999460 w 999460"/>
                  <a:gd name="T57" fmla="*/ 520995 h 52099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99460" h="520995">
                    <a:moveTo>
                      <a:pt x="999460" y="520995"/>
                    </a:moveTo>
                    <a:cubicBezTo>
                      <a:pt x="992372" y="510363"/>
                      <a:pt x="987231" y="498134"/>
                      <a:pt x="978195" y="489098"/>
                    </a:cubicBezTo>
                    <a:cubicBezTo>
                      <a:pt x="947724" y="458627"/>
                      <a:pt x="948990" y="474495"/>
                      <a:pt x="914400" y="457200"/>
                    </a:cubicBezTo>
                    <a:cubicBezTo>
                      <a:pt x="902970" y="451485"/>
                      <a:pt x="894179" y="441125"/>
                      <a:pt x="882502" y="435935"/>
                    </a:cubicBezTo>
                    <a:cubicBezTo>
                      <a:pt x="754597" y="379089"/>
                      <a:pt x="596298" y="407930"/>
                      <a:pt x="467832" y="404037"/>
                    </a:cubicBezTo>
                    <a:cubicBezTo>
                      <a:pt x="446567" y="400493"/>
                      <a:pt x="424952" y="398634"/>
                      <a:pt x="404037" y="393405"/>
                    </a:cubicBezTo>
                    <a:cubicBezTo>
                      <a:pt x="382291" y="387969"/>
                      <a:pt x="340242" y="372140"/>
                      <a:pt x="340242" y="372140"/>
                    </a:cubicBezTo>
                    <a:cubicBezTo>
                      <a:pt x="333154" y="365051"/>
                      <a:pt x="324135" y="359470"/>
                      <a:pt x="318977" y="350874"/>
                    </a:cubicBezTo>
                    <a:cubicBezTo>
                      <a:pt x="313211" y="341264"/>
                      <a:pt x="315345" y="327729"/>
                      <a:pt x="308344" y="318977"/>
                    </a:cubicBezTo>
                    <a:cubicBezTo>
                      <a:pt x="300361" y="308999"/>
                      <a:pt x="287079" y="304800"/>
                      <a:pt x="276446" y="297712"/>
                    </a:cubicBezTo>
                    <a:cubicBezTo>
                      <a:pt x="269358" y="287079"/>
                      <a:pt x="264798" y="274229"/>
                      <a:pt x="255181" y="265814"/>
                    </a:cubicBezTo>
                    <a:cubicBezTo>
                      <a:pt x="235947" y="248984"/>
                      <a:pt x="191386" y="223284"/>
                      <a:pt x="191386" y="223284"/>
                    </a:cubicBezTo>
                    <a:cubicBezTo>
                      <a:pt x="184298" y="212651"/>
                      <a:pt x="179157" y="200422"/>
                      <a:pt x="170121" y="191386"/>
                    </a:cubicBezTo>
                    <a:cubicBezTo>
                      <a:pt x="86476" y="107741"/>
                      <a:pt x="193427" y="242745"/>
                      <a:pt x="106325" y="138223"/>
                    </a:cubicBezTo>
                    <a:cubicBezTo>
                      <a:pt x="39251" y="57734"/>
                      <a:pt x="125670" y="146938"/>
                      <a:pt x="63795" y="85060"/>
                    </a:cubicBezTo>
                    <a:cubicBezTo>
                      <a:pt x="60251" y="74428"/>
                      <a:pt x="59380" y="62488"/>
                      <a:pt x="53163" y="53163"/>
                    </a:cubicBezTo>
                    <a:cubicBezTo>
                      <a:pt x="44822" y="40652"/>
                      <a:pt x="31898" y="31898"/>
                      <a:pt x="21265" y="21265"/>
                    </a:cubicBezTo>
                    <a:lnTo>
                      <a:pt x="0" y="0"/>
                    </a:lnTo>
                  </a:path>
                </a:pathLst>
              </a:custGeom>
              <a:noFill/>
              <a:ln w="28575" cap="flat" cmpd="sng" algn="ctr">
                <a:solidFill>
                  <a:srgbClr val="D09E00"/>
                </a:solidFill>
                <a:prstDash val="sysDash"/>
                <a:round/>
                <a:headEnd type="none" w="med" len="med"/>
                <a:tailEnd type="none" w="med" len="med"/>
              </a:ln>
            </p:spPr>
            <p:txBody>
              <a:bodyPr anchor="ctr"/>
              <a:lstStyle/>
              <a:p>
                <a:endParaRPr lang="pt-BR"/>
              </a:p>
            </p:txBody>
          </p:sp>
          <p:sp>
            <p:nvSpPr>
              <p:cNvPr id="168" name="Freeform 41"/>
              <p:cNvSpPr>
                <a:spLocks/>
              </p:cNvSpPr>
              <p:nvPr/>
            </p:nvSpPr>
            <p:spPr bwMode="auto">
              <a:xfrm>
                <a:off x="6848294" y="4351666"/>
                <a:ext cx="192442" cy="594334"/>
              </a:xfrm>
              <a:custGeom>
                <a:avLst/>
                <a:gdLst>
                  <a:gd name="T0" fmla="*/ 93779 w 244549"/>
                  <a:gd name="T1" fmla="*/ 0 h 533018"/>
                  <a:gd name="T2" fmla="*/ 89701 w 244549"/>
                  <a:gd name="T3" fmla="*/ 98616 h 533018"/>
                  <a:gd name="T4" fmla="*/ 81546 w 244549"/>
                  <a:gd name="T5" fmla="*/ 197231 h 533018"/>
                  <a:gd name="T6" fmla="*/ 77468 w 244549"/>
                  <a:gd name="T7" fmla="*/ 394462 h 533018"/>
                  <a:gd name="T8" fmla="*/ 73392 w 244549"/>
                  <a:gd name="T9" fmla="*/ 443767 h 533018"/>
                  <a:gd name="T10" fmla="*/ 61159 w 244549"/>
                  <a:gd name="T11" fmla="*/ 460204 h 533018"/>
                  <a:gd name="T12" fmla="*/ 48928 w 244549"/>
                  <a:gd name="T13" fmla="*/ 493076 h 533018"/>
                  <a:gd name="T14" fmla="*/ 44850 w 244549"/>
                  <a:gd name="T15" fmla="*/ 542384 h 533018"/>
                  <a:gd name="T16" fmla="*/ 32619 w 244549"/>
                  <a:gd name="T17" fmla="*/ 575256 h 533018"/>
                  <a:gd name="T18" fmla="*/ 24464 w 244549"/>
                  <a:gd name="T19" fmla="*/ 624564 h 533018"/>
                  <a:gd name="T20" fmla="*/ 8154 w 244549"/>
                  <a:gd name="T21" fmla="*/ 821793 h 533018"/>
                  <a:gd name="T22" fmla="*/ 0 w 244549"/>
                  <a:gd name="T23" fmla="*/ 821793 h 5330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44549"/>
                  <a:gd name="T37" fmla="*/ 0 h 533018"/>
                  <a:gd name="T38" fmla="*/ 244549 w 244549"/>
                  <a:gd name="T39" fmla="*/ 533018 h 5330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44549" h="533018">
                    <a:moveTo>
                      <a:pt x="244549" y="0"/>
                    </a:moveTo>
                    <a:cubicBezTo>
                      <a:pt x="241005" y="21265"/>
                      <a:pt x="239145" y="42881"/>
                      <a:pt x="233916" y="63796"/>
                    </a:cubicBezTo>
                    <a:cubicBezTo>
                      <a:pt x="228479" y="85542"/>
                      <a:pt x="212651" y="127591"/>
                      <a:pt x="212651" y="127591"/>
                    </a:cubicBezTo>
                    <a:cubicBezTo>
                      <a:pt x="209107" y="170121"/>
                      <a:pt x="207658" y="212879"/>
                      <a:pt x="202018" y="255182"/>
                    </a:cubicBezTo>
                    <a:cubicBezTo>
                      <a:pt x="200537" y="266291"/>
                      <a:pt x="199311" y="279154"/>
                      <a:pt x="191386" y="287079"/>
                    </a:cubicBezTo>
                    <a:cubicBezTo>
                      <a:pt x="183461" y="295004"/>
                      <a:pt x="169513" y="292700"/>
                      <a:pt x="159488" y="297712"/>
                    </a:cubicBezTo>
                    <a:cubicBezTo>
                      <a:pt x="148059" y="303427"/>
                      <a:pt x="138223" y="311889"/>
                      <a:pt x="127591" y="318977"/>
                    </a:cubicBezTo>
                    <a:cubicBezTo>
                      <a:pt x="124047" y="329610"/>
                      <a:pt x="123960" y="342123"/>
                      <a:pt x="116958" y="350875"/>
                    </a:cubicBezTo>
                    <a:cubicBezTo>
                      <a:pt x="108975" y="360854"/>
                      <a:pt x="94096" y="363104"/>
                      <a:pt x="85060" y="372140"/>
                    </a:cubicBezTo>
                    <a:cubicBezTo>
                      <a:pt x="76024" y="381176"/>
                      <a:pt x="70883" y="393405"/>
                      <a:pt x="63795" y="404038"/>
                    </a:cubicBezTo>
                    <a:cubicBezTo>
                      <a:pt x="55125" y="499414"/>
                      <a:pt x="89449" y="517992"/>
                      <a:pt x="21265" y="531628"/>
                    </a:cubicBezTo>
                    <a:cubicBezTo>
                      <a:pt x="14314" y="533018"/>
                      <a:pt x="7088" y="531628"/>
                      <a:pt x="0" y="531628"/>
                    </a:cubicBezTo>
                  </a:path>
                </a:pathLst>
              </a:custGeom>
              <a:solidFill>
                <a:schemeClr val="bg1"/>
              </a:solidFill>
              <a:ln w="28575" cap="flat" cmpd="sng" algn="ctr">
                <a:solidFill>
                  <a:schemeClr val="accent4">
                    <a:lumMod val="60000"/>
                    <a:lumOff val="40000"/>
                  </a:schemeClr>
                </a:solidFill>
                <a:prstDash val="solid"/>
                <a:round/>
                <a:headEnd type="none" w="med" len="med"/>
                <a:tailEnd type="none" w="med" len="med"/>
              </a:ln>
            </p:spPr>
            <p:txBody>
              <a:bodyPr anchor="ctr"/>
              <a:lstStyle/>
              <a:p>
                <a:endParaRPr lang="pt-BR"/>
              </a:p>
            </p:txBody>
          </p:sp>
          <p:sp>
            <p:nvSpPr>
              <p:cNvPr id="169" name="Freeform 168"/>
              <p:cNvSpPr/>
              <p:nvPr/>
            </p:nvSpPr>
            <p:spPr>
              <a:xfrm>
                <a:off x="6507122" y="1945165"/>
                <a:ext cx="1433005" cy="536742"/>
              </a:xfrm>
              <a:custGeom>
                <a:avLst/>
                <a:gdLst>
                  <a:gd name="connsiteX0" fmla="*/ 0 w 1432560"/>
                  <a:gd name="connsiteY0" fmla="*/ 29210 h 537210"/>
                  <a:gd name="connsiteX1" fmla="*/ 152400 w 1432560"/>
                  <a:gd name="connsiteY1" fmla="*/ 36830 h 537210"/>
                  <a:gd name="connsiteX2" fmla="*/ 365760 w 1432560"/>
                  <a:gd name="connsiteY2" fmla="*/ 250190 h 537210"/>
                  <a:gd name="connsiteX3" fmla="*/ 495300 w 1432560"/>
                  <a:gd name="connsiteY3" fmla="*/ 356870 h 537210"/>
                  <a:gd name="connsiteX4" fmla="*/ 632460 w 1432560"/>
                  <a:gd name="connsiteY4" fmla="*/ 356870 h 537210"/>
                  <a:gd name="connsiteX5" fmla="*/ 830580 w 1432560"/>
                  <a:gd name="connsiteY5" fmla="*/ 532130 h 537210"/>
                  <a:gd name="connsiteX6" fmla="*/ 1051560 w 1432560"/>
                  <a:gd name="connsiteY6" fmla="*/ 387350 h 537210"/>
                  <a:gd name="connsiteX7" fmla="*/ 1295400 w 1432560"/>
                  <a:gd name="connsiteY7" fmla="*/ 219710 h 537210"/>
                  <a:gd name="connsiteX8" fmla="*/ 1432560 w 1432560"/>
                  <a:gd name="connsiteY8" fmla="*/ 280670 h 537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2560" h="537210">
                    <a:moveTo>
                      <a:pt x="0" y="29210"/>
                    </a:moveTo>
                    <a:cubicBezTo>
                      <a:pt x="45720" y="14605"/>
                      <a:pt x="91440" y="0"/>
                      <a:pt x="152400" y="36830"/>
                    </a:cubicBezTo>
                    <a:cubicBezTo>
                      <a:pt x="213360" y="73660"/>
                      <a:pt x="308610" y="196850"/>
                      <a:pt x="365760" y="250190"/>
                    </a:cubicBezTo>
                    <a:cubicBezTo>
                      <a:pt x="422910" y="303530"/>
                      <a:pt x="450850" y="339090"/>
                      <a:pt x="495300" y="356870"/>
                    </a:cubicBezTo>
                    <a:cubicBezTo>
                      <a:pt x="539750" y="374650"/>
                      <a:pt x="576580" y="327660"/>
                      <a:pt x="632460" y="356870"/>
                    </a:cubicBezTo>
                    <a:cubicBezTo>
                      <a:pt x="688340" y="386080"/>
                      <a:pt x="760730" y="527050"/>
                      <a:pt x="830580" y="532130"/>
                    </a:cubicBezTo>
                    <a:cubicBezTo>
                      <a:pt x="900430" y="537210"/>
                      <a:pt x="974090" y="439420"/>
                      <a:pt x="1051560" y="387350"/>
                    </a:cubicBezTo>
                    <a:cubicBezTo>
                      <a:pt x="1129030" y="335280"/>
                      <a:pt x="1231900" y="237490"/>
                      <a:pt x="1295400" y="219710"/>
                    </a:cubicBezTo>
                    <a:cubicBezTo>
                      <a:pt x="1358900" y="201930"/>
                      <a:pt x="1427480" y="295910"/>
                      <a:pt x="1432560" y="280670"/>
                    </a:cubicBezTo>
                  </a:path>
                </a:pathLst>
              </a:custGeom>
              <a:ln w="28575">
                <a:solidFill>
                  <a:srgbClr val="D09E00"/>
                </a:solidFill>
                <a:prstDash val="sysDash"/>
              </a:ln>
            </p:spPr>
            <p:style>
              <a:lnRef idx="1">
                <a:schemeClr val="accent1"/>
              </a:lnRef>
              <a:fillRef idx="0">
                <a:schemeClr val="accent1"/>
              </a:fillRef>
              <a:effectRef idx="0">
                <a:schemeClr val="accent1"/>
              </a:effectRef>
              <a:fontRef idx="minor">
                <a:schemeClr val="tx1"/>
              </a:fontRef>
            </p:style>
            <p:txBody>
              <a:bodyPr anchor="ctr"/>
              <a:lstStyle/>
              <a:p>
                <a:pPr>
                  <a:defRPr/>
                </a:pPr>
                <a:endParaRPr lang="pt-BR"/>
              </a:p>
            </p:txBody>
          </p:sp>
          <p:sp>
            <p:nvSpPr>
              <p:cNvPr id="170" name="Freeform 169"/>
              <p:cNvSpPr/>
              <p:nvPr/>
            </p:nvSpPr>
            <p:spPr>
              <a:xfrm>
                <a:off x="6896817" y="2073343"/>
                <a:ext cx="169074" cy="152211"/>
              </a:xfrm>
              <a:custGeom>
                <a:avLst/>
                <a:gdLst>
                  <a:gd name="connsiteX0" fmla="*/ 144780 w 168910"/>
                  <a:gd name="connsiteY0" fmla="*/ 0 h 152400"/>
                  <a:gd name="connsiteX1" fmla="*/ 144780 w 168910"/>
                  <a:gd name="connsiteY1" fmla="*/ 76200 h 152400"/>
                  <a:gd name="connsiteX2" fmla="*/ 0 w 168910"/>
                  <a:gd name="connsiteY2" fmla="*/ 152400 h 152400"/>
                </a:gdLst>
                <a:ahLst/>
                <a:cxnLst>
                  <a:cxn ang="0">
                    <a:pos x="connsiteX0" y="connsiteY0"/>
                  </a:cxn>
                  <a:cxn ang="0">
                    <a:pos x="connsiteX1" y="connsiteY1"/>
                  </a:cxn>
                  <a:cxn ang="0">
                    <a:pos x="connsiteX2" y="connsiteY2"/>
                  </a:cxn>
                </a:cxnLst>
                <a:rect l="l" t="t" r="r" b="b"/>
                <a:pathLst>
                  <a:path w="168910" h="152400">
                    <a:moveTo>
                      <a:pt x="144780" y="0"/>
                    </a:moveTo>
                    <a:cubicBezTo>
                      <a:pt x="156845" y="25400"/>
                      <a:pt x="168910" y="50800"/>
                      <a:pt x="144780" y="76200"/>
                    </a:cubicBezTo>
                    <a:cubicBezTo>
                      <a:pt x="120650" y="101600"/>
                      <a:pt x="25400" y="140970"/>
                      <a:pt x="0" y="152400"/>
                    </a:cubicBezTo>
                  </a:path>
                </a:pathLst>
              </a:custGeom>
              <a:ln w="28575">
                <a:solidFill>
                  <a:srgbClr val="D09E00"/>
                </a:solidFill>
                <a:prstDash val="sysDash"/>
              </a:ln>
            </p:spPr>
            <p:style>
              <a:lnRef idx="1">
                <a:schemeClr val="accent1"/>
              </a:lnRef>
              <a:fillRef idx="0">
                <a:schemeClr val="accent1"/>
              </a:fillRef>
              <a:effectRef idx="0">
                <a:schemeClr val="accent1"/>
              </a:effectRef>
              <a:fontRef idx="minor">
                <a:schemeClr val="tx1"/>
              </a:fontRef>
            </p:style>
            <p:txBody>
              <a:bodyPr anchor="ctr"/>
              <a:lstStyle/>
              <a:p>
                <a:pPr>
                  <a:defRPr/>
                </a:pPr>
                <a:endParaRPr lang="pt-BR"/>
              </a:p>
            </p:txBody>
          </p:sp>
          <p:sp>
            <p:nvSpPr>
              <p:cNvPr id="171" name="Freeform 170"/>
              <p:cNvSpPr/>
              <p:nvPr/>
            </p:nvSpPr>
            <p:spPr>
              <a:xfrm>
                <a:off x="5540103" y="3909883"/>
                <a:ext cx="175259" cy="700970"/>
              </a:xfrm>
              <a:custGeom>
                <a:avLst/>
                <a:gdLst>
                  <a:gd name="connsiteX0" fmla="*/ 74930 w 173990"/>
                  <a:gd name="connsiteY0" fmla="*/ 701040 h 701040"/>
                  <a:gd name="connsiteX1" fmla="*/ 6350 w 173990"/>
                  <a:gd name="connsiteY1" fmla="*/ 441960 h 701040"/>
                  <a:gd name="connsiteX2" fmla="*/ 113030 w 173990"/>
                  <a:gd name="connsiteY2" fmla="*/ 304800 h 701040"/>
                  <a:gd name="connsiteX3" fmla="*/ 120650 w 173990"/>
                  <a:gd name="connsiteY3" fmla="*/ 68580 h 701040"/>
                  <a:gd name="connsiteX4" fmla="*/ 173990 w 173990"/>
                  <a:gd name="connsiteY4" fmla="*/ 0 h 701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90" h="701040">
                    <a:moveTo>
                      <a:pt x="74930" y="701040"/>
                    </a:moveTo>
                    <a:cubicBezTo>
                      <a:pt x="37465" y="604520"/>
                      <a:pt x="0" y="508000"/>
                      <a:pt x="6350" y="441960"/>
                    </a:cubicBezTo>
                    <a:cubicBezTo>
                      <a:pt x="12700" y="375920"/>
                      <a:pt x="93980" y="367030"/>
                      <a:pt x="113030" y="304800"/>
                    </a:cubicBezTo>
                    <a:cubicBezTo>
                      <a:pt x="132080" y="242570"/>
                      <a:pt x="110490" y="119380"/>
                      <a:pt x="120650" y="68580"/>
                    </a:cubicBezTo>
                    <a:cubicBezTo>
                      <a:pt x="130810" y="17780"/>
                      <a:pt x="152400" y="8890"/>
                      <a:pt x="173990" y="0"/>
                    </a:cubicBezTo>
                  </a:path>
                </a:pathLst>
              </a:custGeom>
              <a:ln w="28575">
                <a:solidFill>
                  <a:srgbClr val="D09E00"/>
                </a:solidFill>
                <a:prstDash val="sysDash"/>
              </a:ln>
            </p:spPr>
            <p:style>
              <a:lnRef idx="1">
                <a:schemeClr val="accent1"/>
              </a:lnRef>
              <a:fillRef idx="0">
                <a:schemeClr val="accent1"/>
              </a:fillRef>
              <a:effectRef idx="0">
                <a:schemeClr val="accent1"/>
              </a:effectRef>
              <a:fontRef idx="minor">
                <a:schemeClr val="tx1"/>
              </a:fontRef>
            </p:style>
            <p:txBody>
              <a:bodyPr anchor="ctr"/>
              <a:lstStyle/>
              <a:p>
                <a:pPr>
                  <a:defRPr/>
                </a:pPr>
                <a:endParaRPr lang="pt-BR"/>
              </a:p>
            </p:txBody>
          </p:sp>
          <p:sp>
            <p:nvSpPr>
              <p:cNvPr id="172" name="Freeform 171"/>
              <p:cNvSpPr/>
              <p:nvPr/>
            </p:nvSpPr>
            <p:spPr>
              <a:xfrm>
                <a:off x="5333915" y="3597451"/>
                <a:ext cx="373199" cy="280388"/>
              </a:xfrm>
              <a:custGeom>
                <a:avLst/>
                <a:gdLst>
                  <a:gd name="connsiteX0" fmla="*/ 373380 w 373380"/>
                  <a:gd name="connsiteY0" fmla="*/ 281940 h 281940"/>
                  <a:gd name="connsiteX1" fmla="*/ 152400 w 373380"/>
                  <a:gd name="connsiteY1" fmla="*/ 106680 h 281940"/>
                  <a:gd name="connsiteX2" fmla="*/ 0 w 373380"/>
                  <a:gd name="connsiteY2" fmla="*/ 0 h 281940"/>
                </a:gdLst>
                <a:ahLst/>
                <a:cxnLst>
                  <a:cxn ang="0">
                    <a:pos x="connsiteX0" y="connsiteY0"/>
                  </a:cxn>
                  <a:cxn ang="0">
                    <a:pos x="connsiteX1" y="connsiteY1"/>
                  </a:cxn>
                  <a:cxn ang="0">
                    <a:pos x="connsiteX2" y="connsiteY2"/>
                  </a:cxn>
                </a:cxnLst>
                <a:rect l="l" t="t" r="r" b="b"/>
                <a:pathLst>
                  <a:path w="373380" h="281940">
                    <a:moveTo>
                      <a:pt x="373380" y="281940"/>
                    </a:moveTo>
                    <a:cubicBezTo>
                      <a:pt x="294005" y="217805"/>
                      <a:pt x="214630" y="153670"/>
                      <a:pt x="152400" y="106680"/>
                    </a:cubicBezTo>
                    <a:cubicBezTo>
                      <a:pt x="90170" y="59690"/>
                      <a:pt x="19050" y="20320"/>
                      <a:pt x="0" y="0"/>
                    </a:cubicBezTo>
                  </a:path>
                </a:pathLst>
              </a:custGeom>
              <a:noFill/>
              <a:ln w="28575">
                <a:solidFill>
                  <a:srgbClr val="D09E00"/>
                </a:solidFill>
                <a:prstDash val="sysDash"/>
              </a:ln>
            </p:spPr>
            <p:style>
              <a:lnRef idx="1">
                <a:schemeClr val="accent1"/>
              </a:lnRef>
              <a:fillRef idx="0">
                <a:schemeClr val="accent1"/>
              </a:fillRef>
              <a:effectRef idx="0">
                <a:schemeClr val="accent1"/>
              </a:effectRef>
              <a:fontRef idx="minor">
                <a:schemeClr val="tx1"/>
              </a:fontRef>
            </p:style>
            <p:txBody>
              <a:bodyPr anchor="ctr"/>
              <a:lstStyle/>
              <a:p>
                <a:pPr>
                  <a:defRPr/>
                </a:pPr>
                <a:endParaRPr lang="pt-BR"/>
              </a:p>
            </p:txBody>
          </p:sp>
          <p:sp>
            <p:nvSpPr>
              <p:cNvPr id="173" name="Freeform 172"/>
              <p:cNvSpPr/>
              <p:nvPr/>
            </p:nvSpPr>
            <p:spPr>
              <a:xfrm>
                <a:off x="5874127" y="5059473"/>
                <a:ext cx="527840" cy="258357"/>
              </a:xfrm>
              <a:custGeom>
                <a:avLst/>
                <a:gdLst>
                  <a:gd name="connsiteX0" fmla="*/ 46990 w 580390"/>
                  <a:gd name="connsiteY0" fmla="*/ 0 h 228600"/>
                  <a:gd name="connsiteX1" fmla="*/ 24130 w 580390"/>
                  <a:gd name="connsiteY1" fmla="*/ 68580 h 228600"/>
                  <a:gd name="connsiteX2" fmla="*/ 39370 w 580390"/>
                  <a:gd name="connsiteY2" fmla="*/ 167640 h 228600"/>
                  <a:gd name="connsiteX3" fmla="*/ 260350 w 580390"/>
                  <a:gd name="connsiteY3" fmla="*/ 228600 h 228600"/>
                  <a:gd name="connsiteX4" fmla="*/ 580390 w 580390"/>
                  <a:gd name="connsiteY4" fmla="*/ 16764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0390" h="228600">
                    <a:moveTo>
                      <a:pt x="46990" y="0"/>
                    </a:moveTo>
                    <a:cubicBezTo>
                      <a:pt x="36195" y="20320"/>
                      <a:pt x="25400" y="40640"/>
                      <a:pt x="24130" y="68580"/>
                    </a:cubicBezTo>
                    <a:cubicBezTo>
                      <a:pt x="22860" y="96520"/>
                      <a:pt x="0" y="140970"/>
                      <a:pt x="39370" y="167640"/>
                    </a:cubicBezTo>
                    <a:cubicBezTo>
                      <a:pt x="78740" y="194310"/>
                      <a:pt x="170180" y="228600"/>
                      <a:pt x="260350" y="228600"/>
                    </a:cubicBezTo>
                    <a:cubicBezTo>
                      <a:pt x="350520" y="228600"/>
                      <a:pt x="580390" y="167640"/>
                      <a:pt x="580390" y="167640"/>
                    </a:cubicBezTo>
                  </a:path>
                </a:pathLst>
              </a:custGeom>
              <a:ln w="28575">
                <a:solidFill>
                  <a:srgbClr val="D09E00"/>
                </a:solidFill>
                <a:prstDash val="sysDash"/>
              </a:ln>
            </p:spPr>
            <p:style>
              <a:lnRef idx="1">
                <a:schemeClr val="accent1"/>
              </a:lnRef>
              <a:fillRef idx="0">
                <a:schemeClr val="accent1"/>
              </a:fillRef>
              <a:effectRef idx="0">
                <a:schemeClr val="accent1"/>
              </a:effectRef>
              <a:fontRef idx="minor">
                <a:schemeClr val="tx1"/>
              </a:fontRef>
            </p:style>
            <p:txBody>
              <a:bodyPr anchor="ctr"/>
              <a:lstStyle/>
              <a:p>
                <a:pPr>
                  <a:defRPr/>
                </a:pPr>
                <a:endParaRPr lang="pt-BR"/>
              </a:p>
            </p:txBody>
          </p:sp>
          <p:sp>
            <p:nvSpPr>
              <p:cNvPr id="174" name="Freeform 173"/>
              <p:cNvSpPr/>
              <p:nvPr/>
            </p:nvSpPr>
            <p:spPr>
              <a:xfrm>
                <a:off x="5768970" y="5235717"/>
                <a:ext cx="152579" cy="44061"/>
              </a:xfrm>
              <a:custGeom>
                <a:avLst/>
                <a:gdLst>
                  <a:gd name="connsiteX0" fmla="*/ 152400 w 152400"/>
                  <a:gd name="connsiteY0" fmla="*/ 0 h 45720"/>
                  <a:gd name="connsiteX1" fmla="*/ 0 w 152400"/>
                  <a:gd name="connsiteY1" fmla="*/ 45720 h 45720"/>
                </a:gdLst>
                <a:ahLst/>
                <a:cxnLst>
                  <a:cxn ang="0">
                    <a:pos x="connsiteX0" y="connsiteY0"/>
                  </a:cxn>
                  <a:cxn ang="0">
                    <a:pos x="connsiteX1" y="connsiteY1"/>
                  </a:cxn>
                </a:cxnLst>
                <a:rect l="l" t="t" r="r" b="b"/>
                <a:pathLst>
                  <a:path w="152400" h="45720">
                    <a:moveTo>
                      <a:pt x="152400" y="0"/>
                    </a:moveTo>
                    <a:lnTo>
                      <a:pt x="0" y="45720"/>
                    </a:lnTo>
                  </a:path>
                </a:pathLst>
              </a:custGeom>
              <a:ln w="28575">
                <a:solidFill>
                  <a:srgbClr val="D09E00"/>
                </a:solidFill>
                <a:prstDash val="sysDot"/>
              </a:ln>
            </p:spPr>
            <p:style>
              <a:lnRef idx="1">
                <a:schemeClr val="accent1"/>
              </a:lnRef>
              <a:fillRef idx="0">
                <a:schemeClr val="accent1"/>
              </a:fillRef>
              <a:effectRef idx="0">
                <a:schemeClr val="accent1"/>
              </a:effectRef>
              <a:fontRef idx="minor">
                <a:schemeClr val="tx1"/>
              </a:fontRef>
            </p:style>
            <p:txBody>
              <a:bodyPr anchor="ctr"/>
              <a:lstStyle/>
              <a:p>
                <a:pPr>
                  <a:defRPr/>
                </a:pPr>
                <a:endParaRPr lang="pt-BR"/>
              </a:p>
            </p:txBody>
          </p:sp>
          <p:sp>
            <p:nvSpPr>
              <p:cNvPr id="175" name="Oval 174"/>
              <p:cNvSpPr/>
              <p:nvPr/>
            </p:nvSpPr>
            <p:spPr bwMode="auto">
              <a:xfrm>
                <a:off x="5889314" y="5207330"/>
                <a:ext cx="81917" cy="76836"/>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p>
            </p:txBody>
          </p:sp>
          <p:sp>
            <p:nvSpPr>
              <p:cNvPr id="176" name="Oval 175"/>
              <p:cNvSpPr/>
              <p:nvPr/>
            </p:nvSpPr>
            <p:spPr bwMode="auto">
              <a:xfrm>
                <a:off x="5738818" y="5250510"/>
                <a:ext cx="81917" cy="76836"/>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p>
            </p:txBody>
          </p:sp>
          <p:sp>
            <p:nvSpPr>
              <p:cNvPr id="177" name="Oval 176"/>
              <p:cNvSpPr/>
              <p:nvPr/>
            </p:nvSpPr>
            <p:spPr bwMode="auto">
              <a:xfrm>
                <a:off x="5292053" y="3547262"/>
                <a:ext cx="83894" cy="80932"/>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178" name="Oval 177"/>
              <p:cNvSpPr/>
              <p:nvPr/>
            </p:nvSpPr>
            <p:spPr bwMode="auto">
              <a:xfrm>
                <a:off x="6051239" y="5311470"/>
                <a:ext cx="81917" cy="76836"/>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p>
            </p:txBody>
          </p:sp>
          <p:sp>
            <p:nvSpPr>
              <p:cNvPr id="179" name="Oval 178"/>
              <p:cNvSpPr/>
              <p:nvPr/>
            </p:nvSpPr>
            <p:spPr bwMode="auto">
              <a:xfrm>
                <a:off x="5396833" y="2176044"/>
                <a:ext cx="83087" cy="81051"/>
              </a:xfrm>
              <a:prstGeom prst="ellipse">
                <a:avLst/>
              </a:prstGeom>
              <a:solidFill>
                <a:srgbClr val="FF0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grpSp>
        <p:sp>
          <p:nvSpPr>
            <p:cNvPr id="161" name="Freeform 160"/>
            <p:cNvSpPr/>
            <p:nvPr/>
          </p:nvSpPr>
          <p:spPr bwMode="auto">
            <a:xfrm>
              <a:off x="2053267" y="3233452"/>
              <a:ext cx="1422120" cy="120650"/>
            </a:xfrm>
            <a:custGeom>
              <a:avLst/>
              <a:gdLst>
                <a:gd name="connsiteX0" fmla="*/ 0 w 2047875"/>
                <a:gd name="connsiteY0" fmla="*/ 200025 h 200025"/>
                <a:gd name="connsiteX1" fmla="*/ 352425 w 2047875"/>
                <a:gd name="connsiteY1" fmla="*/ 85725 h 200025"/>
                <a:gd name="connsiteX2" fmla="*/ 676275 w 2047875"/>
                <a:gd name="connsiteY2" fmla="*/ 19050 h 200025"/>
                <a:gd name="connsiteX3" fmla="*/ 1019175 w 2047875"/>
                <a:gd name="connsiteY3" fmla="*/ 28575 h 200025"/>
                <a:gd name="connsiteX4" fmla="*/ 1495425 w 2047875"/>
                <a:gd name="connsiteY4" fmla="*/ 190500 h 200025"/>
                <a:gd name="connsiteX5" fmla="*/ 1704975 w 2047875"/>
                <a:gd name="connsiteY5" fmla="*/ 57150 h 200025"/>
                <a:gd name="connsiteX6" fmla="*/ 2047875 w 2047875"/>
                <a:gd name="connsiteY6" fmla="*/ 9525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47875" h="200025">
                  <a:moveTo>
                    <a:pt x="0" y="200025"/>
                  </a:moveTo>
                  <a:cubicBezTo>
                    <a:pt x="119856" y="157956"/>
                    <a:pt x="239713" y="115887"/>
                    <a:pt x="352425" y="85725"/>
                  </a:cubicBezTo>
                  <a:cubicBezTo>
                    <a:pt x="465137" y="55563"/>
                    <a:pt x="565150" y="28575"/>
                    <a:pt x="676275" y="19050"/>
                  </a:cubicBezTo>
                  <a:cubicBezTo>
                    <a:pt x="787400" y="9525"/>
                    <a:pt x="882650" y="0"/>
                    <a:pt x="1019175" y="28575"/>
                  </a:cubicBezTo>
                  <a:cubicBezTo>
                    <a:pt x="1155700" y="57150"/>
                    <a:pt x="1381125" y="185737"/>
                    <a:pt x="1495425" y="190500"/>
                  </a:cubicBezTo>
                  <a:cubicBezTo>
                    <a:pt x="1609725" y="195263"/>
                    <a:pt x="1612900" y="73025"/>
                    <a:pt x="1704975" y="57150"/>
                  </a:cubicBezTo>
                  <a:cubicBezTo>
                    <a:pt x="1797050" y="41275"/>
                    <a:pt x="1990725" y="93663"/>
                    <a:pt x="2047875" y="95250"/>
                  </a:cubicBezTo>
                </a:path>
              </a:pathLst>
            </a:custGeom>
            <a:noFill/>
            <a:ln w="28575">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defRPr/>
              </a:pPr>
              <a:endParaRPr lang="pt-BR"/>
            </a:p>
          </p:txBody>
        </p:sp>
        <p:sp>
          <p:nvSpPr>
            <p:cNvPr id="162" name="Oval 161"/>
            <p:cNvSpPr/>
            <p:nvPr/>
          </p:nvSpPr>
          <p:spPr bwMode="auto">
            <a:xfrm>
              <a:off x="2706005" y="3214953"/>
              <a:ext cx="59819" cy="64245"/>
            </a:xfrm>
            <a:prstGeom prst="ellipse">
              <a:avLst/>
            </a:prstGeom>
            <a:solidFill>
              <a:srgbClr val="FF0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159" name="Freeform 158"/>
            <p:cNvSpPr/>
            <p:nvPr/>
          </p:nvSpPr>
          <p:spPr bwMode="auto">
            <a:xfrm>
              <a:off x="3922213" y="4927315"/>
              <a:ext cx="500265" cy="163512"/>
            </a:xfrm>
            <a:custGeom>
              <a:avLst/>
              <a:gdLst>
                <a:gd name="connsiteX0" fmla="*/ 0 w 696036"/>
                <a:gd name="connsiteY0" fmla="*/ 0 h 204717"/>
                <a:gd name="connsiteX1" fmla="*/ 354842 w 696036"/>
                <a:gd name="connsiteY1" fmla="*/ 163773 h 204717"/>
                <a:gd name="connsiteX2" fmla="*/ 696036 w 696036"/>
                <a:gd name="connsiteY2" fmla="*/ 204717 h 204717"/>
              </a:gdLst>
              <a:ahLst/>
              <a:cxnLst>
                <a:cxn ang="0">
                  <a:pos x="connsiteX0" y="connsiteY0"/>
                </a:cxn>
                <a:cxn ang="0">
                  <a:pos x="connsiteX1" y="connsiteY1"/>
                </a:cxn>
                <a:cxn ang="0">
                  <a:pos x="connsiteX2" y="connsiteY2"/>
                </a:cxn>
              </a:cxnLst>
              <a:rect l="l" t="t" r="r" b="b"/>
              <a:pathLst>
                <a:path w="696036" h="204717">
                  <a:moveTo>
                    <a:pt x="0" y="0"/>
                  </a:moveTo>
                  <a:cubicBezTo>
                    <a:pt x="119418" y="64827"/>
                    <a:pt x="238836" y="129654"/>
                    <a:pt x="354842" y="163773"/>
                  </a:cubicBezTo>
                  <a:cubicBezTo>
                    <a:pt x="470848" y="197892"/>
                    <a:pt x="583442" y="201304"/>
                    <a:pt x="696036" y="204717"/>
                  </a:cubicBezTo>
                </a:path>
              </a:pathLst>
            </a:custGeom>
            <a:ln w="28575">
              <a:solidFill>
                <a:srgbClr val="D09E00"/>
              </a:solidFill>
              <a:prstDash val="sysDash"/>
            </a:ln>
          </p:spPr>
          <p:style>
            <a:lnRef idx="1">
              <a:schemeClr val="accent1"/>
            </a:lnRef>
            <a:fillRef idx="0">
              <a:schemeClr val="accent1"/>
            </a:fillRef>
            <a:effectRef idx="0">
              <a:schemeClr val="accent1"/>
            </a:effectRef>
            <a:fontRef idx="minor">
              <a:schemeClr val="tx1"/>
            </a:fontRef>
          </p:style>
          <p:txBody>
            <a:bodyPr anchor="ctr"/>
            <a:lstStyle/>
            <a:p>
              <a:pPr>
                <a:defRPr/>
              </a:pPr>
              <a:endParaRPr lang="pt-BR"/>
            </a:p>
          </p:txBody>
        </p:sp>
        <p:sp>
          <p:nvSpPr>
            <p:cNvPr id="141" name="Freeform 140"/>
            <p:cNvSpPr/>
            <p:nvPr/>
          </p:nvSpPr>
          <p:spPr bwMode="auto">
            <a:xfrm>
              <a:off x="2707218" y="3039777"/>
              <a:ext cx="281264" cy="203200"/>
            </a:xfrm>
            <a:custGeom>
              <a:avLst/>
              <a:gdLst>
                <a:gd name="connsiteX0" fmla="*/ 21386 w 300786"/>
                <a:gd name="connsiteY0" fmla="*/ 203200 h 203200"/>
                <a:gd name="connsiteX1" fmla="*/ 21386 w 300786"/>
                <a:gd name="connsiteY1" fmla="*/ 57150 h 203200"/>
                <a:gd name="connsiteX2" fmla="*/ 243636 w 300786"/>
                <a:gd name="connsiteY2" fmla="*/ 44450 h 203200"/>
                <a:gd name="connsiteX3" fmla="*/ 300786 w 300786"/>
                <a:gd name="connsiteY3" fmla="*/ 0 h 203200"/>
              </a:gdLst>
              <a:ahLst/>
              <a:cxnLst>
                <a:cxn ang="0">
                  <a:pos x="connsiteX0" y="connsiteY0"/>
                </a:cxn>
                <a:cxn ang="0">
                  <a:pos x="connsiteX1" y="connsiteY1"/>
                </a:cxn>
                <a:cxn ang="0">
                  <a:pos x="connsiteX2" y="connsiteY2"/>
                </a:cxn>
                <a:cxn ang="0">
                  <a:pos x="connsiteX3" y="connsiteY3"/>
                </a:cxn>
              </a:cxnLst>
              <a:rect l="l" t="t" r="r" b="b"/>
              <a:pathLst>
                <a:path w="300786" h="203200">
                  <a:moveTo>
                    <a:pt x="21386" y="203200"/>
                  </a:moveTo>
                  <a:cubicBezTo>
                    <a:pt x="2865" y="143404"/>
                    <a:pt x="-15656" y="83608"/>
                    <a:pt x="21386" y="57150"/>
                  </a:cubicBezTo>
                  <a:cubicBezTo>
                    <a:pt x="58428" y="30692"/>
                    <a:pt x="197069" y="53975"/>
                    <a:pt x="243636" y="44450"/>
                  </a:cubicBezTo>
                  <a:cubicBezTo>
                    <a:pt x="290203" y="34925"/>
                    <a:pt x="295494" y="17462"/>
                    <a:pt x="300786" y="0"/>
                  </a:cubicBezTo>
                </a:path>
              </a:pathLst>
            </a:cu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pt-BR" sz="1400" b="0" i="0" u="none" strike="noStrike" cap="none" normalizeH="0" baseline="0" smtClean="0">
                <a:ln>
                  <a:noFill/>
                </a:ln>
                <a:solidFill>
                  <a:schemeClr val="tx2"/>
                </a:solidFill>
                <a:effectLst/>
                <a:latin typeface="Tahoma" pitchFamily="34" charset="0"/>
              </a:endParaRPr>
            </a:p>
          </p:txBody>
        </p:sp>
        <p:sp>
          <p:nvSpPr>
            <p:cNvPr id="142" name="Freeform 141"/>
            <p:cNvSpPr/>
            <p:nvPr/>
          </p:nvSpPr>
          <p:spPr bwMode="auto">
            <a:xfrm>
              <a:off x="2988482" y="2798477"/>
              <a:ext cx="190012" cy="247650"/>
            </a:xfrm>
            <a:custGeom>
              <a:avLst/>
              <a:gdLst>
                <a:gd name="connsiteX0" fmla="*/ 0 w 203200"/>
                <a:gd name="connsiteY0" fmla="*/ 247650 h 247650"/>
                <a:gd name="connsiteX1" fmla="*/ 82550 w 203200"/>
                <a:gd name="connsiteY1" fmla="*/ 133350 h 247650"/>
                <a:gd name="connsiteX2" fmla="*/ 203200 w 203200"/>
                <a:gd name="connsiteY2" fmla="*/ 0 h 247650"/>
              </a:gdLst>
              <a:ahLst/>
              <a:cxnLst>
                <a:cxn ang="0">
                  <a:pos x="connsiteX0" y="connsiteY0"/>
                </a:cxn>
                <a:cxn ang="0">
                  <a:pos x="connsiteX1" y="connsiteY1"/>
                </a:cxn>
                <a:cxn ang="0">
                  <a:pos x="connsiteX2" y="connsiteY2"/>
                </a:cxn>
              </a:cxnLst>
              <a:rect l="l" t="t" r="r" b="b"/>
              <a:pathLst>
                <a:path w="203200" h="247650">
                  <a:moveTo>
                    <a:pt x="0" y="247650"/>
                  </a:moveTo>
                  <a:cubicBezTo>
                    <a:pt x="24341" y="211137"/>
                    <a:pt x="48683" y="174625"/>
                    <a:pt x="82550" y="133350"/>
                  </a:cubicBezTo>
                  <a:cubicBezTo>
                    <a:pt x="116417" y="92075"/>
                    <a:pt x="203200" y="0"/>
                    <a:pt x="203200" y="0"/>
                  </a:cubicBezTo>
                </a:path>
              </a:pathLst>
            </a:cu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pt-BR" sz="1400" b="0" i="0" u="none" strike="noStrike" cap="none" normalizeH="0" baseline="0" smtClean="0">
                <a:ln>
                  <a:noFill/>
                </a:ln>
                <a:solidFill>
                  <a:schemeClr val="tx2"/>
                </a:solidFill>
                <a:effectLst/>
                <a:latin typeface="Tahoma" pitchFamily="34" charset="0"/>
              </a:endParaRPr>
            </a:p>
          </p:txBody>
        </p:sp>
        <p:sp>
          <p:nvSpPr>
            <p:cNvPr id="145" name="Freeform 144"/>
            <p:cNvSpPr/>
            <p:nvPr/>
          </p:nvSpPr>
          <p:spPr bwMode="auto">
            <a:xfrm>
              <a:off x="3296064" y="5832507"/>
              <a:ext cx="149634" cy="15240"/>
            </a:xfrm>
            <a:custGeom>
              <a:avLst/>
              <a:gdLst>
                <a:gd name="connsiteX0" fmla="*/ 160020 w 160020"/>
                <a:gd name="connsiteY0" fmla="*/ 0 h 15240"/>
                <a:gd name="connsiteX1" fmla="*/ 0 w 160020"/>
                <a:gd name="connsiteY1" fmla="*/ 15240 h 15240"/>
              </a:gdLst>
              <a:ahLst/>
              <a:cxnLst>
                <a:cxn ang="0">
                  <a:pos x="connsiteX0" y="connsiteY0"/>
                </a:cxn>
                <a:cxn ang="0">
                  <a:pos x="connsiteX1" y="connsiteY1"/>
                </a:cxn>
              </a:cxnLst>
              <a:rect l="l" t="t" r="r" b="b"/>
              <a:pathLst>
                <a:path w="160020" h="15240">
                  <a:moveTo>
                    <a:pt x="160020" y="0"/>
                  </a:moveTo>
                  <a:lnTo>
                    <a:pt x="0" y="15240"/>
                  </a:lnTo>
                </a:path>
              </a:pathLst>
            </a:cu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pt-BR" sz="1400" b="0" i="0" u="none" strike="noStrike" cap="none" normalizeH="0" baseline="0" smtClean="0">
                <a:ln>
                  <a:noFill/>
                </a:ln>
                <a:solidFill>
                  <a:schemeClr val="tx2"/>
                </a:solidFill>
                <a:effectLst/>
                <a:latin typeface="Tahoma" pitchFamily="34" charset="0"/>
              </a:endParaRPr>
            </a:p>
          </p:txBody>
        </p:sp>
        <p:sp>
          <p:nvSpPr>
            <p:cNvPr id="146" name="Freeform 145"/>
            <p:cNvSpPr/>
            <p:nvPr/>
          </p:nvSpPr>
          <p:spPr bwMode="auto">
            <a:xfrm>
              <a:off x="3116590" y="5827615"/>
              <a:ext cx="217200" cy="271592"/>
            </a:xfrm>
            <a:custGeom>
              <a:avLst/>
              <a:gdLst>
                <a:gd name="connsiteX0" fmla="*/ 214791 w 232275"/>
                <a:gd name="connsiteY0" fmla="*/ 65852 h 271592"/>
                <a:gd name="connsiteX1" fmla="*/ 24291 w 232275"/>
                <a:gd name="connsiteY1" fmla="*/ 4892 h 271592"/>
                <a:gd name="connsiteX2" fmla="*/ 24291 w 232275"/>
                <a:gd name="connsiteY2" fmla="*/ 180152 h 271592"/>
                <a:gd name="connsiteX3" fmla="*/ 222411 w 232275"/>
                <a:gd name="connsiteY3" fmla="*/ 187772 h 271592"/>
                <a:gd name="connsiteX4" fmla="*/ 184311 w 232275"/>
                <a:gd name="connsiteY4" fmla="*/ 271592 h 271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275" h="271592">
                  <a:moveTo>
                    <a:pt x="214791" y="65852"/>
                  </a:moveTo>
                  <a:cubicBezTo>
                    <a:pt x="135416" y="25847"/>
                    <a:pt x="56041" y="-14158"/>
                    <a:pt x="24291" y="4892"/>
                  </a:cubicBezTo>
                  <a:cubicBezTo>
                    <a:pt x="-7459" y="23942"/>
                    <a:pt x="-8729" y="149672"/>
                    <a:pt x="24291" y="180152"/>
                  </a:cubicBezTo>
                  <a:cubicBezTo>
                    <a:pt x="57311" y="210632"/>
                    <a:pt x="195741" y="172532"/>
                    <a:pt x="222411" y="187772"/>
                  </a:cubicBezTo>
                  <a:cubicBezTo>
                    <a:pt x="249081" y="203012"/>
                    <a:pt x="216696" y="237302"/>
                    <a:pt x="184311" y="271592"/>
                  </a:cubicBezTo>
                </a:path>
              </a:pathLst>
            </a:custGeom>
            <a:noFill/>
            <a:ln w="38100" cap="flat" cmpd="sng" algn="ctr">
              <a:solidFill>
                <a:srgbClr val="D09E00"/>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pt-BR" sz="1400" b="0" i="0" u="none" strike="noStrike" cap="none" normalizeH="0" baseline="0" smtClean="0">
                <a:ln>
                  <a:noFill/>
                </a:ln>
                <a:solidFill>
                  <a:schemeClr val="tx2"/>
                </a:solidFill>
                <a:effectLst/>
                <a:latin typeface="Tahoma" pitchFamily="34" charset="0"/>
              </a:endParaRPr>
            </a:p>
          </p:txBody>
        </p:sp>
        <p:sp>
          <p:nvSpPr>
            <p:cNvPr id="147" name="Oval 146"/>
            <p:cNvSpPr/>
            <p:nvPr/>
          </p:nvSpPr>
          <p:spPr bwMode="auto">
            <a:xfrm>
              <a:off x="3110245" y="5796952"/>
              <a:ext cx="58977" cy="60904"/>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p>
          </p:txBody>
        </p:sp>
        <p:sp>
          <p:nvSpPr>
            <p:cNvPr id="148" name="Oval 147"/>
            <p:cNvSpPr/>
            <p:nvPr/>
          </p:nvSpPr>
          <p:spPr bwMode="auto">
            <a:xfrm>
              <a:off x="3270582" y="5855982"/>
              <a:ext cx="62212" cy="62634"/>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149" name="Oval 148"/>
            <p:cNvSpPr/>
            <p:nvPr/>
          </p:nvSpPr>
          <p:spPr bwMode="auto">
            <a:xfrm>
              <a:off x="3841007" y="5136742"/>
              <a:ext cx="59819" cy="62717"/>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150" name="Oval 149"/>
            <p:cNvSpPr/>
            <p:nvPr/>
          </p:nvSpPr>
          <p:spPr bwMode="auto">
            <a:xfrm>
              <a:off x="3790095" y="5251338"/>
              <a:ext cx="59819" cy="62717"/>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151" name="Oval 150"/>
            <p:cNvSpPr/>
            <p:nvPr/>
          </p:nvSpPr>
          <p:spPr bwMode="auto">
            <a:xfrm>
              <a:off x="3700400" y="5143326"/>
              <a:ext cx="59819" cy="62717"/>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152" name="Freeform 151"/>
            <p:cNvSpPr/>
            <p:nvPr/>
          </p:nvSpPr>
          <p:spPr bwMode="auto">
            <a:xfrm>
              <a:off x="4414313" y="3625565"/>
              <a:ext cx="91295" cy="19050"/>
            </a:xfrm>
            <a:custGeom>
              <a:avLst/>
              <a:gdLst>
                <a:gd name="connsiteX0" fmla="*/ 0 w 97631"/>
                <a:gd name="connsiteY0" fmla="*/ 19050 h 19050"/>
                <a:gd name="connsiteX1" fmla="*/ 97631 w 97631"/>
                <a:gd name="connsiteY1" fmla="*/ 0 h 19050"/>
              </a:gdLst>
              <a:ahLst/>
              <a:cxnLst>
                <a:cxn ang="0">
                  <a:pos x="connsiteX0" y="connsiteY0"/>
                </a:cxn>
                <a:cxn ang="0">
                  <a:pos x="connsiteX1" y="connsiteY1"/>
                </a:cxn>
              </a:cxnLst>
              <a:rect l="l" t="t" r="r" b="b"/>
              <a:pathLst>
                <a:path w="97631" h="19050">
                  <a:moveTo>
                    <a:pt x="0" y="19050"/>
                  </a:moveTo>
                  <a:lnTo>
                    <a:pt x="97631" y="0"/>
                  </a:lnTo>
                </a:path>
              </a:pathLst>
            </a:custGeom>
            <a:noFill/>
            <a:ln w="38100" cap="flat" cmpd="sng" algn="ctr">
              <a:solidFill>
                <a:srgbClr val="D09E00"/>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pt-BR" sz="1400" b="0" i="0" u="none" strike="noStrike" cap="none" normalizeH="0" baseline="0" smtClean="0">
                <a:ln>
                  <a:noFill/>
                </a:ln>
                <a:solidFill>
                  <a:schemeClr val="tx2"/>
                </a:solidFill>
                <a:effectLst/>
                <a:latin typeface="Tahoma" pitchFamily="34" charset="0"/>
              </a:endParaRPr>
            </a:p>
          </p:txBody>
        </p:sp>
        <p:sp>
          <p:nvSpPr>
            <p:cNvPr id="153" name="Oval 152"/>
            <p:cNvSpPr/>
            <p:nvPr/>
          </p:nvSpPr>
          <p:spPr bwMode="auto">
            <a:xfrm>
              <a:off x="3498397" y="3983574"/>
              <a:ext cx="62212" cy="63757"/>
            </a:xfrm>
            <a:prstGeom prst="ellipse">
              <a:avLst/>
            </a:prstGeom>
            <a:solidFill>
              <a:srgbClr val="FF0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154" name="Oval 153"/>
            <p:cNvSpPr/>
            <p:nvPr/>
          </p:nvSpPr>
          <p:spPr bwMode="auto">
            <a:xfrm>
              <a:off x="4402770" y="4525679"/>
              <a:ext cx="60400" cy="63490"/>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155" name="Oval 154"/>
            <p:cNvSpPr/>
            <p:nvPr/>
          </p:nvSpPr>
          <p:spPr bwMode="auto">
            <a:xfrm>
              <a:off x="3476380" y="3437912"/>
              <a:ext cx="60400" cy="64151"/>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156" name="Oval 155"/>
            <p:cNvSpPr/>
            <p:nvPr/>
          </p:nvSpPr>
          <p:spPr bwMode="auto">
            <a:xfrm>
              <a:off x="4085032" y="3444812"/>
              <a:ext cx="60400" cy="64151"/>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157" name="Oval 156"/>
            <p:cNvSpPr/>
            <p:nvPr/>
          </p:nvSpPr>
          <p:spPr bwMode="auto">
            <a:xfrm>
              <a:off x="4376039" y="3612214"/>
              <a:ext cx="60400" cy="64151"/>
            </a:xfrm>
            <a:prstGeom prst="ellipse">
              <a:avLst/>
            </a:prstGeom>
            <a:solidFill>
              <a:srgbClr val="0070C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spAutoFit/>
            </a:bodyPr>
            <a:lstStyle/>
            <a:p>
              <a:pPr algn="r">
                <a:defRPr/>
              </a:pPr>
              <a:endParaRPr lang="pt-BR">
                <a:solidFill>
                  <a:srgbClr val="5F5F5F"/>
                </a:solidFill>
              </a:endParaRPr>
            </a:p>
          </p:txBody>
        </p:sp>
        <p:sp>
          <p:nvSpPr>
            <p:cNvPr id="138" name="Freeform 137"/>
            <p:cNvSpPr/>
            <p:nvPr/>
          </p:nvSpPr>
          <p:spPr>
            <a:xfrm>
              <a:off x="3004389" y="5977268"/>
              <a:ext cx="112183" cy="167064"/>
            </a:xfrm>
            <a:custGeom>
              <a:avLst/>
              <a:gdLst>
                <a:gd name="connsiteX0" fmla="*/ 112183 w 112183"/>
                <a:gd name="connsiteY0" fmla="*/ 14664 h 167064"/>
                <a:gd name="connsiteX1" fmla="*/ 7408 w 112183"/>
                <a:gd name="connsiteY1" fmla="*/ 14664 h 167064"/>
                <a:gd name="connsiteX2" fmla="*/ 16933 w 112183"/>
                <a:gd name="connsiteY2" fmla="*/ 167064 h 167064"/>
              </a:gdLst>
              <a:ahLst/>
              <a:cxnLst>
                <a:cxn ang="0">
                  <a:pos x="connsiteX0" y="connsiteY0"/>
                </a:cxn>
                <a:cxn ang="0">
                  <a:pos x="connsiteX1" y="connsiteY1"/>
                </a:cxn>
                <a:cxn ang="0">
                  <a:pos x="connsiteX2" y="connsiteY2"/>
                </a:cxn>
              </a:cxnLst>
              <a:rect l="l" t="t" r="r" b="b"/>
              <a:pathLst>
                <a:path w="112183" h="167064">
                  <a:moveTo>
                    <a:pt x="112183" y="14664"/>
                  </a:moveTo>
                  <a:cubicBezTo>
                    <a:pt x="67733" y="1964"/>
                    <a:pt x="23283" y="-10736"/>
                    <a:pt x="7408" y="14664"/>
                  </a:cubicBezTo>
                  <a:cubicBezTo>
                    <a:pt x="-8467" y="40064"/>
                    <a:pt x="4233" y="103564"/>
                    <a:pt x="16933" y="167064"/>
                  </a:cubicBezTo>
                </a:path>
              </a:pathLst>
            </a:custGeom>
            <a:noFill/>
            <a:ln w="38100">
              <a:solidFill>
                <a:srgbClr val="D09E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8" name="Oval 17"/>
            <p:cNvSpPr/>
            <p:nvPr/>
          </p:nvSpPr>
          <p:spPr>
            <a:xfrm>
              <a:off x="2022872" y="3189463"/>
              <a:ext cx="1512168" cy="248651"/>
            </a:xfrm>
            <a:prstGeom prst="ellipse">
              <a:avLst/>
            </a:prstGeom>
            <a:noFill/>
            <a:ln>
              <a:solidFill>
                <a:srgbClr val="00B05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43" name="Oval 342"/>
            <p:cNvSpPr/>
            <p:nvPr/>
          </p:nvSpPr>
          <p:spPr>
            <a:xfrm rot="19250710">
              <a:off x="2628809" y="2855954"/>
              <a:ext cx="659556" cy="248651"/>
            </a:xfrm>
            <a:prstGeom prst="ellipse">
              <a:avLst/>
            </a:prstGeom>
            <a:noFill/>
            <a:ln>
              <a:solidFill>
                <a:srgbClr val="00B05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grpSp>
        <p:nvGrpSpPr>
          <p:cNvPr id="46" name="Group 45"/>
          <p:cNvGrpSpPr/>
          <p:nvPr/>
        </p:nvGrpSpPr>
        <p:grpSpPr>
          <a:xfrm>
            <a:off x="7545288" y="6078488"/>
            <a:ext cx="2354766" cy="734888"/>
            <a:chOff x="6177136" y="3429000"/>
            <a:chExt cx="2354766" cy="734888"/>
          </a:xfrm>
        </p:grpSpPr>
        <p:cxnSp>
          <p:nvCxnSpPr>
            <p:cNvPr id="42" name="Straight Connector 41"/>
            <p:cNvCxnSpPr/>
            <p:nvPr/>
          </p:nvCxnSpPr>
          <p:spPr>
            <a:xfrm>
              <a:off x="6177136" y="3570588"/>
              <a:ext cx="432048" cy="0"/>
            </a:xfrm>
            <a:prstGeom prst="line">
              <a:avLst/>
            </a:prstGeom>
            <a:ln w="38100">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44" name="Straight Connector 343"/>
            <p:cNvCxnSpPr/>
            <p:nvPr/>
          </p:nvCxnSpPr>
          <p:spPr>
            <a:xfrm>
              <a:off x="6186661" y="3808090"/>
              <a:ext cx="432048" cy="0"/>
            </a:xfrm>
            <a:prstGeom prst="line">
              <a:avLst/>
            </a:prstGeom>
            <a:ln w="38100">
              <a:solidFill>
                <a:srgbClr val="D09E00"/>
              </a:solidFill>
              <a:prstDash val="sysDash"/>
            </a:ln>
          </p:spPr>
          <p:style>
            <a:lnRef idx="1">
              <a:schemeClr val="accent1"/>
            </a:lnRef>
            <a:fillRef idx="0">
              <a:schemeClr val="accent1"/>
            </a:fillRef>
            <a:effectRef idx="0">
              <a:schemeClr val="accent1"/>
            </a:effectRef>
            <a:fontRef idx="minor">
              <a:schemeClr val="tx1"/>
            </a:fontRef>
          </p:style>
        </p:cxnSp>
        <p:cxnSp>
          <p:nvCxnSpPr>
            <p:cNvPr id="345" name="Straight Connector 344"/>
            <p:cNvCxnSpPr/>
            <p:nvPr/>
          </p:nvCxnSpPr>
          <p:spPr>
            <a:xfrm>
              <a:off x="6186661" y="4062214"/>
              <a:ext cx="432048"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a:xfrm>
              <a:off x="6681192" y="3429000"/>
              <a:ext cx="922047" cy="230832"/>
            </a:xfrm>
            <a:prstGeom prst="rect">
              <a:avLst/>
            </a:prstGeom>
            <a:noFill/>
          </p:spPr>
          <p:txBody>
            <a:bodyPr wrap="none" rtlCol="0">
              <a:spAutoFit/>
            </a:bodyPr>
            <a:lstStyle/>
            <a:p>
              <a:r>
                <a:rPr lang="pt-BR" sz="900" dirty="0" smtClean="0"/>
                <a:t>Rede Ativado</a:t>
              </a:r>
              <a:endParaRPr lang="pt-BR" sz="900" dirty="0"/>
            </a:p>
          </p:txBody>
        </p:sp>
        <p:sp>
          <p:nvSpPr>
            <p:cNvPr id="346" name="TextBox 345"/>
            <p:cNvSpPr txBox="1"/>
            <p:nvPr/>
          </p:nvSpPr>
          <p:spPr>
            <a:xfrm>
              <a:off x="6686525" y="3678982"/>
              <a:ext cx="1845377" cy="230832"/>
            </a:xfrm>
            <a:prstGeom prst="rect">
              <a:avLst/>
            </a:prstGeom>
            <a:noFill/>
          </p:spPr>
          <p:txBody>
            <a:bodyPr wrap="none" rtlCol="0">
              <a:spAutoFit/>
            </a:bodyPr>
            <a:lstStyle/>
            <a:p>
              <a:r>
                <a:rPr lang="pt-BR" sz="900" dirty="0" smtClean="0"/>
                <a:t>Rede Planejado 2013/2014/215</a:t>
              </a:r>
              <a:endParaRPr lang="pt-BR" sz="900" dirty="0"/>
            </a:p>
          </p:txBody>
        </p:sp>
        <p:sp>
          <p:nvSpPr>
            <p:cNvPr id="347" name="TextBox 346"/>
            <p:cNvSpPr txBox="1"/>
            <p:nvPr/>
          </p:nvSpPr>
          <p:spPr>
            <a:xfrm>
              <a:off x="6686525" y="3933056"/>
              <a:ext cx="1338828" cy="230832"/>
            </a:xfrm>
            <a:prstGeom prst="rect">
              <a:avLst/>
            </a:prstGeom>
            <a:noFill/>
          </p:spPr>
          <p:txBody>
            <a:bodyPr wrap="none" rtlCol="0">
              <a:spAutoFit/>
            </a:bodyPr>
            <a:lstStyle/>
            <a:p>
              <a:r>
                <a:rPr lang="pt-BR" sz="900" dirty="0" smtClean="0"/>
                <a:t>Rede LT AMAZONAS</a:t>
              </a:r>
              <a:endParaRPr lang="pt-BR" sz="900" dirty="0"/>
            </a:p>
          </p:txBody>
        </p:sp>
      </p:grpSp>
      <p:pic>
        <p:nvPicPr>
          <p:cNvPr id="4494378" name="Picture 42"/>
          <p:cNvPicPr>
            <a:picLocks noChangeAspect="1" noChangeArrowheads="1"/>
          </p:cNvPicPr>
          <p:nvPr/>
        </p:nvPicPr>
        <p:blipFill>
          <a:blip r:embed="rId27" cstate="print">
            <a:extLst>
              <a:ext uri="{28A0092B-C50C-407E-A947-70E740481C1C}">
                <a14:useLocalDpi xmlns="" xmlns:a14="http://schemas.microsoft.com/office/drawing/2010/main" val="0"/>
              </a:ext>
            </a:extLst>
          </a:blip>
          <a:srcRect/>
          <a:stretch>
            <a:fillRect/>
          </a:stretch>
        </p:blipFill>
        <p:spPr bwMode="auto">
          <a:xfrm>
            <a:off x="343932" y="4828526"/>
            <a:ext cx="1915756" cy="12415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4494379" name="Picture 43"/>
          <p:cNvPicPr>
            <a:picLocks noChangeAspect="1" noChangeArrowheads="1"/>
          </p:cNvPicPr>
          <p:nvPr/>
        </p:nvPicPr>
        <p:blipFill>
          <a:blip r:embed="rId28" cstate="print">
            <a:extLst>
              <a:ext uri="{28A0092B-C50C-407E-A947-70E740481C1C}">
                <a14:useLocalDpi xmlns="" xmlns:a14="http://schemas.microsoft.com/office/drawing/2010/main" val="0"/>
              </a:ext>
            </a:extLst>
          </a:blip>
          <a:srcRect/>
          <a:stretch>
            <a:fillRect/>
          </a:stretch>
        </p:blipFill>
        <p:spPr bwMode="auto">
          <a:xfrm>
            <a:off x="2166781" y="4841728"/>
            <a:ext cx="399853" cy="59051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cxnSp>
        <p:nvCxnSpPr>
          <p:cNvPr id="48" name="Straight Arrow Connector 47"/>
          <p:cNvCxnSpPr>
            <a:endCxn id="51" idx="3"/>
          </p:cNvCxnSpPr>
          <p:nvPr/>
        </p:nvCxnSpPr>
        <p:spPr>
          <a:xfrm flipH="1">
            <a:off x="3616238" y="3383280"/>
            <a:ext cx="1684186" cy="2196856"/>
          </a:xfrm>
          <a:prstGeom prst="straightConnector1">
            <a:avLst/>
          </a:prstGeom>
          <a:ln>
            <a:solidFill>
              <a:srgbClr val="000000"/>
            </a:solidFill>
            <a:tailEnd type="arrow"/>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a:xfrm>
            <a:off x="231862" y="4725131"/>
            <a:ext cx="3384376" cy="171000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56" name="TextBox 55"/>
          <p:cNvSpPr txBox="1"/>
          <p:nvPr/>
        </p:nvSpPr>
        <p:spPr>
          <a:xfrm>
            <a:off x="176395" y="6187759"/>
            <a:ext cx="756938" cy="276999"/>
          </a:xfrm>
          <a:prstGeom prst="rect">
            <a:avLst/>
          </a:prstGeom>
          <a:noFill/>
        </p:spPr>
        <p:txBody>
          <a:bodyPr wrap="none" rtlCol="0">
            <a:spAutoFit/>
          </a:bodyPr>
          <a:lstStyle/>
          <a:p>
            <a:r>
              <a:rPr lang="pt-BR" sz="1200" dirty="0" smtClean="0"/>
              <a:t>Manaus</a:t>
            </a:r>
            <a:endParaRPr lang="pt-BR" sz="1200" dirty="0"/>
          </a:p>
        </p:txBody>
      </p:sp>
      <p:pic>
        <p:nvPicPr>
          <p:cNvPr id="4494401" name="Picture 65"/>
          <p:cNvPicPr>
            <a:picLocks noChangeAspect="1" noChangeArrowheads="1"/>
          </p:cNvPicPr>
          <p:nvPr/>
        </p:nvPicPr>
        <p:blipFill>
          <a:blip r:embed="rId29" cstate="print">
            <a:extLst>
              <a:ext uri="{28A0092B-C50C-407E-A947-70E740481C1C}">
                <a14:useLocalDpi xmlns="" xmlns:a14="http://schemas.microsoft.com/office/drawing/2010/main" val="0"/>
              </a:ext>
            </a:extLst>
          </a:blip>
          <a:srcRect/>
          <a:stretch>
            <a:fillRect/>
          </a:stretch>
        </p:blipFill>
        <p:spPr bwMode="auto">
          <a:xfrm>
            <a:off x="2057445" y="5436818"/>
            <a:ext cx="1460317" cy="89127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4494422" name="Picture 86"/>
          <p:cNvPicPr>
            <a:picLocks noChangeAspect="1" noChangeArrowheads="1"/>
          </p:cNvPicPr>
          <p:nvPr/>
        </p:nvPicPr>
        <p:blipFill>
          <a:blip r:embed="rId30" cstate="print">
            <a:extLst>
              <a:ext uri="{28A0092B-C50C-407E-A947-70E740481C1C}">
                <a14:useLocalDpi xmlns="" xmlns:a14="http://schemas.microsoft.com/office/drawing/2010/main" val="0"/>
              </a:ext>
            </a:extLst>
          </a:blip>
          <a:srcRect/>
          <a:stretch>
            <a:fillRect/>
          </a:stretch>
        </p:blipFill>
        <p:spPr bwMode="auto">
          <a:xfrm>
            <a:off x="248573" y="2441823"/>
            <a:ext cx="1811515" cy="113940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4494423" name="Picture 87"/>
          <p:cNvPicPr>
            <a:picLocks noChangeAspect="1" noChangeArrowheads="1"/>
          </p:cNvPicPr>
          <p:nvPr/>
        </p:nvPicPr>
        <p:blipFill>
          <a:blip r:embed="rId31" cstate="print">
            <a:extLst>
              <a:ext uri="{28A0092B-C50C-407E-A947-70E740481C1C}">
                <a14:useLocalDpi xmlns="" xmlns:a14="http://schemas.microsoft.com/office/drawing/2010/main" val="0"/>
              </a:ext>
            </a:extLst>
          </a:blip>
          <a:srcRect/>
          <a:stretch>
            <a:fillRect/>
          </a:stretch>
        </p:blipFill>
        <p:spPr bwMode="auto">
          <a:xfrm>
            <a:off x="1940762" y="2934445"/>
            <a:ext cx="1590082" cy="107039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348" name="Rectangle 347"/>
          <p:cNvSpPr/>
          <p:nvPr/>
        </p:nvSpPr>
        <p:spPr>
          <a:xfrm>
            <a:off x="206369" y="2357667"/>
            <a:ext cx="3384376" cy="171000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349" name="TextBox 348"/>
          <p:cNvSpPr txBox="1"/>
          <p:nvPr/>
        </p:nvSpPr>
        <p:spPr>
          <a:xfrm>
            <a:off x="155443" y="3821260"/>
            <a:ext cx="747320" cy="276999"/>
          </a:xfrm>
          <a:prstGeom prst="rect">
            <a:avLst/>
          </a:prstGeom>
          <a:noFill/>
        </p:spPr>
        <p:txBody>
          <a:bodyPr wrap="none" rtlCol="0">
            <a:spAutoFit/>
          </a:bodyPr>
          <a:lstStyle/>
          <a:p>
            <a:r>
              <a:rPr lang="pt-BR" sz="1200" dirty="0" smtClean="0"/>
              <a:t>Macapá</a:t>
            </a:r>
            <a:endParaRPr lang="pt-BR" sz="1200" dirty="0"/>
          </a:p>
        </p:txBody>
      </p:sp>
      <p:cxnSp>
        <p:nvCxnSpPr>
          <p:cNvPr id="350" name="Straight Arrow Connector 349"/>
          <p:cNvCxnSpPr>
            <a:stCxn id="343" idx="6"/>
            <a:endCxn id="348" idx="3"/>
          </p:cNvCxnSpPr>
          <p:nvPr/>
        </p:nvCxnSpPr>
        <p:spPr>
          <a:xfrm flipH="1">
            <a:off x="3590745" y="2772052"/>
            <a:ext cx="2904690" cy="440620"/>
          </a:xfrm>
          <a:prstGeom prst="straightConnector1">
            <a:avLst/>
          </a:prstGeom>
          <a:ln>
            <a:solidFill>
              <a:srgbClr val="000000"/>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279761868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 name="Title 38"/>
          <p:cNvSpPr txBox="1">
            <a:spLocks/>
          </p:cNvSpPr>
          <p:nvPr>
            <p:custDataLst>
              <p:tags r:id="rId1"/>
            </p:custDataLst>
          </p:nvPr>
        </p:nvSpPr>
        <p:spPr bwMode="auto">
          <a:xfrm>
            <a:off x="308018" y="87604"/>
            <a:ext cx="7980363"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eaLnBrk="0" hangingPunct="0">
              <a:lnSpc>
                <a:spcPct val="80000"/>
              </a:lnSpc>
            </a:pPr>
            <a:r>
              <a:rPr lang="en-US" sz="2600" kern="0" dirty="0" smtClean="0">
                <a:solidFill>
                  <a:srgbClr val="FFFFFF"/>
                </a:solidFill>
                <a:latin typeface="Calibri" pitchFamily="34" charset="0"/>
                <a:ea typeface="Arial" charset="0"/>
                <a:cs typeface="Arial"/>
              </a:rPr>
              <a:t/>
            </a:r>
            <a:br>
              <a:rPr lang="en-US" sz="2600" kern="0" dirty="0" smtClean="0">
                <a:solidFill>
                  <a:srgbClr val="FFFFFF"/>
                </a:solidFill>
                <a:latin typeface="Calibri" pitchFamily="34" charset="0"/>
                <a:ea typeface="Arial" charset="0"/>
                <a:cs typeface="Arial"/>
              </a:rPr>
            </a:br>
            <a:r>
              <a:rPr lang="en-US" sz="2600" kern="0" dirty="0" smtClean="0">
                <a:solidFill>
                  <a:srgbClr val="FFFFFF"/>
                </a:solidFill>
                <a:latin typeface="Calibri" pitchFamily="34" charset="0"/>
                <a:ea typeface="Arial" charset="0"/>
                <a:cs typeface="Arial"/>
              </a:rPr>
              <a:t>CASE:LT AMAZONAS</a:t>
            </a:r>
            <a:endParaRPr lang="en-US" sz="2800" kern="0" dirty="0" smtClean="0">
              <a:solidFill>
                <a:schemeClr val="bg1"/>
              </a:solidFill>
              <a:latin typeface="Calibri" pitchFamily="34" charset="0"/>
              <a:ea typeface="Arial" charset="0"/>
              <a:cs typeface="+mj-cs"/>
            </a:endParaRPr>
          </a:p>
        </p:txBody>
      </p:sp>
      <p:sp>
        <p:nvSpPr>
          <p:cNvPr id="351" name="Rectangle 350"/>
          <p:cNvSpPr/>
          <p:nvPr/>
        </p:nvSpPr>
        <p:spPr>
          <a:xfrm>
            <a:off x="56456" y="849775"/>
            <a:ext cx="9649072" cy="6047809"/>
          </a:xfrm>
          <a:prstGeom prst="rect">
            <a:avLst/>
          </a:prstGeom>
        </p:spPr>
        <p:txBody>
          <a:bodyPr wrap="square">
            <a:spAutoFit/>
          </a:bodyPr>
          <a:lstStyle/>
          <a:p>
            <a:pPr algn="just"/>
            <a:r>
              <a:rPr lang="pt-BR" sz="1200" u="sng" dirty="0"/>
              <a:t>T</a:t>
            </a:r>
            <a:r>
              <a:rPr lang="pt-BR" sz="1200" u="sng" dirty="0" smtClean="0"/>
              <a:t>echnology </a:t>
            </a:r>
            <a:r>
              <a:rPr lang="pt-BR" sz="1200" b="0" dirty="0" smtClean="0"/>
              <a:t>:</a:t>
            </a:r>
            <a:endParaRPr lang="pt-BR" sz="1000" b="0" dirty="0"/>
          </a:p>
          <a:p>
            <a:pPr algn="just"/>
            <a:r>
              <a:rPr lang="pt-BR" sz="700" b="0" dirty="0"/>
              <a:t> </a:t>
            </a:r>
          </a:p>
          <a:p>
            <a:pPr algn="just"/>
            <a:r>
              <a:rPr lang="en-US" sz="1200" b="0" dirty="0" smtClean="0">
                <a:latin typeface="Calibri" pitchFamily="34" charset="0"/>
                <a:cs typeface="Calibri" pitchFamily="34" charset="0"/>
              </a:rPr>
              <a:t>Implementation </a:t>
            </a:r>
            <a:r>
              <a:rPr lang="en-US" sz="1200" b="0" dirty="0">
                <a:latin typeface="Calibri" pitchFamily="34" charset="0"/>
                <a:cs typeface="Calibri" pitchFamily="34" charset="0"/>
              </a:rPr>
              <a:t>of route fiber cable using OPWG (Fiber Optic launched using as cable support towers of power transmission network) and DWDM OTN matrix using transponder with features consistent (more robust physical characteristics of the fiber) allowing high availability and performance in network management and expansion of the installed system.</a:t>
            </a:r>
          </a:p>
          <a:p>
            <a:pPr algn="just"/>
            <a:endParaRPr lang="pt-BR" sz="1000" b="0" dirty="0" smtClean="0"/>
          </a:p>
          <a:p>
            <a:pPr algn="just"/>
            <a:endParaRPr lang="pt-BR" sz="600" b="0" dirty="0"/>
          </a:p>
          <a:p>
            <a:r>
              <a:rPr lang="en-US" sz="1200" u="sng" dirty="0" smtClean="0"/>
              <a:t>Capacity</a:t>
            </a:r>
            <a:r>
              <a:rPr lang="pt-BR" sz="1100" b="0" dirty="0" smtClean="0"/>
              <a:t>:</a:t>
            </a:r>
            <a:endParaRPr lang="pt-BR" sz="600" b="0" dirty="0"/>
          </a:p>
          <a:p>
            <a:r>
              <a:rPr lang="pt-BR" sz="600" b="0" dirty="0"/>
              <a:t> </a:t>
            </a:r>
          </a:p>
          <a:p>
            <a:endParaRPr lang="en-US" sz="1100" dirty="0"/>
          </a:p>
          <a:p>
            <a:r>
              <a:rPr lang="en-US" sz="1200" b="0" dirty="0" smtClean="0">
                <a:latin typeface="Calibri" pitchFamily="34" charset="0"/>
                <a:cs typeface="Calibri" pitchFamily="34" charset="0"/>
              </a:rPr>
              <a:t>Backbone </a:t>
            </a:r>
            <a:r>
              <a:rPr lang="en-US" sz="1200" b="0" dirty="0">
                <a:latin typeface="Calibri" pitchFamily="34" charset="0"/>
                <a:cs typeface="Calibri" pitchFamily="34" charset="0"/>
              </a:rPr>
              <a:t>capacity growth to voice / data at the time of activation in 16 times and 6 times for Manaus to </a:t>
            </a:r>
            <a:r>
              <a:rPr lang="en-US" sz="1200" b="0" dirty="0" err="1" smtClean="0">
                <a:latin typeface="Calibri" pitchFamily="34" charset="0"/>
                <a:cs typeface="Calibri" pitchFamily="34" charset="0"/>
              </a:rPr>
              <a:t>Macapá</a:t>
            </a:r>
            <a:r>
              <a:rPr lang="en-US" sz="1200" b="0" dirty="0" smtClean="0">
                <a:latin typeface="Calibri" pitchFamily="34" charset="0"/>
                <a:cs typeface="Calibri" pitchFamily="34" charset="0"/>
              </a:rPr>
              <a:t>.</a:t>
            </a:r>
            <a:endParaRPr lang="en-US" sz="1200" b="0" dirty="0">
              <a:latin typeface="Calibri" pitchFamily="34" charset="0"/>
              <a:cs typeface="Calibri" pitchFamily="34" charset="0"/>
            </a:endParaRPr>
          </a:p>
          <a:p>
            <a:pPr lvl="1"/>
            <a:endParaRPr lang="pt-BR" sz="1000" b="0" dirty="0" smtClean="0"/>
          </a:p>
          <a:p>
            <a:pPr lvl="1"/>
            <a:r>
              <a:rPr lang="pt-BR" sz="1000" b="0" dirty="0" smtClean="0"/>
              <a:t>AS IS:</a:t>
            </a:r>
          </a:p>
          <a:p>
            <a:pPr marL="1085850" lvl="2" indent="-171450">
              <a:buFont typeface="Wingdings" pitchFamily="2" charset="2"/>
              <a:buChar char="§"/>
            </a:pPr>
            <a:r>
              <a:rPr lang="pt-BR" sz="1000" b="0" dirty="0" smtClean="0"/>
              <a:t>Manaus </a:t>
            </a:r>
            <a:r>
              <a:rPr lang="pt-BR" sz="1000" b="0" dirty="0"/>
              <a:t>à 622Mbps</a:t>
            </a:r>
          </a:p>
          <a:p>
            <a:pPr marL="1085850" lvl="2" indent="-171450">
              <a:buFont typeface="Wingdings" pitchFamily="2" charset="2"/>
              <a:buChar char="§"/>
            </a:pPr>
            <a:r>
              <a:rPr lang="pt-BR" sz="1000" b="0" dirty="0"/>
              <a:t>Macapá à 102 Mbps</a:t>
            </a:r>
            <a:endParaRPr lang="pt-BR" sz="600" b="0" dirty="0"/>
          </a:p>
          <a:p>
            <a:pPr lvl="1"/>
            <a:r>
              <a:rPr lang="pt-BR" sz="600" b="0" dirty="0"/>
              <a:t> </a:t>
            </a:r>
          </a:p>
          <a:p>
            <a:pPr lvl="1"/>
            <a:r>
              <a:rPr lang="pt-BR" sz="1000" b="0" dirty="0" smtClean="0"/>
              <a:t>TO BE</a:t>
            </a:r>
            <a:endParaRPr lang="pt-BR" sz="1000" b="0" dirty="0"/>
          </a:p>
          <a:p>
            <a:pPr marL="1085850" lvl="2" indent="-171450">
              <a:buFont typeface="Wingdings" pitchFamily="2" charset="2"/>
              <a:buChar char="§"/>
            </a:pPr>
            <a:r>
              <a:rPr lang="pt-BR" sz="1000" b="0" dirty="0"/>
              <a:t>Manaus à 10 </a:t>
            </a:r>
            <a:r>
              <a:rPr lang="pt-BR" sz="1000" b="0" dirty="0" err="1"/>
              <a:t>GBps</a:t>
            </a:r>
            <a:endParaRPr lang="pt-BR" sz="1000" b="0" dirty="0"/>
          </a:p>
          <a:p>
            <a:pPr marL="1085850" lvl="2" indent="-171450">
              <a:buFont typeface="Wingdings" pitchFamily="2" charset="2"/>
              <a:buChar char="§"/>
            </a:pPr>
            <a:r>
              <a:rPr lang="pt-BR" sz="1000" b="0" dirty="0"/>
              <a:t>Macapá à 622 </a:t>
            </a:r>
            <a:r>
              <a:rPr lang="pt-BR" sz="1000" b="0" dirty="0" smtClean="0"/>
              <a:t>Mbps</a:t>
            </a:r>
          </a:p>
          <a:p>
            <a:pPr lvl="2"/>
            <a:endParaRPr lang="pt-BR" sz="600" b="0" dirty="0"/>
          </a:p>
          <a:p>
            <a:pPr lvl="1"/>
            <a:r>
              <a:rPr lang="pt-BR" sz="600" b="0" dirty="0"/>
              <a:t> </a:t>
            </a:r>
          </a:p>
          <a:p>
            <a:r>
              <a:rPr lang="en-US" sz="1200" b="0" dirty="0">
                <a:latin typeface="Calibri" pitchFamily="34" charset="0"/>
                <a:cs typeface="Calibri" pitchFamily="34" charset="0"/>
              </a:rPr>
              <a:t>System to be implemented will support up to 1.6 </a:t>
            </a:r>
            <a:r>
              <a:rPr lang="en-US" sz="1200" b="0" dirty="0" err="1">
                <a:latin typeface="Calibri" pitchFamily="34" charset="0"/>
                <a:cs typeface="Calibri" pitchFamily="34" charset="0"/>
              </a:rPr>
              <a:t>Tbps</a:t>
            </a:r>
            <a:r>
              <a:rPr lang="en-US" sz="1200" b="0" dirty="0">
                <a:latin typeface="Calibri" pitchFamily="34" charset="0"/>
                <a:cs typeface="Calibri" pitchFamily="34" charset="0"/>
              </a:rPr>
              <a:t> capacity on a fiber pair, which can be expanded up 4.Tbps, so we staggered a capacity of 1724 compared to current (1xSTM-4 + 9xE3 compared to system 1.6Tbps)</a:t>
            </a:r>
          </a:p>
          <a:p>
            <a:endParaRPr lang="pt-BR" sz="600" b="0" dirty="0"/>
          </a:p>
          <a:p>
            <a:r>
              <a:rPr lang="pt-BR" sz="600" b="0" dirty="0"/>
              <a:t> </a:t>
            </a:r>
          </a:p>
          <a:p>
            <a:r>
              <a:rPr lang="en-US" sz="1200" u="sng" dirty="0" smtClean="0"/>
              <a:t>Investment</a:t>
            </a:r>
            <a:r>
              <a:rPr lang="pt-BR" sz="1200" u="sng" dirty="0" smtClean="0"/>
              <a:t> </a:t>
            </a:r>
            <a:r>
              <a:rPr lang="pt-BR" sz="1000" dirty="0" smtClean="0"/>
              <a:t>:</a:t>
            </a:r>
            <a:endParaRPr lang="pt-BR" sz="1000" dirty="0"/>
          </a:p>
          <a:p>
            <a:r>
              <a:rPr lang="pt-BR" sz="1000" dirty="0"/>
              <a:t> </a:t>
            </a:r>
            <a:endParaRPr lang="pt-BR" sz="1000" dirty="0" smtClean="0"/>
          </a:p>
          <a:p>
            <a:r>
              <a:rPr lang="en-US" sz="1200" b="0" dirty="0" smtClean="0">
                <a:latin typeface="Calibri" pitchFamily="34" charset="0"/>
                <a:cs typeface="Calibri" pitchFamily="34" charset="0"/>
              </a:rPr>
              <a:t>The investment of the entire project around $ 200MMR</a:t>
            </a:r>
            <a:endParaRPr lang="pt-BR" sz="1000" b="0" dirty="0" smtClean="0"/>
          </a:p>
          <a:p>
            <a:endParaRPr lang="pt-BR" sz="1050" u="sng" dirty="0" smtClean="0"/>
          </a:p>
          <a:p>
            <a:r>
              <a:rPr lang="en-US" sz="1200" u="sng" dirty="0" smtClean="0"/>
              <a:t>Benefits</a:t>
            </a:r>
            <a:r>
              <a:rPr lang="pt-BR" sz="1050" u="sng" dirty="0" smtClean="0"/>
              <a:t>:</a:t>
            </a:r>
          </a:p>
          <a:p>
            <a:endParaRPr lang="pt-BR" sz="1050" u="sng" dirty="0" smtClean="0"/>
          </a:p>
          <a:p>
            <a:r>
              <a:rPr lang="en-US" sz="1200" b="0" dirty="0">
                <a:latin typeface="Calibri" pitchFamily="34" charset="0"/>
                <a:cs typeface="Calibri" pitchFamily="34" charset="0"/>
              </a:rPr>
              <a:t>The cities along the OPGW network, will be met in phases, as described below:</a:t>
            </a:r>
          </a:p>
          <a:p>
            <a:endParaRPr lang="en-US" sz="1200" b="0" dirty="0">
              <a:latin typeface="Calibri" pitchFamily="34" charset="0"/>
              <a:cs typeface="Calibri" pitchFamily="34" charset="0"/>
            </a:endParaRPr>
          </a:p>
          <a:p>
            <a:pPr marL="352425" indent="-169863">
              <a:buFont typeface="Wingdings" pitchFamily="2" charset="2"/>
              <a:buChar char="ü"/>
            </a:pPr>
            <a:r>
              <a:rPr lang="en-US" sz="1200" b="0" dirty="0">
                <a:latin typeface="Calibri" pitchFamily="34" charset="0"/>
                <a:cs typeface="Calibri" pitchFamily="34" charset="0"/>
              </a:rPr>
              <a:t>First </a:t>
            </a:r>
            <a:r>
              <a:rPr lang="en-US" sz="1200" b="0" dirty="0" smtClean="0">
                <a:latin typeface="Calibri" pitchFamily="34" charset="0"/>
                <a:cs typeface="Calibri" pitchFamily="34" charset="0"/>
              </a:rPr>
              <a:t>Phase</a:t>
            </a:r>
            <a:r>
              <a:rPr lang="en-US" sz="1200" b="0" dirty="0">
                <a:latin typeface="Calibri" pitchFamily="34" charset="0"/>
                <a:cs typeface="Calibri" pitchFamily="34" charset="0"/>
              </a:rPr>
              <a:t>: Enabling National BB MNS - MCP and BLM - BLM (EOY 2013</a:t>
            </a:r>
            <a:r>
              <a:rPr lang="en-US" sz="1200" b="0" dirty="0" smtClean="0">
                <a:latin typeface="Calibri" pitchFamily="34" charset="0"/>
                <a:cs typeface="Calibri" pitchFamily="34" charset="0"/>
              </a:rPr>
              <a:t>)</a:t>
            </a:r>
          </a:p>
          <a:p>
            <a:pPr marL="352425" indent="-169863">
              <a:buFont typeface="Wingdings" pitchFamily="2" charset="2"/>
              <a:buChar char="ü"/>
            </a:pPr>
            <a:endParaRPr lang="en-US" sz="1200" b="0" dirty="0" smtClean="0">
              <a:latin typeface="Calibri" pitchFamily="34" charset="0"/>
              <a:cs typeface="Calibri" pitchFamily="34" charset="0"/>
            </a:endParaRPr>
          </a:p>
          <a:p>
            <a:pPr marL="352425" indent="-169863">
              <a:buFont typeface="Wingdings" pitchFamily="2" charset="2"/>
              <a:buChar char="ü"/>
            </a:pPr>
            <a:r>
              <a:rPr lang="en-US" sz="1200" b="0" dirty="0" smtClean="0">
                <a:latin typeface="Calibri" pitchFamily="34" charset="0"/>
                <a:cs typeface="Calibri" pitchFamily="34" charset="0"/>
              </a:rPr>
              <a:t>Second </a:t>
            </a:r>
            <a:r>
              <a:rPr lang="en-US" sz="1200" b="0" dirty="0">
                <a:latin typeface="Calibri" pitchFamily="34" charset="0"/>
                <a:cs typeface="Calibri" pitchFamily="34" charset="0"/>
              </a:rPr>
              <a:t>Phase: Regional Activation BB. Service to 20 cities (EOY 2014</a:t>
            </a:r>
            <a:r>
              <a:rPr lang="en-US" sz="1200" b="0" dirty="0" smtClean="0">
                <a:latin typeface="Calibri" pitchFamily="34" charset="0"/>
                <a:cs typeface="Calibri" pitchFamily="34" charset="0"/>
              </a:rPr>
              <a:t>)</a:t>
            </a:r>
          </a:p>
          <a:p>
            <a:pPr marL="352425" indent="-169863">
              <a:buFont typeface="Wingdings" pitchFamily="2" charset="2"/>
              <a:buChar char="ü"/>
            </a:pPr>
            <a:endParaRPr lang="en-US" sz="1200" b="0" dirty="0" smtClean="0">
              <a:latin typeface="Calibri" pitchFamily="34" charset="0"/>
              <a:cs typeface="Calibri" pitchFamily="34" charset="0"/>
            </a:endParaRPr>
          </a:p>
          <a:p>
            <a:pPr marL="352425" indent="-169863">
              <a:buFont typeface="Wingdings" pitchFamily="2" charset="2"/>
              <a:buChar char="ü"/>
            </a:pPr>
            <a:r>
              <a:rPr lang="en-US" sz="1200" b="0" dirty="0">
                <a:latin typeface="Calibri" pitchFamily="34" charset="0"/>
                <a:cs typeface="Calibri" pitchFamily="34" charset="0"/>
              </a:rPr>
              <a:t>Third phase: Attention to cities near the opening points of FO using Microwave Radio with last mile access (EOY 2015</a:t>
            </a:r>
            <a:r>
              <a:rPr lang="en-US" sz="1200" b="0" dirty="0" smtClean="0">
                <a:latin typeface="Calibri" pitchFamily="34" charset="0"/>
                <a:cs typeface="Calibri" pitchFamily="34" charset="0"/>
              </a:rPr>
              <a:t>)</a:t>
            </a:r>
            <a:endParaRPr lang="en-US" sz="1200" b="0" dirty="0">
              <a:latin typeface="Calibri" pitchFamily="34" charset="0"/>
              <a:cs typeface="Calibri" pitchFamily="34" charset="0"/>
            </a:endParaRPr>
          </a:p>
        </p:txBody>
      </p:sp>
    </p:spTree>
    <p:extLst>
      <p:ext uri="{BB962C8B-B14F-4D97-AF65-F5344CB8AC3E}">
        <p14:creationId xmlns="" xmlns:p14="http://schemas.microsoft.com/office/powerpoint/2010/main" val="95602050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2" name="TextBox 5"/>
          <p:cNvSpPr txBox="1">
            <a:spLocks noChangeArrowheads="1"/>
          </p:cNvSpPr>
          <p:nvPr/>
        </p:nvSpPr>
        <p:spPr bwMode="auto">
          <a:xfrm>
            <a:off x="194337" y="692620"/>
            <a:ext cx="9216363" cy="5355312"/>
          </a:xfrm>
          <a:prstGeom prst="rect">
            <a:avLst/>
          </a:prstGeom>
          <a:noFill/>
          <a:ln>
            <a:noFill/>
          </a:ln>
          <a:extLst/>
        </p:spPr>
        <p:txBody>
          <a:bodyPr wrap="square">
            <a:spAutoFit/>
          </a:bodyPr>
          <a:lstStyle>
            <a:lvl1pPr>
              <a:defRPr sz="2000" b="1">
                <a:solidFill>
                  <a:srgbClr val="6591B2"/>
                </a:solidFill>
                <a:latin typeface="Verdana" pitchFamily="34" charset="0"/>
                <a:ea typeface="ＭＳ Ｐゴシック" pitchFamily="34" charset="-128"/>
              </a:defRPr>
            </a:lvl1pPr>
            <a:lvl2pPr marL="742950" indent="-285750">
              <a:defRPr sz="2000" b="1">
                <a:solidFill>
                  <a:srgbClr val="6591B2"/>
                </a:solidFill>
                <a:latin typeface="Verdana" pitchFamily="34" charset="0"/>
                <a:ea typeface="ＭＳ Ｐゴシック" pitchFamily="34" charset="-128"/>
              </a:defRPr>
            </a:lvl2pPr>
            <a:lvl3pPr marL="1143000" indent="-228600">
              <a:defRPr sz="2000" b="1">
                <a:solidFill>
                  <a:srgbClr val="6591B2"/>
                </a:solidFill>
                <a:latin typeface="Verdana" pitchFamily="34" charset="0"/>
                <a:ea typeface="ＭＳ Ｐゴシック" pitchFamily="34" charset="-128"/>
              </a:defRPr>
            </a:lvl3pPr>
            <a:lvl4pPr marL="1600200" indent="-228600">
              <a:defRPr sz="2000" b="1">
                <a:solidFill>
                  <a:srgbClr val="6591B2"/>
                </a:solidFill>
                <a:latin typeface="Verdana" pitchFamily="34" charset="0"/>
                <a:ea typeface="ＭＳ Ｐゴシック" pitchFamily="34" charset="-128"/>
              </a:defRPr>
            </a:lvl4pPr>
            <a:lvl5pPr marL="2057400" indent="-228600">
              <a:defRPr sz="2000" b="1">
                <a:solidFill>
                  <a:srgbClr val="6591B2"/>
                </a:solidFill>
                <a:latin typeface="Verdana" pitchFamily="34" charset="0"/>
                <a:ea typeface="ＭＳ Ｐゴシック" pitchFamily="34" charset="-128"/>
              </a:defRPr>
            </a:lvl5pPr>
            <a:lvl6pPr marL="2514600" indent="-228600" algn="r" defTabSz="457200" eaLnBrk="0" fontAlgn="base" hangingPunct="0">
              <a:spcBef>
                <a:spcPct val="0"/>
              </a:spcBef>
              <a:spcAft>
                <a:spcPct val="0"/>
              </a:spcAft>
              <a:defRPr sz="2000" b="1">
                <a:solidFill>
                  <a:srgbClr val="6591B2"/>
                </a:solidFill>
                <a:latin typeface="Verdana" pitchFamily="34" charset="0"/>
                <a:ea typeface="ＭＳ Ｐゴシック" pitchFamily="34" charset="-128"/>
              </a:defRPr>
            </a:lvl6pPr>
            <a:lvl7pPr marL="2971800" indent="-228600" algn="r" defTabSz="457200" eaLnBrk="0" fontAlgn="base" hangingPunct="0">
              <a:spcBef>
                <a:spcPct val="0"/>
              </a:spcBef>
              <a:spcAft>
                <a:spcPct val="0"/>
              </a:spcAft>
              <a:defRPr sz="2000" b="1">
                <a:solidFill>
                  <a:srgbClr val="6591B2"/>
                </a:solidFill>
                <a:latin typeface="Verdana" pitchFamily="34" charset="0"/>
                <a:ea typeface="ＭＳ Ｐゴシック" pitchFamily="34" charset="-128"/>
              </a:defRPr>
            </a:lvl7pPr>
            <a:lvl8pPr marL="3429000" indent="-228600" algn="r" defTabSz="457200" eaLnBrk="0" fontAlgn="base" hangingPunct="0">
              <a:spcBef>
                <a:spcPct val="0"/>
              </a:spcBef>
              <a:spcAft>
                <a:spcPct val="0"/>
              </a:spcAft>
              <a:defRPr sz="2000" b="1">
                <a:solidFill>
                  <a:srgbClr val="6591B2"/>
                </a:solidFill>
                <a:latin typeface="Verdana" pitchFamily="34" charset="0"/>
                <a:ea typeface="ＭＳ Ｐゴシック" pitchFamily="34" charset="-128"/>
              </a:defRPr>
            </a:lvl8pPr>
            <a:lvl9pPr marL="3886200" indent="-228600" algn="r" defTabSz="457200" eaLnBrk="0" fontAlgn="base" hangingPunct="0">
              <a:spcBef>
                <a:spcPct val="0"/>
              </a:spcBef>
              <a:spcAft>
                <a:spcPct val="0"/>
              </a:spcAft>
              <a:defRPr sz="2000" b="1">
                <a:solidFill>
                  <a:srgbClr val="6591B2"/>
                </a:solidFill>
                <a:latin typeface="Verdana" pitchFamily="34" charset="0"/>
                <a:ea typeface="ＭＳ Ｐゴシック" pitchFamily="34" charset="-128"/>
              </a:defRPr>
            </a:lvl9pPr>
          </a:lstStyle>
          <a:p>
            <a:pPr algn="just" eaLnBrk="0" hangingPunct="0">
              <a:defRPr/>
            </a:pPr>
            <a:endParaRPr lang="pt-BR" sz="1800" b="0" dirty="0" smtClean="0">
              <a:solidFill>
                <a:srgbClr val="0B3066"/>
              </a:solidFill>
              <a:latin typeface="+mn-lt"/>
            </a:endParaRPr>
          </a:p>
          <a:p>
            <a:pPr marL="285750" indent="-285750" algn="just" eaLnBrk="0" hangingPunct="0">
              <a:buFont typeface="Arial" pitchFamily="34" charset="0"/>
              <a:buChar char="•"/>
              <a:defRPr/>
            </a:pPr>
            <a:r>
              <a:rPr lang="pt-BR" sz="1800" dirty="0" smtClean="0">
                <a:solidFill>
                  <a:srgbClr val="0B3066"/>
                </a:solidFill>
                <a:latin typeface="+mn-lt"/>
              </a:rPr>
              <a:t>72,9 milhões de clientes.</a:t>
            </a:r>
          </a:p>
          <a:p>
            <a:pPr algn="just" eaLnBrk="0" hangingPunct="0">
              <a:defRPr/>
            </a:pPr>
            <a:endParaRPr lang="pt-BR" sz="1800" b="0" dirty="0" smtClean="0">
              <a:solidFill>
                <a:srgbClr val="0B3066"/>
              </a:solidFill>
              <a:latin typeface="+mn-lt"/>
            </a:endParaRPr>
          </a:p>
          <a:p>
            <a:pPr marL="285750" indent="-285750" algn="just" eaLnBrk="0" hangingPunct="0">
              <a:buFont typeface="Arial" pitchFamily="34" charset="0"/>
              <a:buChar char="•"/>
              <a:defRPr/>
            </a:pPr>
            <a:r>
              <a:rPr lang="pt-BR" sz="1800" b="0" dirty="0" smtClean="0">
                <a:solidFill>
                  <a:srgbClr val="0B3066"/>
                </a:solidFill>
                <a:latin typeface="+mn-lt"/>
              </a:rPr>
              <a:t>2ª </a:t>
            </a:r>
            <a:r>
              <a:rPr lang="pt-BR" sz="1800" b="0" dirty="0">
                <a:solidFill>
                  <a:srgbClr val="0B3066"/>
                </a:solidFill>
                <a:latin typeface="+mn-lt"/>
              </a:rPr>
              <a:t>maior operadora </a:t>
            </a:r>
            <a:r>
              <a:rPr lang="pt-BR" sz="1800" b="0" dirty="0" smtClean="0">
                <a:solidFill>
                  <a:srgbClr val="0B3066"/>
                </a:solidFill>
                <a:latin typeface="+mn-lt"/>
              </a:rPr>
              <a:t>móvel, </a:t>
            </a:r>
            <a:r>
              <a:rPr lang="pt-BR" sz="1800" b="0" dirty="0">
                <a:solidFill>
                  <a:srgbClr val="0B3066"/>
                </a:solidFill>
                <a:latin typeface="+mn-lt"/>
              </a:rPr>
              <a:t>com </a:t>
            </a:r>
            <a:r>
              <a:rPr lang="pt-BR" sz="1800" dirty="0" smtClean="0">
                <a:solidFill>
                  <a:srgbClr val="0B3066"/>
                </a:solidFill>
                <a:latin typeface="+mn-lt"/>
              </a:rPr>
              <a:t>cerca </a:t>
            </a:r>
            <a:r>
              <a:rPr lang="pt-BR" sz="1800" dirty="0">
                <a:solidFill>
                  <a:srgbClr val="0B3066"/>
                </a:solidFill>
                <a:latin typeface="+mn-lt"/>
              </a:rPr>
              <a:t>de </a:t>
            </a:r>
            <a:r>
              <a:rPr lang="pt-BR" sz="1800" dirty="0" smtClean="0">
                <a:solidFill>
                  <a:srgbClr val="0B3066"/>
                </a:solidFill>
                <a:latin typeface="+mn-lt"/>
              </a:rPr>
              <a:t>27% </a:t>
            </a:r>
            <a:r>
              <a:rPr lang="pt-BR" sz="1800" dirty="0">
                <a:solidFill>
                  <a:srgbClr val="0B3066"/>
                </a:solidFill>
                <a:latin typeface="+mn-lt"/>
              </a:rPr>
              <a:t>de participação </a:t>
            </a:r>
            <a:r>
              <a:rPr lang="pt-BR" sz="1800" b="0" dirty="0" smtClean="0">
                <a:solidFill>
                  <a:srgbClr val="0B3066"/>
                </a:solidFill>
                <a:latin typeface="+mn-lt"/>
              </a:rPr>
              <a:t>de mercado.</a:t>
            </a:r>
          </a:p>
          <a:p>
            <a:pPr marL="285750" indent="-285750" algn="just" eaLnBrk="0" hangingPunct="0">
              <a:buFont typeface="Arial" pitchFamily="34" charset="0"/>
              <a:buChar char="•"/>
              <a:defRPr/>
            </a:pPr>
            <a:endParaRPr lang="pt-BR" sz="1800" b="0" dirty="0" smtClean="0">
              <a:solidFill>
                <a:srgbClr val="0B3066"/>
              </a:solidFill>
              <a:latin typeface="+mn-lt"/>
            </a:endParaRPr>
          </a:p>
          <a:p>
            <a:pPr marL="285750" indent="-285750" algn="just" eaLnBrk="0" hangingPunct="0">
              <a:buFont typeface="Arial" pitchFamily="34" charset="0"/>
              <a:buChar char="•"/>
              <a:defRPr/>
            </a:pPr>
            <a:r>
              <a:rPr lang="pt-BR" sz="1800" b="0" dirty="0" smtClean="0">
                <a:solidFill>
                  <a:srgbClr val="0B3066"/>
                </a:solidFill>
                <a:latin typeface="+mn-lt"/>
              </a:rPr>
              <a:t>11 meses na </a:t>
            </a:r>
            <a:r>
              <a:rPr lang="pt-BR" sz="1800" dirty="0" smtClean="0">
                <a:solidFill>
                  <a:srgbClr val="0B3066"/>
                </a:solidFill>
                <a:latin typeface="+mn-lt"/>
              </a:rPr>
              <a:t>liderança</a:t>
            </a:r>
            <a:r>
              <a:rPr lang="pt-BR" sz="1800" b="0" dirty="0" smtClean="0">
                <a:solidFill>
                  <a:srgbClr val="0B3066"/>
                </a:solidFill>
                <a:latin typeface="+mn-lt"/>
              </a:rPr>
              <a:t> do segmento </a:t>
            </a:r>
            <a:r>
              <a:rPr lang="pt-BR" sz="1800" dirty="0" smtClean="0">
                <a:solidFill>
                  <a:srgbClr val="0B3066"/>
                </a:solidFill>
                <a:latin typeface="+mn-lt"/>
              </a:rPr>
              <a:t>pré-pago</a:t>
            </a:r>
            <a:r>
              <a:rPr lang="pt-BR" sz="1800" b="0" dirty="0" smtClean="0">
                <a:solidFill>
                  <a:srgbClr val="0B3066"/>
                </a:solidFill>
                <a:latin typeface="+mn-lt"/>
              </a:rPr>
              <a:t> com mais de </a:t>
            </a:r>
            <a:r>
              <a:rPr lang="pt-BR" sz="1800" dirty="0" smtClean="0">
                <a:solidFill>
                  <a:srgbClr val="0B3066"/>
                </a:solidFill>
                <a:latin typeface="+mn-lt"/>
              </a:rPr>
              <a:t>60 milhões de clientes</a:t>
            </a:r>
            <a:r>
              <a:rPr lang="pt-BR" sz="1800" b="0" dirty="0" smtClean="0">
                <a:solidFill>
                  <a:srgbClr val="0B3066"/>
                </a:solidFill>
                <a:latin typeface="+mn-lt"/>
              </a:rPr>
              <a:t>.</a:t>
            </a:r>
          </a:p>
          <a:p>
            <a:pPr marL="285750" indent="-285750" algn="just" eaLnBrk="0" hangingPunct="0">
              <a:buFont typeface="Arial" pitchFamily="34" charset="0"/>
              <a:buChar char="•"/>
              <a:defRPr/>
            </a:pPr>
            <a:endParaRPr lang="pt-BR" sz="1800" b="0" dirty="0" smtClean="0">
              <a:solidFill>
                <a:srgbClr val="0B3066"/>
              </a:solidFill>
              <a:latin typeface="+mn-lt"/>
            </a:endParaRPr>
          </a:p>
          <a:p>
            <a:pPr marL="285750" indent="-285750" algn="just" eaLnBrk="0" hangingPunct="0">
              <a:buFont typeface="Arial" pitchFamily="34" charset="0"/>
              <a:buChar char="•"/>
              <a:defRPr/>
            </a:pPr>
            <a:r>
              <a:rPr lang="pt-BR" sz="1800" b="0" dirty="0" smtClean="0">
                <a:solidFill>
                  <a:srgbClr val="0B3066"/>
                </a:solidFill>
                <a:latin typeface="+mn-lt"/>
              </a:rPr>
              <a:t>Cobertura em mais de 3.390 municípios e 95% da população urbana brasileira.</a:t>
            </a:r>
          </a:p>
          <a:p>
            <a:pPr marL="285750" indent="-285750" algn="just" eaLnBrk="0" hangingPunct="0">
              <a:buFont typeface="Arial" pitchFamily="34" charset="0"/>
              <a:buChar char="•"/>
              <a:defRPr/>
            </a:pPr>
            <a:endParaRPr lang="pt-BR" sz="1800" b="0" dirty="0">
              <a:solidFill>
                <a:srgbClr val="0B3066"/>
              </a:solidFill>
              <a:latin typeface="+mn-lt"/>
            </a:endParaRPr>
          </a:p>
          <a:p>
            <a:pPr marL="285750" indent="-285750" algn="just" eaLnBrk="0" hangingPunct="0">
              <a:buFont typeface="Arial" pitchFamily="34" charset="0"/>
              <a:buChar char="•"/>
              <a:defRPr/>
            </a:pPr>
            <a:r>
              <a:rPr lang="pt-BR" sz="1800" b="0" dirty="0">
                <a:solidFill>
                  <a:srgbClr val="0B3066"/>
                </a:solidFill>
                <a:latin typeface="+mn-lt"/>
              </a:rPr>
              <a:t>Mais de </a:t>
            </a:r>
            <a:r>
              <a:rPr lang="pt-BR" sz="1800" dirty="0" smtClean="0">
                <a:solidFill>
                  <a:srgbClr val="0B3066"/>
                </a:solidFill>
                <a:latin typeface="+mn-lt"/>
              </a:rPr>
              <a:t>11,5 </a:t>
            </a:r>
            <a:r>
              <a:rPr lang="pt-BR" sz="1800" dirty="0">
                <a:solidFill>
                  <a:srgbClr val="0B3066"/>
                </a:solidFill>
                <a:latin typeface="+mn-lt"/>
              </a:rPr>
              <a:t>mil funcionários </a:t>
            </a:r>
            <a:r>
              <a:rPr lang="pt-BR" sz="1800" b="0" dirty="0">
                <a:solidFill>
                  <a:srgbClr val="0B3066"/>
                </a:solidFill>
                <a:latin typeface="+mn-lt"/>
              </a:rPr>
              <a:t>próprios e </a:t>
            </a:r>
            <a:r>
              <a:rPr lang="pt-BR" sz="1800" dirty="0" smtClean="0">
                <a:solidFill>
                  <a:srgbClr val="0B3066"/>
                </a:solidFill>
                <a:latin typeface="+mn-lt"/>
              </a:rPr>
              <a:t>21 </a:t>
            </a:r>
            <a:r>
              <a:rPr lang="pt-BR" sz="1800" dirty="0">
                <a:solidFill>
                  <a:srgbClr val="0B3066"/>
                </a:solidFill>
                <a:latin typeface="+mn-lt"/>
              </a:rPr>
              <a:t>mil </a:t>
            </a:r>
            <a:r>
              <a:rPr lang="pt-BR" sz="1800" dirty="0" smtClean="0">
                <a:solidFill>
                  <a:srgbClr val="0B3066"/>
                </a:solidFill>
                <a:latin typeface="+mn-lt"/>
              </a:rPr>
              <a:t>empregos indiretos</a:t>
            </a:r>
            <a:r>
              <a:rPr lang="pt-BR" sz="1800" b="0" dirty="0">
                <a:solidFill>
                  <a:srgbClr val="0B3066"/>
                </a:solidFill>
                <a:latin typeface="+mn-lt"/>
              </a:rPr>
              <a:t>.</a:t>
            </a:r>
          </a:p>
          <a:p>
            <a:pPr marL="285750" indent="-285750" algn="just" eaLnBrk="0" hangingPunct="0">
              <a:buFont typeface="Arial" pitchFamily="34" charset="0"/>
              <a:buChar char="•"/>
              <a:defRPr/>
            </a:pPr>
            <a:endParaRPr lang="pt-BR" sz="1800" b="0" dirty="0" smtClean="0">
              <a:solidFill>
                <a:srgbClr val="0B3066"/>
              </a:solidFill>
              <a:latin typeface="+mn-lt"/>
            </a:endParaRPr>
          </a:p>
          <a:p>
            <a:pPr marL="285750" indent="-285750" algn="just" eaLnBrk="0" hangingPunct="0">
              <a:buFont typeface="Arial" pitchFamily="34" charset="0"/>
              <a:buChar char="•"/>
              <a:defRPr/>
            </a:pPr>
            <a:r>
              <a:rPr lang="pt-BR" sz="1800" dirty="0" smtClean="0">
                <a:solidFill>
                  <a:srgbClr val="0B3066"/>
                </a:solidFill>
                <a:latin typeface="+mn-lt"/>
              </a:rPr>
              <a:t>13 Centrais de Atendimento </a:t>
            </a:r>
            <a:r>
              <a:rPr lang="pt-BR" sz="1800" b="0" dirty="0" smtClean="0">
                <a:solidFill>
                  <a:srgbClr val="0B3066"/>
                </a:solidFill>
                <a:latin typeface="+mn-lt"/>
              </a:rPr>
              <a:t>telefônico com </a:t>
            </a:r>
            <a:r>
              <a:rPr lang="pt-BR" sz="1800" dirty="0" smtClean="0">
                <a:solidFill>
                  <a:srgbClr val="0B3066"/>
                </a:solidFill>
                <a:latin typeface="+mn-lt"/>
              </a:rPr>
              <a:t>18 mil consultores</a:t>
            </a:r>
            <a:r>
              <a:rPr lang="pt-BR" sz="1800" b="0" dirty="0" smtClean="0">
                <a:solidFill>
                  <a:srgbClr val="0B3066"/>
                </a:solidFill>
                <a:latin typeface="+mn-lt"/>
              </a:rPr>
              <a:t>.</a:t>
            </a:r>
          </a:p>
          <a:p>
            <a:pPr marL="285750" indent="-285750" algn="just" eaLnBrk="0" hangingPunct="0">
              <a:buFont typeface="Arial" pitchFamily="34" charset="0"/>
              <a:buChar char="•"/>
              <a:defRPr/>
            </a:pPr>
            <a:endParaRPr lang="pt-BR" sz="1800" b="0" dirty="0" smtClean="0">
              <a:solidFill>
                <a:srgbClr val="0B3066"/>
              </a:solidFill>
              <a:latin typeface="+mn-lt"/>
            </a:endParaRPr>
          </a:p>
          <a:p>
            <a:pPr marL="285750" indent="-285750" algn="just" eaLnBrk="0" hangingPunct="0">
              <a:buFont typeface="Arial" pitchFamily="34" charset="0"/>
              <a:buChar char="•"/>
              <a:defRPr/>
            </a:pPr>
            <a:r>
              <a:rPr lang="pt-BR" sz="1800" b="0" dirty="0" smtClean="0">
                <a:solidFill>
                  <a:srgbClr val="0B3066"/>
                </a:solidFill>
                <a:latin typeface="+mn-lt"/>
              </a:rPr>
              <a:t>Recolhimento de </a:t>
            </a:r>
            <a:r>
              <a:rPr lang="pt-BR" sz="1800" dirty="0" smtClean="0">
                <a:solidFill>
                  <a:srgbClr val="0B3066"/>
                </a:solidFill>
                <a:latin typeface="+mn-lt"/>
              </a:rPr>
              <a:t>mais de R$ 8 bilhões de tributos diretos e indiretos </a:t>
            </a:r>
            <a:r>
              <a:rPr lang="pt-BR" sz="1800" b="0" dirty="0" smtClean="0">
                <a:solidFill>
                  <a:srgbClr val="0B3066"/>
                </a:solidFill>
                <a:latin typeface="+mn-lt"/>
              </a:rPr>
              <a:t>em </a:t>
            </a:r>
            <a:r>
              <a:rPr lang="pt-BR" sz="1600" b="0" dirty="0" smtClean="0">
                <a:solidFill>
                  <a:srgbClr val="0B3066"/>
                </a:solidFill>
                <a:latin typeface="+mn-lt"/>
              </a:rPr>
              <a:t>2012.</a:t>
            </a:r>
          </a:p>
          <a:p>
            <a:pPr marL="285750" indent="-285750" algn="just" eaLnBrk="0" hangingPunct="0">
              <a:buFont typeface="Arial" pitchFamily="34" charset="0"/>
              <a:buChar char="•"/>
              <a:defRPr/>
            </a:pPr>
            <a:endParaRPr lang="pt-BR" sz="1800" b="0" dirty="0" smtClean="0">
              <a:solidFill>
                <a:srgbClr val="0B3066"/>
              </a:solidFill>
              <a:latin typeface="+mn-lt"/>
            </a:endParaRPr>
          </a:p>
          <a:p>
            <a:pPr marL="285750" indent="-285750" algn="just" eaLnBrk="0" hangingPunct="0">
              <a:buFont typeface="Arial" pitchFamily="34" charset="0"/>
              <a:buChar char="•"/>
              <a:defRPr/>
            </a:pPr>
            <a:r>
              <a:rPr lang="pt-BR" sz="1800" b="0" dirty="0" smtClean="0">
                <a:solidFill>
                  <a:srgbClr val="0B3066"/>
                </a:solidFill>
                <a:latin typeface="+mn-lt"/>
              </a:rPr>
              <a:t>1ª grande </a:t>
            </a:r>
            <a:r>
              <a:rPr lang="pt-BR" sz="1800" b="0" dirty="0">
                <a:solidFill>
                  <a:srgbClr val="0B3066"/>
                </a:solidFill>
                <a:latin typeface="+mn-lt"/>
              </a:rPr>
              <a:t>tele brasileira com ações no principal segmento de Governança na BM&amp;F Bovespa (</a:t>
            </a:r>
            <a:r>
              <a:rPr lang="pt-BR" sz="1800" dirty="0">
                <a:solidFill>
                  <a:srgbClr val="0B3066"/>
                </a:solidFill>
                <a:latin typeface="+mn-lt"/>
              </a:rPr>
              <a:t>Novo Mercado</a:t>
            </a:r>
            <a:r>
              <a:rPr lang="pt-BR" sz="1800" b="0" dirty="0">
                <a:solidFill>
                  <a:srgbClr val="0B3066"/>
                </a:solidFill>
                <a:latin typeface="+mn-lt"/>
              </a:rPr>
              <a:t>, 2011</a:t>
            </a:r>
            <a:r>
              <a:rPr lang="pt-BR" sz="1800" b="0" dirty="0" smtClean="0">
                <a:solidFill>
                  <a:srgbClr val="0B3066"/>
                </a:solidFill>
                <a:latin typeface="+mn-lt"/>
              </a:rPr>
              <a:t>).</a:t>
            </a:r>
          </a:p>
          <a:p>
            <a:pPr marL="285750" indent="-285750" algn="just" eaLnBrk="0" hangingPunct="0">
              <a:buFont typeface="Arial" pitchFamily="34" charset="0"/>
              <a:buChar char="•"/>
              <a:defRPr/>
            </a:pPr>
            <a:endParaRPr lang="pt-BR" sz="1800" b="0" dirty="0">
              <a:solidFill>
                <a:srgbClr val="0B3066"/>
              </a:solidFill>
              <a:latin typeface="+mn-lt"/>
            </a:endParaRPr>
          </a:p>
          <a:p>
            <a:pPr marL="285750" indent="-285750" algn="just" eaLnBrk="0" hangingPunct="0">
              <a:buFont typeface="Arial" pitchFamily="34" charset="0"/>
              <a:buChar char="•"/>
              <a:defRPr/>
            </a:pPr>
            <a:r>
              <a:rPr lang="pt-BR" sz="1800" dirty="0" smtClean="0">
                <a:solidFill>
                  <a:srgbClr val="0B3066"/>
                </a:solidFill>
                <a:latin typeface="+mn-lt"/>
              </a:rPr>
              <a:t>Presidência e diretoria </a:t>
            </a:r>
            <a:r>
              <a:rPr lang="pt-BR" sz="1800" b="0" dirty="0" smtClean="0">
                <a:solidFill>
                  <a:srgbClr val="0B3066"/>
                </a:solidFill>
                <a:latin typeface="+mn-lt"/>
              </a:rPr>
              <a:t>estão estabelecidas na </a:t>
            </a:r>
            <a:r>
              <a:rPr lang="pt-BR" sz="1800" dirty="0" smtClean="0">
                <a:solidFill>
                  <a:srgbClr val="0B3066"/>
                </a:solidFill>
                <a:latin typeface="+mn-lt"/>
              </a:rPr>
              <a:t>cidade do Rio de Janeiro</a:t>
            </a:r>
            <a:r>
              <a:rPr lang="pt-BR" sz="1800" b="0" dirty="0" smtClean="0">
                <a:solidFill>
                  <a:srgbClr val="0B3066"/>
                </a:solidFill>
                <a:latin typeface="+mn-lt"/>
              </a:rPr>
              <a:t>.</a:t>
            </a:r>
            <a:endParaRPr lang="pt-BR" sz="1800" b="0" dirty="0">
              <a:solidFill>
                <a:srgbClr val="0B3066"/>
              </a:solidFill>
              <a:latin typeface="+mn-lt"/>
            </a:endParaRPr>
          </a:p>
        </p:txBody>
      </p:sp>
      <p:sp>
        <p:nvSpPr>
          <p:cNvPr id="4" name="Rectangle 3"/>
          <p:cNvSpPr/>
          <p:nvPr/>
        </p:nvSpPr>
        <p:spPr>
          <a:xfrm>
            <a:off x="3173003" y="6286520"/>
            <a:ext cx="3559994" cy="357190"/>
          </a:xfrm>
          <a:prstGeom prst="rect">
            <a:avLst/>
          </a:prstGeom>
          <a:solidFill>
            <a:schemeClr val="bg1"/>
          </a:solidFill>
          <a:ln>
            <a:noFill/>
          </a:ln>
          <a:effectLst>
            <a:outerShdw blurRad="40000" dist="23000" dir="5400000" rotWithShape="0">
              <a:srgbClr val="000000">
                <a:alpha val="35000"/>
              </a:srgbClr>
            </a:outerShdw>
            <a:softEdge rad="6350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dirty="0"/>
          </a:p>
        </p:txBody>
      </p:sp>
      <p:sp>
        <p:nvSpPr>
          <p:cNvPr id="5" name="Rectangle 4"/>
          <p:cNvSpPr/>
          <p:nvPr/>
        </p:nvSpPr>
        <p:spPr>
          <a:xfrm>
            <a:off x="3482568" y="6286520"/>
            <a:ext cx="2863473" cy="35719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dirty="0"/>
          </a:p>
        </p:txBody>
      </p:sp>
      <p:sp>
        <p:nvSpPr>
          <p:cNvPr id="6" name="Title 1"/>
          <p:cNvSpPr txBox="1">
            <a:spLocks/>
          </p:cNvSpPr>
          <p:nvPr/>
        </p:nvSpPr>
        <p:spPr bwMode="auto">
          <a:xfrm>
            <a:off x="-35" y="-24"/>
            <a:ext cx="8915400" cy="5334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3600" b="1" i="0" u="none" strike="noStrike" kern="1200" cap="none" spc="0" normalizeH="0" baseline="0" noProof="0" dirty="0" smtClean="0">
                <a:ln>
                  <a:noFill/>
                </a:ln>
                <a:solidFill>
                  <a:schemeClr val="bg1"/>
                </a:solidFill>
                <a:effectLst/>
                <a:uLnTx/>
                <a:uFillTx/>
                <a:latin typeface="Candara" pitchFamily="34" charset="0"/>
                <a:ea typeface="ＭＳ Ｐゴシック" pitchFamily="-84" charset="-128"/>
                <a:cs typeface="Trebuchet MS" pitchFamily="34" charset="0"/>
              </a:rPr>
              <a:t>TIM</a:t>
            </a:r>
            <a:r>
              <a:rPr kumimoji="0" lang="en-US" sz="3600" b="1" i="0" u="none" strike="noStrike" kern="1200" cap="none" spc="0" normalizeH="0" noProof="0" dirty="0" smtClean="0">
                <a:ln>
                  <a:noFill/>
                </a:ln>
                <a:solidFill>
                  <a:schemeClr val="bg1"/>
                </a:solidFill>
                <a:effectLst/>
                <a:uLnTx/>
                <a:uFillTx/>
                <a:latin typeface="Candara" pitchFamily="34" charset="0"/>
                <a:ea typeface="ＭＳ Ｐゴシック" pitchFamily="-84" charset="-128"/>
                <a:cs typeface="Trebuchet MS" pitchFamily="34" charset="0"/>
              </a:rPr>
              <a:t> no Brasil</a:t>
            </a:r>
            <a:endParaRPr kumimoji="0" lang="en-US" sz="3600" b="1" i="0" u="none" strike="noStrike" kern="1200" cap="none" spc="0" normalizeH="0" baseline="0" noProof="0" dirty="0" smtClean="0">
              <a:ln>
                <a:noFill/>
              </a:ln>
              <a:solidFill>
                <a:schemeClr val="bg1"/>
              </a:solidFill>
              <a:effectLst/>
              <a:uLnTx/>
              <a:uFillTx/>
              <a:latin typeface="Candara" pitchFamily="34" charset="0"/>
              <a:ea typeface="ＭＳ Ｐゴシック" pitchFamily="-84" charset="-128"/>
              <a:cs typeface="Trebuchet MS" pitchFamily="34" charset="0"/>
            </a:endParaRPr>
          </a:p>
        </p:txBody>
      </p:sp>
    </p:spTree>
    <p:extLst>
      <p:ext uri="{BB962C8B-B14F-4D97-AF65-F5344CB8AC3E}">
        <p14:creationId xmlns="" xmlns:p14="http://schemas.microsoft.com/office/powerpoint/2010/main" val="1292193044"/>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8"/>
          <p:cNvSpPr txBox="1">
            <a:spLocks/>
          </p:cNvSpPr>
          <p:nvPr>
            <p:custDataLst>
              <p:tags r:id="rId1"/>
            </p:custDataLst>
          </p:nvPr>
        </p:nvSpPr>
        <p:spPr bwMode="auto">
          <a:xfrm>
            <a:off x="128464" y="116632"/>
            <a:ext cx="7980363"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eaLnBrk="0" hangingPunct="0">
              <a:lnSpc>
                <a:spcPct val="80000"/>
              </a:lnSpc>
            </a:pPr>
            <a:r>
              <a:rPr lang="en-US" sz="2600" kern="0" dirty="0" smtClean="0">
                <a:solidFill>
                  <a:srgbClr val="FFFFFF"/>
                </a:solidFill>
                <a:latin typeface="Calibri" pitchFamily="34" charset="0"/>
                <a:ea typeface="Arial" charset="0"/>
                <a:cs typeface="Arial"/>
              </a:rPr>
              <a:t/>
            </a:r>
            <a:br>
              <a:rPr lang="en-US" sz="2600" kern="0" dirty="0" smtClean="0">
                <a:solidFill>
                  <a:srgbClr val="FFFFFF"/>
                </a:solidFill>
                <a:latin typeface="Calibri" pitchFamily="34" charset="0"/>
                <a:ea typeface="Arial" charset="0"/>
                <a:cs typeface="Arial"/>
              </a:rPr>
            </a:br>
            <a:r>
              <a:rPr lang="en-US" sz="2600" kern="0" dirty="0" smtClean="0">
                <a:solidFill>
                  <a:srgbClr val="FFFFFF"/>
                </a:solidFill>
                <a:latin typeface="Calibri" pitchFamily="34" charset="0"/>
                <a:ea typeface="Arial" charset="0"/>
                <a:cs typeface="Arial"/>
              </a:rPr>
              <a:t>LT AMAZONAS – MAPA GEOGRÁFICO DO PROJETO</a:t>
            </a:r>
            <a:endParaRPr lang="en-US" sz="2500" kern="0" dirty="0" smtClean="0">
              <a:solidFill>
                <a:schemeClr val="bg1"/>
              </a:solidFill>
              <a:latin typeface="Calibri" pitchFamily="34" charset="0"/>
              <a:ea typeface="Arial" charset="0"/>
              <a:cs typeface="+mj-cs"/>
            </a:endParaRPr>
          </a:p>
        </p:txBody>
      </p:sp>
      <p:pic>
        <p:nvPicPr>
          <p:cNvPr id="4" name="Picture 1"/>
          <p:cNvPicPr>
            <a:picLocks noChangeAspect="1" noChangeArrowheads="1"/>
          </p:cNvPicPr>
          <p:nvPr/>
        </p:nvPicPr>
        <p:blipFill>
          <a:blip r:embed="rId3" cstate="print"/>
          <a:srcRect/>
          <a:stretch>
            <a:fillRect/>
          </a:stretch>
        </p:blipFill>
        <p:spPr bwMode="auto">
          <a:xfrm>
            <a:off x="95216" y="986251"/>
            <a:ext cx="9715568" cy="5683109"/>
          </a:xfrm>
          <a:prstGeom prst="rect">
            <a:avLst/>
          </a:prstGeom>
          <a:noFill/>
          <a:ln w="9525">
            <a:noFill/>
            <a:miter lim="800000"/>
            <a:headEnd/>
            <a:tailEnd/>
          </a:ln>
        </p:spPr>
      </p:pic>
      <p:sp>
        <p:nvSpPr>
          <p:cNvPr id="5" name="TextBox 64"/>
          <p:cNvSpPr txBox="1"/>
          <p:nvPr/>
        </p:nvSpPr>
        <p:spPr>
          <a:xfrm>
            <a:off x="95216" y="1325391"/>
            <a:ext cx="4429156" cy="246221"/>
          </a:xfrm>
          <a:prstGeom prst="rect">
            <a:avLst/>
          </a:prstGeom>
          <a:noFill/>
        </p:spPr>
        <p:txBody>
          <a:bodyPr wrap="square" rtlCol="0">
            <a:spAutoFit/>
          </a:bodyPr>
          <a:lstStyle/>
          <a:p>
            <a:r>
              <a:rPr lang="pt-BR" sz="1000" dirty="0" smtClean="0">
                <a:solidFill>
                  <a:schemeClr val="accent4">
                    <a:lumMod val="20000"/>
                    <a:lumOff val="80000"/>
                  </a:schemeClr>
                </a:solidFill>
              </a:rPr>
              <a:t>ISOLUX:</a:t>
            </a:r>
            <a:r>
              <a:rPr lang="pt-BR" sz="1000" dirty="0" smtClean="0">
                <a:solidFill>
                  <a:srgbClr val="D9D9D9"/>
                </a:solidFill>
              </a:rPr>
              <a:t> </a:t>
            </a:r>
            <a:r>
              <a:rPr lang="pt-BR" sz="1000" dirty="0" smtClean="0">
                <a:solidFill>
                  <a:schemeClr val="bg1"/>
                </a:solidFill>
              </a:rPr>
              <a:t>TRECHO TURUCUÍ – JURUPARI – MACAPÁ – ORIXIMINÁ:  </a:t>
            </a:r>
            <a:endParaRPr lang="pt-BR" sz="1000" dirty="0">
              <a:solidFill>
                <a:schemeClr val="bg1"/>
              </a:solidFill>
            </a:endParaRPr>
          </a:p>
        </p:txBody>
      </p:sp>
      <p:sp>
        <p:nvSpPr>
          <p:cNvPr id="6" name="TextBox 65"/>
          <p:cNvSpPr txBox="1"/>
          <p:nvPr/>
        </p:nvSpPr>
        <p:spPr>
          <a:xfrm>
            <a:off x="87806" y="1651803"/>
            <a:ext cx="3929090" cy="276999"/>
          </a:xfrm>
          <a:prstGeom prst="rect">
            <a:avLst/>
          </a:prstGeom>
          <a:noFill/>
        </p:spPr>
        <p:txBody>
          <a:bodyPr wrap="square" rtlCol="0">
            <a:spAutoFit/>
          </a:bodyPr>
          <a:lstStyle/>
          <a:p>
            <a:r>
              <a:rPr lang="pt-BR" sz="1000" dirty="0" smtClean="0">
                <a:solidFill>
                  <a:schemeClr val="accent1">
                    <a:lumMod val="20000"/>
                    <a:lumOff val="80000"/>
                  </a:schemeClr>
                </a:solidFill>
              </a:rPr>
              <a:t>ANDRADE</a:t>
            </a:r>
            <a:r>
              <a:rPr lang="pt-BR" sz="1200" dirty="0" smtClean="0">
                <a:solidFill>
                  <a:schemeClr val="accent1">
                    <a:lumMod val="20000"/>
                    <a:lumOff val="80000"/>
                  </a:schemeClr>
                </a:solidFill>
              </a:rPr>
              <a:t> </a:t>
            </a:r>
            <a:r>
              <a:rPr lang="pt-BR" sz="1000" dirty="0" smtClean="0">
                <a:solidFill>
                  <a:schemeClr val="accent1">
                    <a:lumMod val="20000"/>
                    <a:lumOff val="80000"/>
                  </a:schemeClr>
                </a:solidFill>
              </a:rPr>
              <a:t>GUTIERREZ: </a:t>
            </a:r>
            <a:r>
              <a:rPr lang="pt-BR" sz="1000" dirty="0" smtClean="0">
                <a:solidFill>
                  <a:schemeClr val="bg1"/>
                </a:solidFill>
              </a:rPr>
              <a:t>TRECHO ORIXIMINÁ - SILVES</a:t>
            </a:r>
            <a:endParaRPr lang="pt-BR" sz="1000" dirty="0">
              <a:solidFill>
                <a:schemeClr val="bg1"/>
              </a:solidFill>
            </a:endParaRPr>
          </a:p>
        </p:txBody>
      </p:sp>
      <p:sp>
        <p:nvSpPr>
          <p:cNvPr id="7" name="TextBox 80"/>
          <p:cNvSpPr txBox="1"/>
          <p:nvPr/>
        </p:nvSpPr>
        <p:spPr>
          <a:xfrm>
            <a:off x="95216" y="2009764"/>
            <a:ext cx="2428892" cy="246221"/>
          </a:xfrm>
          <a:prstGeom prst="rect">
            <a:avLst/>
          </a:prstGeom>
          <a:noFill/>
        </p:spPr>
        <p:txBody>
          <a:bodyPr wrap="square" rtlCol="0">
            <a:spAutoFit/>
          </a:bodyPr>
          <a:lstStyle/>
          <a:p>
            <a:r>
              <a:rPr lang="pt-BR" sz="1000" dirty="0" smtClean="0">
                <a:solidFill>
                  <a:schemeClr val="accent1">
                    <a:lumMod val="20000"/>
                    <a:lumOff val="80000"/>
                  </a:schemeClr>
                </a:solidFill>
              </a:rPr>
              <a:t>TABOCAS: </a:t>
            </a:r>
            <a:r>
              <a:rPr lang="pt-BR" sz="1000" dirty="0" smtClean="0">
                <a:solidFill>
                  <a:schemeClr val="bg1"/>
                </a:solidFill>
              </a:rPr>
              <a:t>SILVES - LECHUGA</a:t>
            </a:r>
            <a:endParaRPr lang="pt-BR" sz="1000" dirty="0">
              <a:solidFill>
                <a:schemeClr val="bg1"/>
              </a:solidFill>
            </a:endParaRPr>
          </a:p>
        </p:txBody>
      </p:sp>
      <p:sp>
        <p:nvSpPr>
          <p:cNvPr id="8" name="Oval 49"/>
          <p:cNvSpPr/>
          <p:nvPr/>
        </p:nvSpPr>
        <p:spPr bwMode="auto">
          <a:xfrm>
            <a:off x="3798630" y="2577815"/>
            <a:ext cx="436532" cy="416486"/>
          </a:xfrm>
          <a:prstGeom prst="ellipse">
            <a:avLst/>
          </a:prstGeom>
          <a:ln>
            <a:headEnd type="none" w="med" len="med"/>
            <a:tailEnd type="none" w="med" len="med"/>
          </a:ln>
        </p:spPr>
        <p:style>
          <a:lnRef idx="0">
            <a:schemeClr val="dk1"/>
          </a:lnRef>
          <a:fillRef idx="3">
            <a:schemeClr val="dk1"/>
          </a:fillRef>
          <a:effectRef idx="3">
            <a:schemeClr val="dk1"/>
          </a:effectRef>
          <a:fontRef idx="minor">
            <a:schemeClr val="lt1"/>
          </a:fontRef>
        </p:style>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r>
              <a:rPr lang="pt-BR" dirty="0" smtClean="0">
                <a:solidFill>
                  <a:srgbClr val="FFFFFF"/>
                </a:solidFill>
                <a:latin typeface="Arial" charset="0"/>
                <a:cs typeface="Arial" charset="0"/>
              </a:rPr>
              <a:t>3</a:t>
            </a:r>
            <a:endParaRPr kumimoji="0" lang="pt-BR" sz="1800" i="0" u="none" strike="noStrike" cap="none" normalizeH="0" baseline="0" dirty="0" smtClean="0">
              <a:ln>
                <a:noFill/>
              </a:ln>
              <a:solidFill>
                <a:srgbClr val="FFFFFF"/>
              </a:solidFill>
              <a:effectLst/>
              <a:latin typeface="Arial" charset="0"/>
              <a:cs typeface="Arial" charset="0"/>
            </a:endParaRPr>
          </a:p>
        </p:txBody>
      </p:sp>
      <p:sp>
        <p:nvSpPr>
          <p:cNvPr id="9" name="Oval 51"/>
          <p:cNvSpPr/>
          <p:nvPr/>
        </p:nvSpPr>
        <p:spPr bwMode="auto">
          <a:xfrm>
            <a:off x="6748716" y="2369572"/>
            <a:ext cx="436532" cy="416486"/>
          </a:xfrm>
          <a:prstGeom prst="ellipse">
            <a:avLst/>
          </a:prstGeom>
          <a:ln>
            <a:headEnd type="none" w="med" len="med"/>
            <a:tailEnd type="none" w="med" len="med"/>
          </a:ln>
        </p:spPr>
        <p:style>
          <a:lnRef idx="0">
            <a:schemeClr val="dk1"/>
          </a:lnRef>
          <a:fillRef idx="3">
            <a:schemeClr val="dk1"/>
          </a:fillRef>
          <a:effectRef idx="3">
            <a:schemeClr val="dk1"/>
          </a:effectRef>
          <a:fontRef idx="minor">
            <a:schemeClr val="lt1"/>
          </a:fontRef>
        </p:style>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r>
              <a:rPr lang="pt-BR" dirty="0" smtClean="0">
                <a:solidFill>
                  <a:srgbClr val="FFFFFF"/>
                </a:solidFill>
                <a:latin typeface="Arial" charset="0"/>
                <a:cs typeface="Arial" charset="0"/>
              </a:rPr>
              <a:t>2</a:t>
            </a:r>
            <a:endParaRPr kumimoji="0" lang="pt-BR" sz="1800" i="0" u="none" strike="noStrike" cap="none" normalizeH="0" baseline="0" dirty="0" smtClean="0">
              <a:ln>
                <a:noFill/>
              </a:ln>
              <a:solidFill>
                <a:srgbClr val="FFFFFF"/>
              </a:solidFill>
              <a:effectLst/>
              <a:latin typeface="Arial" charset="0"/>
              <a:cs typeface="Arial" charset="0"/>
            </a:endParaRPr>
          </a:p>
        </p:txBody>
      </p:sp>
      <p:sp>
        <p:nvSpPr>
          <p:cNvPr id="10" name="Oval 52"/>
          <p:cNvSpPr/>
          <p:nvPr/>
        </p:nvSpPr>
        <p:spPr bwMode="auto">
          <a:xfrm>
            <a:off x="7377940" y="4410919"/>
            <a:ext cx="436532" cy="416486"/>
          </a:xfrm>
          <a:prstGeom prst="ellipse">
            <a:avLst/>
          </a:prstGeom>
          <a:ln>
            <a:headEnd type="none" w="med" len="med"/>
            <a:tailEnd type="none" w="med" len="med"/>
          </a:ln>
        </p:spPr>
        <p:style>
          <a:lnRef idx="0">
            <a:schemeClr val="dk1"/>
          </a:lnRef>
          <a:fillRef idx="3">
            <a:schemeClr val="dk1"/>
          </a:fillRef>
          <a:effectRef idx="3">
            <a:schemeClr val="dk1"/>
          </a:effectRef>
          <a:fontRef idx="minor">
            <a:schemeClr val="lt1"/>
          </a:fontRef>
        </p:style>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r>
              <a:rPr lang="pt-BR" dirty="0" smtClean="0">
                <a:solidFill>
                  <a:srgbClr val="FFFFFF"/>
                </a:solidFill>
                <a:latin typeface="Arial" charset="0"/>
                <a:cs typeface="Arial" charset="0"/>
              </a:rPr>
              <a:t>1</a:t>
            </a:r>
            <a:endParaRPr kumimoji="0" lang="pt-BR" sz="1800" i="0" u="none" strike="noStrike" cap="none" normalizeH="0" baseline="0" dirty="0" smtClean="0">
              <a:ln>
                <a:noFill/>
              </a:ln>
              <a:solidFill>
                <a:srgbClr val="FFFFFF"/>
              </a:solidFill>
              <a:effectLst/>
              <a:latin typeface="Arial" charset="0"/>
              <a:cs typeface="Arial" charset="0"/>
            </a:endParaRPr>
          </a:p>
        </p:txBody>
      </p:sp>
      <p:sp>
        <p:nvSpPr>
          <p:cNvPr id="11" name="Oval 17"/>
          <p:cNvSpPr/>
          <p:nvPr/>
        </p:nvSpPr>
        <p:spPr bwMode="auto">
          <a:xfrm>
            <a:off x="5488785" y="3465116"/>
            <a:ext cx="214314" cy="215108"/>
          </a:xfrm>
          <a:prstGeom prst="ellipse">
            <a:avLst/>
          </a:prstGeom>
          <a:ln>
            <a:headEnd type="none" w="med" len="med"/>
            <a:tailEnd type="none" w="med" len="med"/>
          </a:ln>
        </p:spPr>
        <p:style>
          <a:lnRef idx="0">
            <a:schemeClr val="dk1"/>
          </a:lnRef>
          <a:fillRef idx="3">
            <a:schemeClr val="dk1"/>
          </a:fillRef>
          <a:effectRef idx="3">
            <a:schemeClr val="dk1"/>
          </a:effectRef>
          <a:fontRef idx="minor">
            <a:schemeClr val="lt1"/>
          </a:fontRef>
        </p:style>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r>
              <a:rPr lang="pt-BR" sz="800" dirty="0" smtClean="0">
                <a:solidFill>
                  <a:srgbClr val="FFFFFF"/>
                </a:solidFill>
                <a:latin typeface="Arial" charset="0"/>
                <a:cs typeface="Arial" charset="0"/>
              </a:rPr>
              <a:t>3.1</a:t>
            </a:r>
            <a:endParaRPr kumimoji="0" lang="pt-BR" sz="800" i="0" u="none" strike="noStrike" cap="none" normalizeH="0" baseline="0" dirty="0" smtClean="0">
              <a:ln>
                <a:noFill/>
              </a:ln>
              <a:solidFill>
                <a:srgbClr val="FFFFFF"/>
              </a:solidFill>
              <a:effectLst/>
              <a:latin typeface="Arial" charset="0"/>
              <a:cs typeface="Arial" charset="0"/>
            </a:endParaRPr>
          </a:p>
        </p:txBody>
      </p:sp>
      <p:sp>
        <p:nvSpPr>
          <p:cNvPr id="12" name="Oval 18"/>
          <p:cNvSpPr/>
          <p:nvPr/>
        </p:nvSpPr>
        <p:spPr bwMode="auto">
          <a:xfrm>
            <a:off x="3126568" y="3680224"/>
            <a:ext cx="214314" cy="215108"/>
          </a:xfrm>
          <a:prstGeom prst="ellipse">
            <a:avLst/>
          </a:prstGeom>
          <a:ln>
            <a:headEnd type="none" w="med" len="med"/>
            <a:tailEnd type="none" w="med" len="med"/>
          </a:ln>
        </p:spPr>
        <p:style>
          <a:lnRef idx="0">
            <a:schemeClr val="dk1"/>
          </a:lnRef>
          <a:fillRef idx="3">
            <a:schemeClr val="dk1"/>
          </a:fillRef>
          <a:effectRef idx="3">
            <a:schemeClr val="dk1"/>
          </a:effectRef>
          <a:fontRef idx="minor">
            <a:schemeClr val="lt1"/>
          </a:fontRef>
        </p:style>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r>
              <a:rPr lang="pt-BR" sz="800" dirty="0" smtClean="0">
                <a:solidFill>
                  <a:srgbClr val="FFFFFF"/>
                </a:solidFill>
                <a:latin typeface="Arial" charset="0"/>
                <a:cs typeface="Arial" charset="0"/>
              </a:rPr>
              <a:t>3.2</a:t>
            </a:r>
            <a:endParaRPr kumimoji="0" lang="pt-BR" sz="800" i="0" u="none" strike="noStrike" cap="none" normalizeH="0" baseline="0" dirty="0" smtClean="0">
              <a:ln>
                <a:noFill/>
              </a:ln>
              <a:solidFill>
                <a:srgbClr val="FFFFFF"/>
              </a:solidFill>
              <a:effectLst/>
              <a:latin typeface="Arial" charset="0"/>
              <a:cs typeface="Arial" charset="0"/>
            </a:endParaRPr>
          </a:p>
        </p:txBody>
      </p:sp>
      <p:sp>
        <p:nvSpPr>
          <p:cNvPr id="13" name="Oval 20"/>
          <p:cNvSpPr/>
          <p:nvPr/>
        </p:nvSpPr>
        <p:spPr bwMode="auto">
          <a:xfrm>
            <a:off x="1309662" y="3895332"/>
            <a:ext cx="214314" cy="215108"/>
          </a:xfrm>
          <a:prstGeom prst="ellipse">
            <a:avLst/>
          </a:prstGeom>
          <a:ln>
            <a:headEnd type="none" w="med" len="med"/>
            <a:tailEnd type="none" w="med" len="med"/>
          </a:ln>
        </p:spPr>
        <p:style>
          <a:lnRef idx="0">
            <a:schemeClr val="dk1"/>
          </a:lnRef>
          <a:fillRef idx="3">
            <a:schemeClr val="dk1"/>
          </a:fillRef>
          <a:effectRef idx="3">
            <a:schemeClr val="dk1"/>
          </a:effectRef>
          <a:fontRef idx="minor">
            <a:schemeClr val="lt1"/>
          </a:fontRef>
        </p:style>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r>
              <a:rPr lang="pt-BR" sz="800" dirty="0" smtClean="0">
                <a:solidFill>
                  <a:srgbClr val="FFFFFF"/>
                </a:solidFill>
                <a:latin typeface="Arial" charset="0"/>
                <a:cs typeface="Arial" charset="0"/>
              </a:rPr>
              <a:t>3.3</a:t>
            </a:r>
            <a:endParaRPr kumimoji="0" lang="pt-BR" sz="800" i="0" u="none" strike="noStrike" cap="none" normalizeH="0" baseline="0" dirty="0" smtClean="0">
              <a:ln>
                <a:noFill/>
              </a:ln>
              <a:solidFill>
                <a:srgbClr val="FFFFFF"/>
              </a:solidFill>
              <a:effectLst/>
              <a:latin typeface="Arial" charset="0"/>
              <a:cs typeface="Arial" charset="0"/>
            </a:endParaRPr>
          </a:p>
        </p:txBody>
      </p:sp>
      <p:cxnSp>
        <p:nvCxnSpPr>
          <p:cNvPr id="14" name="Straight Connector 15"/>
          <p:cNvCxnSpPr/>
          <p:nvPr/>
        </p:nvCxnSpPr>
        <p:spPr bwMode="auto">
          <a:xfrm rot="5400000">
            <a:off x="1560489" y="4107661"/>
            <a:ext cx="1071570" cy="1588"/>
          </a:xfrm>
          <a:prstGeom prst="line">
            <a:avLst/>
          </a:prstGeom>
          <a:solidFill>
            <a:schemeClr val="bg1"/>
          </a:solidFill>
          <a:ln w="9525" cap="flat" cmpd="sng" algn="ctr">
            <a:solidFill>
              <a:schemeClr val="tx1">
                <a:lumMod val="40000"/>
                <a:lumOff val="60000"/>
              </a:schemeClr>
            </a:solidFill>
            <a:prstDash val="solid"/>
            <a:round/>
            <a:headEnd type="none" w="med" len="med"/>
            <a:tailEnd type="none" w="med" len="med"/>
          </a:ln>
          <a:effectLst>
            <a:prstShdw prst="shdw17" dist="17961" dir="2700000">
              <a:srgbClr val="969696">
                <a:gamma/>
                <a:shade val="60000"/>
                <a:invGamma/>
              </a:srgbClr>
            </a:prstShdw>
          </a:effectLst>
        </p:spPr>
      </p:cxnSp>
      <p:cxnSp>
        <p:nvCxnSpPr>
          <p:cNvPr id="15" name="Straight Connector 16"/>
          <p:cNvCxnSpPr/>
          <p:nvPr/>
        </p:nvCxnSpPr>
        <p:spPr bwMode="auto">
          <a:xfrm rot="5400000">
            <a:off x="3630602" y="3571876"/>
            <a:ext cx="1071570" cy="1588"/>
          </a:xfrm>
          <a:prstGeom prst="line">
            <a:avLst/>
          </a:prstGeom>
          <a:solidFill>
            <a:schemeClr val="bg1"/>
          </a:solidFill>
          <a:ln w="9525" cap="flat" cmpd="sng" algn="ctr">
            <a:solidFill>
              <a:schemeClr val="tx1">
                <a:lumMod val="40000"/>
                <a:lumOff val="60000"/>
              </a:schemeClr>
            </a:solidFill>
            <a:prstDash val="solid"/>
            <a:round/>
            <a:headEnd type="none" w="med" len="med"/>
            <a:tailEnd type="none" w="med" len="med"/>
          </a:ln>
          <a:effectLst>
            <a:prstShdw prst="shdw17" dist="17961" dir="2700000">
              <a:srgbClr val="969696">
                <a:gamma/>
                <a:shade val="60000"/>
                <a:invGamma/>
              </a:srgbClr>
            </a:prstShdw>
          </a:effectLst>
        </p:spPr>
      </p:cxnSp>
    </p:spTree>
    <p:extLst>
      <p:ext uri="{BB962C8B-B14F-4D97-AF65-F5344CB8AC3E}">
        <p14:creationId xmlns="" xmlns:p14="http://schemas.microsoft.com/office/powerpoint/2010/main" val="387561692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 name="Title 38"/>
          <p:cNvSpPr txBox="1">
            <a:spLocks/>
          </p:cNvSpPr>
          <p:nvPr>
            <p:custDataLst>
              <p:tags r:id="rId1"/>
            </p:custDataLst>
          </p:nvPr>
        </p:nvSpPr>
        <p:spPr bwMode="auto">
          <a:xfrm>
            <a:off x="308018" y="87604"/>
            <a:ext cx="7980363"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eaLnBrk="0" hangingPunct="0">
              <a:lnSpc>
                <a:spcPct val="80000"/>
              </a:lnSpc>
            </a:pPr>
            <a:r>
              <a:rPr lang="en-US" sz="2600" kern="0" dirty="0" smtClean="0">
                <a:solidFill>
                  <a:srgbClr val="FFFFFF"/>
                </a:solidFill>
                <a:latin typeface="Calibri" pitchFamily="34" charset="0"/>
                <a:ea typeface="Arial" charset="0"/>
                <a:cs typeface="Arial"/>
              </a:rPr>
              <a:t/>
            </a:r>
            <a:br>
              <a:rPr lang="en-US" sz="2600" kern="0" dirty="0" smtClean="0">
                <a:solidFill>
                  <a:srgbClr val="FFFFFF"/>
                </a:solidFill>
                <a:latin typeface="Calibri" pitchFamily="34" charset="0"/>
                <a:ea typeface="Arial" charset="0"/>
                <a:cs typeface="Arial"/>
              </a:rPr>
            </a:br>
            <a:r>
              <a:rPr lang="en-US" sz="2600" kern="0" dirty="0" smtClean="0">
                <a:solidFill>
                  <a:srgbClr val="FFFFFF"/>
                </a:solidFill>
                <a:latin typeface="Calibri" pitchFamily="34" charset="0"/>
                <a:ea typeface="Arial" charset="0"/>
                <a:cs typeface="Arial"/>
              </a:rPr>
              <a:t>LT AMAZONAS</a:t>
            </a:r>
            <a:endParaRPr lang="en-US" sz="2800" kern="0" dirty="0" smtClean="0">
              <a:solidFill>
                <a:schemeClr val="bg1"/>
              </a:solidFill>
              <a:latin typeface="Calibri" pitchFamily="34" charset="0"/>
              <a:ea typeface="Arial" charset="0"/>
              <a:cs typeface="+mj-cs"/>
            </a:endParaRPr>
          </a:p>
        </p:txBody>
      </p:sp>
      <p:sp>
        <p:nvSpPr>
          <p:cNvPr id="2" name="Rectangle 1"/>
          <p:cNvSpPr/>
          <p:nvPr/>
        </p:nvSpPr>
        <p:spPr>
          <a:xfrm>
            <a:off x="128464" y="975936"/>
            <a:ext cx="9649072" cy="438582"/>
          </a:xfrm>
          <a:prstGeom prst="rect">
            <a:avLst/>
          </a:prstGeom>
        </p:spPr>
        <p:txBody>
          <a:bodyPr wrap="square">
            <a:spAutoFit/>
          </a:bodyPr>
          <a:lstStyle/>
          <a:p>
            <a:pPr algn="just"/>
            <a:r>
              <a:rPr lang="pt-BR" sz="1200" u="sng" dirty="0" smtClean="0"/>
              <a:t>Estudo </a:t>
            </a:r>
            <a:r>
              <a:rPr lang="pt-BR" sz="1200" u="sng" dirty="0" err="1" smtClean="0"/>
              <a:t>EoY</a:t>
            </a:r>
            <a:r>
              <a:rPr lang="pt-BR" sz="1200" u="sng" dirty="0" smtClean="0"/>
              <a:t> - 2013</a:t>
            </a:r>
            <a:endParaRPr lang="pt-BR" sz="1200" u="sng" dirty="0"/>
          </a:p>
          <a:p>
            <a:pPr algn="just"/>
            <a:r>
              <a:rPr lang="pt-BR" sz="1050" dirty="0"/>
              <a:t> </a:t>
            </a:r>
          </a:p>
        </p:txBody>
      </p:sp>
      <p:cxnSp>
        <p:nvCxnSpPr>
          <p:cNvPr id="55" name="Straight Connector 56"/>
          <p:cNvCxnSpPr>
            <a:cxnSpLocks noChangeShapeType="1"/>
          </p:cNvCxnSpPr>
          <p:nvPr/>
        </p:nvCxnSpPr>
        <p:spPr bwMode="auto">
          <a:xfrm flipH="1">
            <a:off x="4146798" y="3392682"/>
            <a:ext cx="12700" cy="1174750"/>
          </a:xfrm>
          <a:prstGeom prst="line">
            <a:avLst/>
          </a:prstGeom>
          <a:noFill/>
          <a:ln w="9525" algn="ctr">
            <a:solidFill>
              <a:srgbClr val="0000FF"/>
            </a:solidFill>
            <a:round/>
            <a:headEnd/>
            <a:tailEnd/>
          </a:ln>
        </p:spPr>
      </p:cxnSp>
      <p:cxnSp>
        <p:nvCxnSpPr>
          <p:cNvPr id="56" name="Straight Connector 54"/>
          <p:cNvCxnSpPr>
            <a:cxnSpLocks noChangeShapeType="1"/>
          </p:cNvCxnSpPr>
          <p:nvPr/>
        </p:nvCxnSpPr>
        <p:spPr bwMode="auto">
          <a:xfrm>
            <a:off x="4211885" y="2277718"/>
            <a:ext cx="4797425" cy="1588"/>
          </a:xfrm>
          <a:prstGeom prst="line">
            <a:avLst/>
          </a:prstGeom>
          <a:noFill/>
          <a:ln w="9525" algn="ctr">
            <a:solidFill>
              <a:srgbClr val="0000FF"/>
            </a:solidFill>
            <a:round/>
            <a:headEnd/>
            <a:tailEnd/>
          </a:ln>
        </p:spPr>
      </p:cxnSp>
      <p:cxnSp>
        <p:nvCxnSpPr>
          <p:cNvPr id="57" name="Straight Connector 52"/>
          <p:cNvCxnSpPr>
            <a:cxnSpLocks noChangeShapeType="1"/>
          </p:cNvCxnSpPr>
          <p:nvPr/>
        </p:nvCxnSpPr>
        <p:spPr bwMode="auto">
          <a:xfrm flipH="1">
            <a:off x="4159498" y="2340170"/>
            <a:ext cx="12700" cy="917575"/>
          </a:xfrm>
          <a:prstGeom prst="line">
            <a:avLst/>
          </a:prstGeom>
          <a:noFill/>
          <a:ln w="9525" algn="ctr">
            <a:solidFill>
              <a:srgbClr val="0000FF"/>
            </a:solidFill>
            <a:round/>
            <a:headEnd/>
            <a:tailEnd/>
          </a:ln>
        </p:spPr>
      </p:cxnSp>
      <p:cxnSp>
        <p:nvCxnSpPr>
          <p:cNvPr id="58" name="Straight Connector 50"/>
          <p:cNvCxnSpPr>
            <a:cxnSpLocks noChangeShapeType="1"/>
          </p:cNvCxnSpPr>
          <p:nvPr/>
        </p:nvCxnSpPr>
        <p:spPr bwMode="auto">
          <a:xfrm>
            <a:off x="2851398" y="2278257"/>
            <a:ext cx="1244600" cy="0"/>
          </a:xfrm>
          <a:prstGeom prst="line">
            <a:avLst/>
          </a:prstGeom>
          <a:noFill/>
          <a:ln w="9525" algn="ctr">
            <a:solidFill>
              <a:srgbClr val="0000FF"/>
            </a:solidFill>
            <a:round/>
            <a:headEnd/>
            <a:tailEnd/>
          </a:ln>
        </p:spPr>
      </p:cxnSp>
      <p:cxnSp>
        <p:nvCxnSpPr>
          <p:cNvPr id="59" name="Straight Connector 48"/>
          <p:cNvCxnSpPr>
            <a:cxnSpLocks noChangeShapeType="1"/>
          </p:cNvCxnSpPr>
          <p:nvPr/>
        </p:nvCxnSpPr>
        <p:spPr bwMode="auto">
          <a:xfrm flipV="1">
            <a:off x="1301678" y="2278257"/>
            <a:ext cx="1403670" cy="13943"/>
          </a:xfrm>
          <a:prstGeom prst="line">
            <a:avLst/>
          </a:prstGeom>
          <a:noFill/>
          <a:ln w="9525" algn="ctr">
            <a:solidFill>
              <a:srgbClr val="0000FF"/>
            </a:solidFill>
            <a:round/>
            <a:headEnd/>
            <a:tailEnd/>
          </a:ln>
        </p:spPr>
      </p:cxnSp>
      <p:pic>
        <p:nvPicPr>
          <p:cNvPr id="60" name="NEW_STATION_OTM.bmp" descr="C:\Program Files\iManager MDS 6600\WDM\bin\..\icon\NEW_STATION_OTM.bmp"/>
          <p:cNvPicPr>
            <a:picLocks noChangeAspect="1"/>
          </p:cNvPicPr>
          <p:nvPr/>
        </p:nvPicPr>
        <p:blipFill>
          <a:blip r:embed="rId3" r:link="rId4" cstate="print"/>
          <a:srcRect/>
          <a:stretch>
            <a:fillRect/>
          </a:stretch>
        </p:blipFill>
        <p:spPr bwMode="auto">
          <a:xfrm>
            <a:off x="1073078" y="2163957"/>
            <a:ext cx="228600" cy="228600"/>
          </a:xfrm>
          <a:prstGeom prst="rect">
            <a:avLst/>
          </a:prstGeom>
          <a:noFill/>
          <a:ln w="9525">
            <a:solidFill>
              <a:srgbClr val="FF0000"/>
            </a:solidFill>
            <a:miter lim="800000"/>
            <a:headEnd/>
            <a:tailEnd/>
          </a:ln>
        </p:spPr>
      </p:pic>
      <p:sp>
        <p:nvSpPr>
          <p:cNvPr id="61" name="TextBox 31"/>
          <p:cNvSpPr txBox="1">
            <a:spLocks noChangeArrowheads="1"/>
          </p:cNvSpPr>
          <p:nvPr/>
        </p:nvSpPr>
        <p:spPr bwMode="auto">
          <a:xfrm>
            <a:off x="730178" y="2392557"/>
            <a:ext cx="889000" cy="230188"/>
          </a:xfrm>
          <a:prstGeom prst="rect">
            <a:avLst/>
          </a:prstGeom>
          <a:noFill/>
          <a:ln w="9525">
            <a:noFill/>
            <a:miter lim="800000"/>
            <a:headEnd/>
            <a:tailEnd/>
          </a:ln>
        </p:spPr>
        <p:txBody>
          <a:bodyPr anchorCtr="1">
            <a:spAutoFit/>
          </a:bodyPr>
          <a:lstStyle/>
          <a:p>
            <a:r>
              <a:rPr lang="en-US" sz="900"/>
              <a:t>Tucurui</a:t>
            </a:r>
          </a:p>
        </p:txBody>
      </p:sp>
      <p:pic>
        <p:nvPicPr>
          <p:cNvPr id="62" name="NEW_STATION_OTM.bmp" descr="C:\Program Files\iManager MDS 6600\WDM\bin\..\icon\NEW_STATION_OTM.bmp"/>
          <p:cNvPicPr>
            <a:picLocks noChangeAspect="1"/>
          </p:cNvPicPr>
          <p:nvPr/>
        </p:nvPicPr>
        <p:blipFill>
          <a:blip r:embed="rId3" r:link="rId4" cstate="print"/>
          <a:srcRect/>
          <a:stretch>
            <a:fillRect/>
          </a:stretch>
        </p:blipFill>
        <p:spPr bwMode="auto">
          <a:xfrm>
            <a:off x="2660898" y="2163957"/>
            <a:ext cx="228600" cy="228600"/>
          </a:xfrm>
          <a:prstGeom prst="rect">
            <a:avLst/>
          </a:prstGeom>
          <a:noFill/>
          <a:ln w="9525">
            <a:solidFill>
              <a:srgbClr val="FF0000"/>
            </a:solidFill>
            <a:miter lim="800000"/>
            <a:headEnd/>
            <a:tailEnd/>
          </a:ln>
        </p:spPr>
      </p:pic>
      <p:sp>
        <p:nvSpPr>
          <p:cNvPr id="63" name="TextBox 33"/>
          <p:cNvSpPr txBox="1">
            <a:spLocks noChangeArrowheads="1"/>
          </p:cNvSpPr>
          <p:nvPr/>
        </p:nvSpPr>
        <p:spPr bwMode="auto">
          <a:xfrm>
            <a:off x="2283996" y="2323344"/>
            <a:ext cx="889000" cy="230188"/>
          </a:xfrm>
          <a:prstGeom prst="rect">
            <a:avLst/>
          </a:prstGeom>
          <a:noFill/>
          <a:ln w="9525">
            <a:noFill/>
            <a:miter lim="800000"/>
            <a:headEnd/>
            <a:tailEnd/>
          </a:ln>
        </p:spPr>
        <p:txBody>
          <a:bodyPr anchorCtr="1">
            <a:spAutoFit/>
          </a:bodyPr>
          <a:lstStyle/>
          <a:p>
            <a:r>
              <a:rPr lang="en-US" sz="900" dirty="0"/>
              <a:t>Xingu</a:t>
            </a:r>
          </a:p>
        </p:txBody>
      </p:sp>
      <p:pic>
        <p:nvPicPr>
          <p:cNvPr id="64" name="NEW_STATION_OTM.bmp" descr="C:\Program Files\iManager MDS 6600\WDM\bin\..\icon\NEW_STATION_OTM.bmp"/>
          <p:cNvPicPr>
            <a:picLocks noChangeAspect="1"/>
          </p:cNvPicPr>
          <p:nvPr/>
        </p:nvPicPr>
        <p:blipFill>
          <a:blip r:embed="rId3" r:link="rId4" cstate="print"/>
          <a:srcRect/>
          <a:stretch>
            <a:fillRect/>
          </a:stretch>
        </p:blipFill>
        <p:spPr bwMode="auto">
          <a:xfrm>
            <a:off x="4057898" y="2163957"/>
            <a:ext cx="228600" cy="228600"/>
          </a:xfrm>
          <a:prstGeom prst="rect">
            <a:avLst/>
          </a:prstGeom>
          <a:noFill/>
          <a:ln w="9525">
            <a:solidFill>
              <a:srgbClr val="FF0000"/>
            </a:solidFill>
            <a:miter lim="800000"/>
            <a:headEnd/>
            <a:tailEnd/>
          </a:ln>
        </p:spPr>
      </p:pic>
      <p:sp>
        <p:nvSpPr>
          <p:cNvPr id="65" name="TextBox 35"/>
          <p:cNvSpPr txBox="1">
            <a:spLocks noChangeArrowheads="1"/>
          </p:cNvSpPr>
          <p:nvPr/>
        </p:nvSpPr>
        <p:spPr bwMode="auto">
          <a:xfrm>
            <a:off x="3727698" y="2392557"/>
            <a:ext cx="889000" cy="230188"/>
          </a:xfrm>
          <a:prstGeom prst="rect">
            <a:avLst/>
          </a:prstGeom>
          <a:noFill/>
          <a:ln w="9525">
            <a:noFill/>
            <a:miter lim="800000"/>
            <a:headEnd/>
            <a:tailEnd/>
          </a:ln>
        </p:spPr>
        <p:txBody>
          <a:bodyPr anchorCtr="1">
            <a:spAutoFit/>
          </a:bodyPr>
          <a:lstStyle/>
          <a:p>
            <a:r>
              <a:rPr lang="en-US" sz="900"/>
              <a:t>Jurupari</a:t>
            </a:r>
          </a:p>
        </p:txBody>
      </p:sp>
      <p:pic>
        <p:nvPicPr>
          <p:cNvPr id="66" name="NEW_STATION_OTM.bmp" descr="C:\Program Files\iManager MDS 6600\WDM\bin\..\icon\NEW_STATION_OTM.bmp"/>
          <p:cNvPicPr>
            <a:picLocks noChangeAspect="1"/>
          </p:cNvPicPr>
          <p:nvPr/>
        </p:nvPicPr>
        <p:blipFill>
          <a:blip r:embed="rId3" r:link="rId4" cstate="print"/>
          <a:srcRect/>
          <a:stretch>
            <a:fillRect/>
          </a:stretch>
        </p:blipFill>
        <p:spPr bwMode="auto">
          <a:xfrm>
            <a:off x="4045198" y="3205357"/>
            <a:ext cx="228600" cy="228600"/>
          </a:xfrm>
          <a:prstGeom prst="rect">
            <a:avLst/>
          </a:prstGeom>
          <a:noFill/>
          <a:ln w="9525">
            <a:solidFill>
              <a:srgbClr val="FF0000"/>
            </a:solidFill>
            <a:miter lim="800000"/>
            <a:headEnd/>
            <a:tailEnd/>
          </a:ln>
        </p:spPr>
      </p:pic>
      <p:sp>
        <p:nvSpPr>
          <p:cNvPr id="67" name="TextBox 37"/>
          <p:cNvSpPr txBox="1">
            <a:spLocks noChangeArrowheads="1"/>
          </p:cNvSpPr>
          <p:nvPr/>
        </p:nvSpPr>
        <p:spPr bwMode="auto">
          <a:xfrm>
            <a:off x="3714998" y="3433957"/>
            <a:ext cx="889000" cy="369332"/>
          </a:xfrm>
          <a:prstGeom prst="rect">
            <a:avLst/>
          </a:prstGeom>
          <a:noFill/>
          <a:ln w="9525">
            <a:noFill/>
            <a:miter lim="800000"/>
            <a:headEnd/>
            <a:tailEnd/>
          </a:ln>
        </p:spPr>
        <p:txBody>
          <a:bodyPr anchorCtr="1">
            <a:spAutoFit/>
          </a:bodyPr>
          <a:lstStyle/>
          <a:p>
            <a:pPr algn="ctr"/>
            <a:r>
              <a:rPr lang="en-US" sz="900" dirty="0" err="1" smtClean="0"/>
              <a:t>Laranjal</a:t>
            </a:r>
            <a:r>
              <a:rPr lang="en-US" sz="900" dirty="0" smtClean="0"/>
              <a:t> do </a:t>
            </a:r>
            <a:r>
              <a:rPr lang="en-US" sz="900" dirty="0" err="1" smtClean="0"/>
              <a:t>Jari</a:t>
            </a:r>
            <a:endParaRPr lang="en-US" sz="900" dirty="0"/>
          </a:p>
        </p:txBody>
      </p:sp>
      <p:sp>
        <p:nvSpPr>
          <p:cNvPr id="69" name="TextBox 39"/>
          <p:cNvSpPr txBox="1">
            <a:spLocks noChangeArrowheads="1"/>
          </p:cNvSpPr>
          <p:nvPr/>
        </p:nvSpPr>
        <p:spPr bwMode="auto">
          <a:xfrm>
            <a:off x="3696688" y="4754757"/>
            <a:ext cx="889000" cy="230188"/>
          </a:xfrm>
          <a:prstGeom prst="rect">
            <a:avLst/>
          </a:prstGeom>
          <a:noFill/>
          <a:ln w="9525">
            <a:noFill/>
            <a:miter lim="800000"/>
            <a:headEnd/>
            <a:tailEnd/>
          </a:ln>
        </p:spPr>
        <p:txBody>
          <a:bodyPr anchorCtr="1">
            <a:spAutoFit/>
          </a:bodyPr>
          <a:lstStyle/>
          <a:p>
            <a:r>
              <a:rPr lang="en-US" sz="900" dirty="0" smtClean="0"/>
              <a:t>Macapá - SUB</a:t>
            </a:r>
            <a:endParaRPr lang="en-US" sz="900" dirty="0"/>
          </a:p>
        </p:txBody>
      </p:sp>
      <p:pic>
        <p:nvPicPr>
          <p:cNvPr id="70" name="NEW_STATION_OTM.bmp" descr="C:\Program Files\iManager MDS 6600\WDM\bin\..\icon\NEW_STATION_OTM.bmp"/>
          <p:cNvPicPr>
            <a:picLocks noChangeAspect="1"/>
          </p:cNvPicPr>
          <p:nvPr/>
        </p:nvPicPr>
        <p:blipFill>
          <a:blip r:embed="rId3" r:link="rId4" cstate="print"/>
          <a:srcRect/>
          <a:stretch>
            <a:fillRect/>
          </a:stretch>
        </p:blipFill>
        <p:spPr bwMode="auto">
          <a:xfrm>
            <a:off x="5950677" y="2163957"/>
            <a:ext cx="228600" cy="228600"/>
          </a:xfrm>
          <a:prstGeom prst="rect">
            <a:avLst/>
          </a:prstGeom>
          <a:noFill/>
          <a:ln w="9525">
            <a:solidFill>
              <a:srgbClr val="FF0000"/>
            </a:solidFill>
            <a:miter lim="800000"/>
            <a:headEnd/>
            <a:tailEnd/>
          </a:ln>
        </p:spPr>
      </p:pic>
      <p:sp>
        <p:nvSpPr>
          <p:cNvPr id="71" name="TextBox 43"/>
          <p:cNvSpPr txBox="1">
            <a:spLocks noChangeArrowheads="1"/>
          </p:cNvSpPr>
          <p:nvPr/>
        </p:nvSpPr>
        <p:spPr bwMode="auto">
          <a:xfrm>
            <a:off x="5574024" y="2347675"/>
            <a:ext cx="889000" cy="230188"/>
          </a:xfrm>
          <a:prstGeom prst="rect">
            <a:avLst/>
          </a:prstGeom>
          <a:noFill/>
          <a:ln w="9525">
            <a:noFill/>
            <a:miter lim="800000"/>
            <a:headEnd/>
            <a:tailEnd/>
          </a:ln>
        </p:spPr>
        <p:txBody>
          <a:bodyPr anchorCtr="1">
            <a:spAutoFit/>
          </a:bodyPr>
          <a:lstStyle/>
          <a:p>
            <a:r>
              <a:rPr lang="en-US" sz="900" dirty="0" err="1" smtClean="0"/>
              <a:t>Oriximiná</a:t>
            </a:r>
            <a:endParaRPr lang="en-US" sz="900" dirty="0"/>
          </a:p>
        </p:txBody>
      </p:sp>
      <p:pic>
        <p:nvPicPr>
          <p:cNvPr id="72" name="NEW_STATION_OTM.bmp" descr="C:\Program Files\iManager MDS 6600\WDM\bin\..\icon\NEW_STATION_OTM.bmp"/>
          <p:cNvPicPr>
            <a:picLocks noChangeAspect="1"/>
          </p:cNvPicPr>
          <p:nvPr/>
        </p:nvPicPr>
        <p:blipFill>
          <a:blip r:embed="rId3" r:link="rId4" cstate="print"/>
          <a:srcRect/>
          <a:stretch>
            <a:fillRect/>
          </a:stretch>
        </p:blipFill>
        <p:spPr bwMode="auto">
          <a:xfrm>
            <a:off x="7791698" y="2163957"/>
            <a:ext cx="228600" cy="228600"/>
          </a:xfrm>
          <a:prstGeom prst="rect">
            <a:avLst/>
          </a:prstGeom>
          <a:noFill/>
          <a:ln w="9525">
            <a:solidFill>
              <a:srgbClr val="FF0000"/>
            </a:solidFill>
            <a:miter lim="800000"/>
            <a:headEnd/>
            <a:tailEnd/>
          </a:ln>
        </p:spPr>
      </p:pic>
      <p:sp>
        <p:nvSpPr>
          <p:cNvPr id="73" name="TextBox 45"/>
          <p:cNvSpPr txBox="1">
            <a:spLocks noChangeArrowheads="1"/>
          </p:cNvSpPr>
          <p:nvPr/>
        </p:nvSpPr>
        <p:spPr bwMode="auto">
          <a:xfrm>
            <a:off x="7461498" y="2392557"/>
            <a:ext cx="889000" cy="230188"/>
          </a:xfrm>
          <a:prstGeom prst="rect">
            <a:avLst/>
          </a:prstGeom>
          <a:noFill/>
          <a:ln w="9525">
            <a:noFill/>
            <a:miter lim="800000"/>
            <a:headEnd/>
            <a:tailEnd/>
          </a:ln>
        </p:spPr>
        <p:txBody>
          <a:bodyPr anchorCtr="1">
            <a:spAutoFit/>
          </a:bodyPr>
          <a:lstStyle/>
          <a:p>
            <a:r>
              <a:rPr lang="en-US" sz="900"/>
              <a:t>Silves</a:t>
            </a:r>
          </a:p>
        </p:txBody>
      </p:sp>
      <p:pic>
        <p:nvPicPr>
          <p:cNvPr id="74" name="NEW_STATION_OTM.bmp" descr="C:\Program Files\iManager MDS 6600\WDM\bin\..\icon\NEW_STATION_OTM.bmp"/>
          <p:cNvPicPr>
            <a:picLocks noChangeAspect="1"/>
          </p:cNvPicPr>
          <p:nvPr/>
        </p:nvPicPr>
        <p:blipFill>
          <a:blip r:embed="rId3" r:link="rId4" cstate="print"/>
          <a:srcRect/>
          <a:stretch>
            <a:fillRect/>
          </a:stretch>
        </p:blipFill>
        <p:spPr bwMode="auto">
          <a:xfrm>
            <a:off x="8820398" y="2163957"/>
            <a:ext cx="228600" cy="228600"/>
          </a:xfrm>
          <a:prstGeom prst="rect">
            <a:avLst/>
          </a:prstGeom>
          <a:noFill/>
          <a:ln w="9525">
            <a:solidFill>
              <a:srgbClr val="FF0000"/>
            </a:solidFill>
            <a:miter lim="800000"/>
            <a:headEnd/>
            <a:tailEnd/>
          </a:ln>
        </p:spPr>
      </p:pic>
      <p:sp>
        <p:nvSpPr>
          <p:cNvPr id="75" name="TextBox 47"/>
          <p:cNvSpPr txBox="1">
            <a:spLocks noChangeArrowheads="1"/>
          </p:cNvSpPr>
          <p:nvPr/>
        </p:nvSpPr>
        <p:spPr bwMode="auto">
          <a:xfrm>
            <a:off x="8490198" y="2392557"/>
            <a:ext cx="889000" cy="230188"/>
          </a:xfrm>
          <a:prstGeom prst="rect">
            <a:avLst/>
          </a:prstGeom>
          <a:noFill/>
          <a:ln w="9525">
            <a:noFill/>
            <a:miter lim="800000"/>
            <a:headEnd/>
            <a:tailEnd/>
          </a:ln>
        </p:spPr>
        <p:txBody>
          <a:bodyPr anchorCtr="1">
            <a:spAutoFit/>
          </a:bodyPr>
          <a:lstStyle/>
          <a:p>
            <a:r>
              <a:rPr lang="en-US" sz="900" dirty="0" err="1" smtClean="0"/>
              <a:t>Lexuga</a:t>
            </a:r>
            <a:r>
              <a:rPr lang="en-US" sz="900" dirty="0" smtClean="0"/>
              <a:t> - SUB</a:t>
            </a:r>
            <a:endParaRPr lang="en-US" sz="900" dirty="0"/>
          </a:p>
        </p:txBody>
      </p:sp>
      <p:cxnSp>
        <p:nvCxnSpPr>
          <p:cNvPr id="78" name="Straight Connector 50"/>
          <p:cNvCxnSpPr>
            <a:cxnSpLocks noChangeShapeType="1"/>
            <a:stCxn id="61" idx="0"/>
          </p:cNvCxnSpPr>
          <p:nvPr/>
        </p:nvCxnSpPr>
        <p:spPr bwMode="auto">
          <a:xfrm rot="16200000" flipH="1" flipV="1">
            <a:off x="533328" y="3008507"/>
            <a:ext cx="1257300" cy="25400"/>
          </a:xfrm>
          <a:prstGeom prst="line">
            <a:avLst/>
          </a:prstGeom>
          <a:ln>
            <a:solidFill>
              <a:srgbClr val="FF0000"/>
            </a:solidFill>
            <a:headEnd/>
            <a:tailEnd/>
          </a:ln>
        </p:spPr>
        <p:style>
          <a:lnRef idx="2">
            <a:schemeClr val="dk1"/>
          </a:lnRef>
          <a:fillRef idx="0">
            <a:schemeClr val="dk1"/>
          </a:fillRef>
          <a:effectRef idx="1">
            <a:schemeClr val="dk1"/>
          </a:effectRef>
          <a:fontRef idx="minor">
            <a:schemeClr val="tx1"/>
          </a:fontRef>
        </p:style>
      </p:cxnSp>
      <p:sp>
        <p:nvSpPr>
          <p:cNvPr id="79" name="TextBox 41"/>
          <p:cNvSpPr txBox="1">
            <a:spLocks noChangeArrowheads="1"/>
          </p:cNvSpPr>
          <p:nvPr/>
        </p:nvSpPr>
        <p:spPr bwMode="auto">
          <a:xfrm>
            <a:off x="416496" y="3904352"/>
            <a:ext cx="1492250" cy="230832"/>
          </a:xfrm>
          <a:prstGeom prst="rect">
            <a:avLst/>
          </a:prstGeom>
          <a:noFill/>
          <a:ln w="9525">
            <a:noFill/>
            <a:miter lim="800000"/>
            <a:headEnd/>
            <a:tailEnd/>
          </a:ln>
        </p:spPr>
        <p:txBody>
          <a:bodyPr wrap="square" anchorCtr="1">
            <a:spAutoFit/>
          </a:bodyPr>
          <a:lstStyle/>
          <a:p>
            <a:r>
              <a:rPr lang="pt-BR" sz="900" dirty="0" smtClean="0"/>
              <a:t>Goianésia do Para </a:t>
            </a:r>
            <a:r>
              <a:rPr lang="en-US" sz="900" dirty="0" smtClean="0"/>
              <a:t>- TIM</a:t>
            </a:r>
            <a:endParaRPr lang="en-US" sz="900" dirty="0"/>
          </a:p>
        </p:txBody>
      </p:sp>
      <p:sp>
        <p:nvSpPr>
          <p:cNvPr id="80" name="TextBox 47"/>
          <p:cNvSpPr txBox="1">
            <a:spLocks noChangeArrowheads="1"/>
          </p:cNvSpPr>
          <p:nvPr/>
        </p:nvSpPr>
        <p:spPr bwMode="auto">
          <a:xfrm rot="16200000">
            <a:off x="8705603" y="3483108"/>
            <a:ext cx="889000" cy="230188"/>
          </a:xfrm>
          <a:prstGeom prst="rect">
            <a:avLst/>
          </a:prstGeom>
          <a:noFill/>
          <a:ln w="9525">
            <a:noFill/>
            <a:miter lim="800000"/>
            <a:headEnd/>
            <a:tailEnd/>
          </a:ln>
        </p:spPr>
        <p:txBody>
          <a:bodyPr anchorCtr="1">
            <a:spAutoFit/>
          </a:bodyPr>
          <a:lstStyle/>
          <a:p>
            <a:r>
              <a:rPr lang="en-US" sz="900" dirty="0" smtClean="0"/>
              <a:t>Manaus-TIM</a:t>
            </a:r>
            <a:endParaRPr lang="en-US" sz="900" dirty="0"/>
          </a:p>
        </p:txBody>
      </p:sp>
      <p:cxnSp>
        <p:nvCxnSpPr>
          <p:cNvPr id="81" name="Straight Connector 56"/>
          <p:cNvCxnSpPr>
            <a:cxnSpLocks noChangeShapeType="1"/>
            <a:stCxn id="75" idx="0"/>
          </p:cNvCxnSpPr>
          <p:nvPr/>
        </p:nvCxnSpPr>
        <p:spPr bwMode="auto">
          <a:xfrm rot="16200000" flipH="1">
            <a:off x="8528298" y="2798957"/>
            <a:ext cx="812800" cy="1588"/>
          </a:xfrm>
          <a:prstGeom prst="line">
            <a:avLst/>
          </a:prstGeom>
          <a:noFill/>
          <a:ln w="28575" algn="ctr">
            <a:solidFill>
              <a:srgbClr val="FF0000"/>
            </a:solidFill>
            <a:round/>
            <a:headEnd/>
            <a:tailEnd/>
          </a:ln>
        </p:spPr>
      </p:cxnSp>
      <p:cxnSp>
        <p:nvCxnSpPr>
          <p:cNvPr id="82" name="Straight Connector 56"/>
          <p:cNvCxnSpPr>
            <a:cxnSpLocks noChangeShapeType="1"/>
          </p:cNvCxnSpPr>
          <p:nvPr/>
        </p:nvCxnSpPr>
        <p:spPr bwMode="auto">
          <a:xfrm flipH="1">
            <a:off x="4141189" y="4567432"/>
            <a:ext cx="2706" cy="771525"/>
          </a:xfrm>
          <a:prstGeom prst="line">
            <a:avLst/>
          </a:prstGeom>
          <a:noFill/>
          <a:ln w="28575" algn="ctr">
            <a:solidFill>
              <a:srgbClr val="FF0000"/>
            </a:solidFill>
            <a:round/>
            <a:headEnd/>
            <a:tailEnd/>
          </a:ln>
        </p:spPr>
      </p:cxnSp>
      <p:sp>
        <p:nvSpPr>
          <p:cNvPr id="83" name="TextBox 39"/>
          <p:cNvSpPr txBox="1">
            <a:spLocks noChangeArrowheads="1"/>
          </p:cNvSpPr>
          <p:nvPr/>
        </p:nvSpPr>
        <p:spPr bwMode="auto">
          <a:xfrm>
            <a:off x="3599098" y="5576712"/>
            <a:ext cx="1083725" cy="230832"/>
          </a:xfrm>
          <a:prstGeom prst="rect">
            <a:avLst/>
          </a:prstGeom>
          <a:noFill/>
          <a:ln w="9525">
            <a:noFill/>
            <a:miter lim="800000"/>
            <a:headEnd/>
            <a:tailEnd/>
          </a:ln>
        </p:spPr>
        <p:txBody>
          <a:bodyPr wrap="square" anchorCtr="1">
            <a:spAutoFit/>
          </a:bodyPr>
          <a:lstStyle/>
          <a:p>
            <a:r>
              <a:rPr lang="en-US" sz="900" dirty="0" smtClean="0"/>
              <a:t>Macapá - TIM</a:t>
            </a:r>
            <a:endParaRPr lang="en-US" sz="900" dirty="0"/>
          </a:p>
        </p:txBody>
      </p:sp>
      <p:cxnSp>
        <p:nvCxnSpPr>
          <p:cNvPr id="84" name="Straight Connector 214"/>
          <p:cNvCxnSpPr/>
          <p:nvPr/>
        </p:nvCxnSpPr>
        <p:spPr bwMode="auto">
          <a:xfrm rot="16200000" flipV="1">
            <a:off x="6695928" y="2452761"/>
            <a:ext cx="374350" cy="34003"/>
          </a:xfrm>
          <a:prstGeom prst="line">
            <a:avLst/>
          </a:prstGeom>
          <a:ln>
            <a:solidFill>
              <a:srgbClr val="FF0000"/>
            </a:solidFill>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85" name="Straight Connector 215"/>
          <p:cNvCxnSpPr/>
          <p:nvPr/>
        </p:nvCxnSpPr>
        <p:spPr bwMode="auto">
          <a:xfrm rot="5400000" flipH="1" flipV="1">
            <a:off x="6740139" y="2450923"/>
            <a:ext cx="391381" cy="71451"/>
          </a:xfrm>
          <a:prstGeom prst="line">
            <a:avLst/>
          </a:prstGeom>
          <a:ln>
            <a:solidFill>
              <a:srgbClr val="FF0000"/>
            </a:solidFill>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86" name="Straight Connector 216"/>
          <p:cNvCxnSpPr/>
          <p:nvPr/>
        </p:nvCxnSpPr>
        <p:spPr bwMode="auto">
          <a:xfrm rot="16200000" flipV="1">
            <a:off x="4826097" y="2456044"/>
            <a:ext cx="402875" cy="23221"/>
          </a:xfrm>
          <a:prstGeom prst="line">
            <a:avLst/>
          </a:prstGeom>
          <a:ln>
            <a:solidFill>
              <a:srgbClr val="FF0000"/>
            </a:solidFill>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87" name="Straight Connector 217"/>
          <p:cNvCxnSpPr/>
          <p:nvPr/>
        </p:nvCxnSpPr>
        <p:spPr bwMode="auto">
          <a:xfrm rot="5400000" flipH="1" flipV="1">
            <a:off x="4882504" y="2422858"/>
            <a:ext cx="402875" cy="89595"/>
          </a:xfrm>
          <a:prstGeom prst="line">
            <a:avLst/>
          </a:prstGeom>
          <a:ln>
            <a:solidFill>
              <a:srgbClr val="FF0000"/>
            </a:solidFill>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89" name="Straight Connector 220"/>
          <p:cNvCxnSpPr/>
          <p:nvPr/>
        </p:nvCxnSpPr>
        <p:spPr bwMode="auto">
          <a:xfrm rot="16200000" flipV="1">
            <a:off x="1809096" y="2456414"/>
            <a:ext cx="387260" cy="30616"/>
          </a:xfrm>
          <a:prstGeom prst="line">
            <a:avLst/>
          </a:prstGeom>
          <a:solidFill>
            <a:schemeClr val="bg1"/>
          </a:solidFill>
          <a:ln w="28575" cap="flat" cmpd="sng" algn="ctr">
            <a:solidFill>
              <a:srgbClr val="FF0000"/>
            </a:solidFill>
            <a:prstDash val="solid"/>
            <a:round/>
            <a:headEnd type="none" w="med" len="med"/>
            <a:tailEnd type="none" w="med" len="med"/>
          </a:ln>
          <a:effectLst/>
        </p:spPr>
      </p:cxnSp>
      <p:cxnSp>
        <p:nvCxnSpPr>
          <p:cNvPr id="90" name="Straight Connector 221"/>
          <p:cNvCxnSpPr/>
          <p:nvPr/>
        </p:nvCxnSpPr>
        <p:spPr bwMode="auto">
          <a:xfrm rot="5400000" flipH="1" flipV="1">
            <a:off x="1844722" y="2451404"/>
            <a:ext cx="387260" cy="40636"/>
          </a:xfrm>
          <a:prstGeom prst="line">
            <a:avLst/>
          </a:prstGeom>
          <a:solidFill>
            <a:schemeClr val="bg1"/>
          </a:solidFill>
          <a:ln w="28575" cap="flat" cmpd="sng" algn="ctr">
            <a:solidFill>
              <a:srgbClr val="FF0000"/>
            </a:solidFill>
            <a:prstDash val="solid"/>
            <a:round/>
            <a:headEnd type="none" w="med" len="med"/>
            <a:tailEnd type="none" w="med" len="med"/>
          </a:ln>
          <a:effectLst/>
        </p:spPr>
      </p:cxnSp>
      <p:sp>
        <p:nvSpPr>
          <p:cNvPr id="92" name="TextBox 33"/>
          <p:cNvSpPr txBox="1">
            <a:spLocks noChangeArrowheads="1"/>
          </p:cNvSpPr>
          <p:nvPr/>
        </p:nvSpPr>
        <p:spPr bwMode="auto">
          <a:xfrm rot="16200000">
            <a:off x="3102157" y="2970110"/>
            <a:ext cx="681231" cy="507831"/>
          </a:xfrm>
          <a:prstGeom prst="rect">
            <a:avLst/>
          </a:prstGeom>
          <a:noFill/>
          <a:ln w="9525">
            <a:noFill/>
            <a:miter lim="800000"/>
            <a:headEnd/>
            <a:tailEnd/>
          </a:ln>
        </p:spPr>
        <p:txBody>
          <a:bodyPr wrap="square" anchorCtr="1">
            <a:spAutoFit/>
          </a:bodyPr>
          <a:lstStyle/>
          <a:p>
            <a:pPr algn="ctr"/>
            <a:r>
              <a:rPr lang="en-US" sz="900" dirty="0" err="1" smtClean="0"/>
              <a:t>Vitória</a:t>
            </a:r>
            <a:r>
              <a:rPr lang="en-US" sz="900" dirty="0" smtClean="0"/>
              <a:t> do</a:t>
            </a:r>
          </a:p>
          <a:p>
            <a:pPr algn="ctr"/>
            <a:r>
              <a:rPr lang="en-US" sz="900" dirty="0" smtClean="0"/>
              <a:t> Xingu</a:t>
            </a:r>
            <a:endParaRPr lang="en-US" sz="900" dirty="0"/>
          </a:p>
        </p:txBody>
      </p:sp>
      <p:sp>
        <p:nvSpPr>
          <p:cNvPr id="93" name="TextBox 43"/>
          <p:cNvSpPr txBox="1">
            <a:spLocks noChangeArrowheads="1"/>
          </p:cNvSpPr>
          <p:nvPr/>
        </p:nvSpPr>
        <p:spPr bwMode="auto">
          <a:xfrm rot="16200000">
            <a:off x="1663314" y="3012928"/>
            <a:ext cx="617517" cy="230832"/>
          </a:xfrm>
          <a:prstGeom prst="rect">
            <a:avLst/>
          </a:prstGeom>
          <a:noFill/>
          <a:ln w="9525">
            <a:noFill/>
            <a:miter lim="800000"/>
            <a:headEnd/>
            <a:tailEnd/>
          </a:ln>
        </p:spPr>
        <p:txBody>
          <a:bodyPr wrap="square" anchorCtr="1">
            <a:spAutoFit/>
          </a:bodyPr>
          <a:lstStyle/>
          <a:p>
            <a:r>
              <a:rPr lang="en-US" sz="900" dirty="0" smtClean="0"/>
              <a:t>Pacaja</a:t>
            </a:r>
            <a:endParaRPr lang="en-US" sz="900" dirty="0"/>
          </a:p>
        </p:txBody>
      </p:sp>
      <p:cxnSp>
        <p:nvCxnSpPr>
          <p:cNvPr id="94" name="Straight Connector 235"/>
          <p:cNvCxnSpPr/>
          <p:nvPr/>
        </p:nvCxnSpPr>
        <p:spPr bwMode="auto">
          <a:xfrm rot="5400000" flipH="1" flipV="1">
            <a:off x="3264539" y="2463447"/>
            <a:ext cx="384976" cy="28624"/>
          </a:xfrm>
          <a:prstGeom prst="line">
            <a:avLst/>
          </a:prstGeom>
          <a:ln>
            <a:solidFill>
              <a:srgbClr val="FF0000"/>
            </a:solidFill>
            <a:headEnd type="none" w="med" len="med"/>
            <a:tailEnd type="none" w="med" len="med"/>
          </a:ln>
        </p:spPr>
        <p:style>
          <a:lnRef idx="2">
            <a:schemeClr val="dk1"/>
          </a:lnRef>
          <a:fillRef idx="0">
            <a:schemeClr val="dk1"/>
          </a:fillRef>
          <a:effectRef idx="1">
            <a:schemeClr val="dk1"/>
          </a:effectRef>
          <a:fontRef idx="minor">
            <a:schemeClr val="tx1"/>
          </a:fontRef>
        </p:style>
      </p:cxnSp>
      <p:sp>
        <p:nvSpPr>
          <p:cNvPr id="95" name="TextBox 43"/>
          <p:cNvSpPr txBox="1">
            <a:spLocks noChangeArrowheads="1"/>
          </p:cNvSpPr>
          <p:nvPr/>
        </p:nvSpPr>
        <p:spPr bwMode="auto">
          <a:xfrm rot="16200000">
            <a:off x="4839661" y="2614699"/>
            <a:ext cx="938980" cy="369332"/>
          </a:xfrm>
          <a:prstGeom prst="rect">
            <a:avLst/>
          </a:prstGeom>
          <a:noFill/>
          <a:ln w="9525">
            <a:noFill/>
            <a:miter lim="800000"/>
            <a:headEnd/>
            <a:tailEnd/>
          </a:ln>
        </p:spPr>
        <p:txBody>
          <a:bodyPr wrap="square" anchorCtr="1">
            <a:spAutoFit/>
          </a:bodyPr>
          <a:lstStyle/>
          <a:p>
            <a:pPr algn="ctr"/>
            <a:r>
              <a:rPr lang="en-US" sz="900" dirty="0" smtClean="0"/>
              <a:t>Vila Camburão/PA</a:t>
            </a:r>
            <a:endParaRPr lang="en-US" sz="900" dirty="0"/>
          </a:p>
        </p:txBody>
      </p:sp>
      <p:sp>
        <p:nvSpPr>
          <p:cNvPr id="96" name="TextBox 43"/>
          <p:cNvSpPr txBox="1">
            <a:spLocks noChangeArrowheads="1"/>
          </p:cNvSpPr>
          <p:nvPr/>
        </p:nvSpPr>
        <p:spPr bwMode="auto">
          <a:xfrm rot="16200000">
            <a:off x="6503809" y="3039361"/>
            <a:ext cx="705514" cy="369332"/>
          </a:xfrm>
          <a:prstGeom prst="rect">
            <a:avLst/>
          </a:prstGeom>
          <a:noFill/>
          <a:ln w="9525">
            <a:noFill/>
            <a:miter lim="800000"/>
            <a:headEnd/>
            <a:tailEnd/>
          </a:ln>
        </p:spPr>
        <p:txBody>
          <a:bodyPr wrap="square" anchorCtr="1">
            <a:spAutoFit/>
          </a:bodyPr>
          <a:lstStyle/>
          <a:p>
            <a:pPr algn="ctr"/>
            <a:r>
              <a:rPr lang="en-US" sz="900" dirty="0" smtClean="0"/>
              <a:t>Terra Santa/AM</a:t>
            </a:r>
            <a:endParaRPr lang="en-US" sz="900" dirty="0"/>
          </a:p>
        </p:txBody>
      </p:sp>
      <p:cxnSp>
        <p:nvCxnSpPr>
          <p:cNvPr id="97" name="Straight Connector 262"/>
          <p:cNvCxnSpPr/>
          <p:nvPr/>
        </p:nvCxnSpPr>
        <p:spPr bwMode="auto">
          <a:xfrm rot="16200000" flipV="1">
            <a:off x="3219504" y="2450290"/>
            <a:ext cx="385281" cy="40512"/>
          </a:xfrm>
          <a:prstGeom prst="line">
            <a:avLst/>
          </a:prstGeom>
          <a:ln>
            <a:solidFill>
              <a:srgbClr val="FF0000"/>
            </a:solidFill>
            <a:headEnd type="none" w="med" len="med"/>
            <a:tailEnd type="none" w="med" len="med"/>
          </a:ln>
        </p:spPr>
        <p:style>
          <a:lnRef idx="2">
            <a:schemeClr val="dk1"/>
          </a:lnRef>
          <a:fillRef idx="0">
            <a:schemeClr val="dk1"/>
          </a:fillRef>
          <a:effectRef idx="1">
            <a:schemeClr val="dk1"/>
          </a:effectRef>
          <a:fontRef idx="minor">
            <a:schemeClr val="tx1"/>
          </a:fontRef>
        </p:style>
      </p:cxnSp>
      <p:pic>
        <p:nvPicPr>
          <p:cNvPr id="105" name="NEW_STATION_OTM.bmp" descr="C:\Program Files\iManager MDS 6600\WDM\bin\..\icon\NEW_STATION_OTM.bmp"/>
          <p:cNvPicPr>
            <a:picLocks noChangeAspect="1"/>
          </p:cNvPicPr>
          <p:nvPr/>
        </p:nvPicPr>
        <p:blipFill>
          <a:blip r:embed="rId3" r:link="rId4" cstate="print"/>
          <a:srcRect/>
          <a:stretch>
            <a:fillRect/>
          </a:stretch>
        </p:blipFill>
        <p:spPr bwMode="auto">
          <a:xfrm>
            <a:off x="6768803" y="2642669"/>
            <a:ext cx="228600" cy="228600"/>
          </a:xfrm>
          <a:prstGeom prst="rect">
            <a:avLst/>
          </a:prstGeom>
          <a:noFill/>
          <a:ln w="9525">
            <a:solidFill>
              <a:srgbClr val="FF0000"/>
            </a:solidFill>
            <a:miter lim="800000"/>
            <a:headEnd/>
            <a:tailEnd/>
          </a:ln>
        </p:spPr>
      </p:pic>
      <p:pic>
        <p:nvPicPr>
          <p:cNvPr id="119" name="NEW_STATION_OTM.bmp" descr="C:\Program Files\iManager MDS 6600\WDM\bin\..\icon\NEW_STATION_OTM.bmp"/>
          <p:cNvPicPr>
            <a:picLocks noChangeAspect="1"/>
          </p:cNvPicPr>
          <p:nvPr/>
        </p:nvPicPr>
        <p:blipFill>
          <a:blip r:embed="rId3" r:link="rId4" cstate="print"/>
          <a:srcRect/>
          <a:stretch>
            <a:fillRect/>
          </a:stretch>
        </p:blipFill>
        <p:spPr bwMode="auto">
          <a:xfrm>
            <a:off x="1028628" y="3584686"/>
            <a:ext cx="228600" cy="228600"/>
          </a:xfrm>
          <a:prstGeom prst="rect">
            <a:avLst/>
          </a:prstGeom>
          <a:noFill/>
          <a:ln w="9525">
            <a:solidFill>
              <a:srgbClr val="FF0000"/>
            </a:solidFill>
            <a:miter lim="800000"/>
            <a:headEnd/>
            <a:tailEnd/>
          </a:ln>
        </p:spPr>
      </p:pic>
      <p:pic>
        <p:nvPicPr>
          <p:cNvPr id="120" name="NEW_STATION_OTM.bmp" descr="C:\Program Files\iManager MDS 6600\WDM\bin\..\icon\NEW_STATION_OTM.bmp"/>
          <p:cNvPicPr>
            <a:picLocks noChangeAspect="1"/>
          </p:cNvPicPr>
          <p:nvPr/>
        </p:nvPicPr>
        <p:blipFill>
          <a:blip r:embed="rId3" r:link="rId4" cstate="print"/>
          <a:srcRect/>
          <a:stretch>
            <a:fillRect/>
          </a:stretch>
        </p:blipFill>
        <p:spPr bwMode="auto">
          <a:xfrm>
            <a:off x="4895885" y="2656938"/>
            <a:ext cx="228600" cy="228600"/>
          </a:xfrm>
          <a:prstGeom prst="rect">
            <a:avLst/>
          </a:prstGeom>
          <a:noFill/>
          <a:ln w="9525">
            <a:solidFill>
              <a:srgbClr val="FF0000"/>
            </a:solidFill>
            <a:miter lim="800000"/>
            <a:headEnd/>
            <a:tailEnd/>
          </a:ln>
        </p:spPr>
      </p:pic>
      <p:pic>
        <p:nvPicPr>
          <p:cNvPr id="121" name="NEW_STATION_OTM.bmp" descr="C:\Program Files\iManager MDS 6600\WDM\bin\..\icon\NEW_STATION_OTM.bmp"/>
          <p:cNvPicPr>
            <a:picLocks noChangeAspect="1"/>
          </p:cNvPicPr>
          <p:nvPr/>
        </p:nvPicPr>
        <p:blipFill>
          <a:blip r:embed="rId3" r:link="rId4" cstate="print"/>
          <a:srcRect/>
          <a:stretch>
            <a:fillRect/>
          </a:stretch>
        </p:blipFill>
        <p:spPr bwMode="auto">
          <a:xfrm>
            <a:off x="3318101" y="2622745"/>
            <a:ext cx="228600" cy="228600"/>
          </a:xfrm>
          <a:prstGeom prst="rect">
            <a:avLst/>
          </a:prstGeom>
          <a:noFill/>
          <a:ln w="9525">
            <a:solidFill>
              <a:srgbClr val="FF0000"/>
            </a:solidFill>
            <a:miter lim="800000"/>
            <a:headEnd/>
            <a:tailEnd/>
          </a:ln>
        </p:spPr>
      </p:pic>
      <p:pic>
        <p:nvPicPr>
          <p:cNvPr id="122" name="NEW_STATION_OTM.bmp" descr="C:\Program Files\iManager MDS 6600\WDM\bin\..\icon\NEW_STATION_OTM.bmp"/>
          <p:cNvPicPr>
            <a:picLocks noChangeAspect="1"/>
          </p:cNvPicPr>
          <p:nvPr/>
        </p:nvPicPr>
        <p:blipFill>
          <a:blip r:embed="rId3" r:link="rId4" cstate="print"/>
          <a:srcRect/>
          <a:stretch>
            <a:fillRect/>
          </a:stretch>
        </p:blipFill>
        <p:spPr bwMode="auto">
          <a:xfrm>
            <a:off x="1888426" y="2571151"/>
            <a:ext cx="228600" cy="228600"/>
          </a:xfrm>
          <a:prstGeom prst="rect">
            <a:avLst/>
          </a:prstGeom>
          <a:noFill/>
          <a:ln w="9525">
            <a:solidFill>
              <a:srgbClr val="FF0000"/>
            </a:solidFill>
            <a:miter lim="800000"/>
            <a:headEnd/>
            <a:tailEnd/>
          </a:ln>
        </p:spPr>
      </p:pic>
      <p:pic>
        <p:nvPicPr>
          <p:cNvPr id="128" name="NEW_STATION_OTM.bmp" descr="C:\Program Files\iManager MDS 6600\WDM\bin\..\icon\NEW_STATION_OTM.bmp"/>
          <p:cNvPicPr>
            <a:picLocks noChangeAspect="1"/>
          </p:cNvPicPr>
          <p:nvPr/>
        </p:nvPicPr>
        <p:blipFill>
          <a:blip r:embed="rId3" r:link="rId4" cstate="print"/>
          <a:srcRect/>
          <a:stretch>
            <a:fillRect/>
          </a:stretch>
        </p:blipFill>
        <p:spPr bwMode="auto">
          <a:xfrm>
            <a:off x="8816156" y="3141092"/>
            <a:ext cx="228600" cy="228600"/>
          </a:xfrm>
          <a:prstGeom prst="rect">
            <a:avLst/>
          </a:prstGeom>
          <a:noFill/>
          <a:ln w="9525">
            <a:solidFill>
              <a:srgbClr val="FF0000"/>
            </a:solidFill>
            <a:miter lim="800000"/>
            <a:headEnd/>
            <a:tailEnd/>
          </a:ln>
        </p:spPr>
      </p:pic>
      <p:pic>
        <p:nvPicPr>
          <p:cNvPr id="141" name="NEW_STATION_OTM.bmp" descr="C:\Program Files\iManager MDS 6600\WDM\bin\..\icon\NEW_STATION_OTM.bmp"/>
          <p:cNvPicPr>
            <a:picLocks noChangeAspect="1"/>
          </p:cNvPicPr>
          <p:nvPr/>
        </p:nvPicPr>
        <p:blipFill>
          <a:blip r:embed="rId3" r:link="rId4" cstate="print"/>
          <a:srcRect/>
          <a:stretch>
            <a:fillRect/>
          </a:stretch>
        </p:blipFill>
        <p:spPr bwMode="auto">
          <a:xfrm>
            <a:off x="4029596" y="5254600"/>
            <a:ext cx="228600" cy="228600"/>
          </a:xfrm>
          <a:prstGeom prst="rect">
            <a:avLst/>
          </a:prstGeom>
          <a:noFill/>
          <a:ln w="9525">
            <a:solidFill>
              <a:srgbClr val="FF0000"/>
            </a:solidFill>
            <a:miter lim="800000"/>
            <a:headEnd/>
            <a:tailEnd/>
          </a:ln>
        </p:spPr>
      </p:pic>
      <p:sp>
        <p:nvSpPr>
          <p:cNvPr id="3" name="Oval 2"/>
          <p:cNvSpPr/>
          <p:nvPr/>
        </p:nvSpPr>
        <p:spPr>
          <a:xfrm>
            <a:off x="3968204" y="2078117"/>
            <a:ext cx="395287" cy="373936"/>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77" name="Oval 76"/>
          <p:cNvSpPr/>
          <p:nvPr/>
        </p:nvSpPr>
        <p:spPr>
          <a:xfrm>
            <a:off x="8735516" y="3067764"/>
            <a:ext cx="395287" cy="373936"/>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88" name="Oval 87"/>
          <p:cNvSpPr/>
          <p:nvPr/>
        </p:nvSpPr>
        <p:spPr>
          <a:xfrm>
            <a:off x="3946252" y="5181932"/>
            <a:ext cx="395287" cy="373936"/>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1" name="Oval 90"/>
          <p:cNvSpPr/>
          <p:nvPr/>
        </p:nvSpPr>
        <p:spPr>
          <a:xfrm>
            <a:off x="951633" y="3530416"/>
            <a:ext cx="395287" cy="373936"/>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nvGrpSpPr>
          <p:cNvPr id="4" name="Group 3"/>
          <p:cNvGrpSpPr/>
          <p:nvPr/>
        </p:nvGrpSpPr>
        <p:grpSpPr>
          <a:xfrm>
            <a:off x="7117056" y="5788581"/>
            <a:ext cx="2838402" cy="802719"/>
            <a:chOff x="6681192" y="5680859"/>
            <a:chExt cx="3290598" cy="910441"/>
          </a:xfrm>
        </p:grpSpPr>
        <p:grpSp>
          <p:nvGrpSpPr>
            <p:cNvPr id="136" name="Group 64"/>
            <p:cNvGrpSpPr/>
            <p:nvPr/>
          </p:nvGrpSpPr>
          <p:grpSpPr>
            <a:xfrm>
              <a:off x="6681192" y="5680859"/>
              <a:ext cx="3171782" cy="525477"/>
              <a:chOff x="5734575" y="5334000"/>
              <a:chExt cx="3171782" cy="525477"/>
            </a:xfrm>
          </p:grpSpPr>
          <p:cxnSp>
            <p:nvCxnSpPr>
              <p:cNvPr id="137" name="Straight Connector 60"/>
              <p:cNvCxnSpPr/>
              <p:nvPr/>
            </p:nvCxnSpPr>
            <p:spPr bwMode="auto">
              <a:xfrm>
                <a:off x="5734575" y="5459412"/>
                <a:ext cx="781575" cy="1588"/>
              </a:xfrm>
              <a:prstGeom prst="line">
                <a:avLst/>
              </a:prstGeom>
              <a:ln>
                <a:headEnd type="none" w="med" len="med"/>
                <a:tailEnd type="none" w="med" len="med"/>
              </a:ln>
            </p:spPr>
            <p:style>
              <a:lnRef idx="3">
                <a:schemeClr val="accent2"/>
              </a:lnRef>
              <a:fillRef idx="0">
                <a:schemeClr val="accent2"/>
              </a:fillRef>
              <a:effectRef idx="2">
                <a:schemeClr val="accent2"/>
              </a:effectRef>
              <a:fontRef idx="minor">
                <a:schemeClr val="tx1"/>
              </a:fontRef>
            </p:style>
          </p:cxnSp>
          <p:cxnSp>
            <p:nvCxnSpPr>
              <p:cNvPr id="138" name="Straight Connector 61"/>
              <p:cNvCxnSpPr/>
              <p:nvPr/>
            </p:nvCxnSpPr>
            <p:spPr bwMode="auto">
              <a:xfrm>
                <a:off x="5734575" y="5726112"/>
                <a:ext cx="781575" cy="1588"/>
              </a:xfrm>
              <a:prstGeom prst="line">
                <a:avLst/>
              </a:prstGeom>
              <a:solidFill>
                <a:schemeClr val="bg1"/>
              </a:solidFill>
              <a:ln w="28575" cap="flat" cmpd="sng" algn="ctr">
                <a:solidFill>
                  <a:srgbClr val="0070C0"/>
                </a:solidFill>
                <a:prstDash val="solid"/>
                <a:round/>
                <a:headEnd type="none" w="med" len="med"/>
                <a:tailEnd type="none" w="med" len="med"/>
              </a:ln>
              <a:effectLst/>
            </p:spPr>
          </p:cxnSp>
          <p:sp>
            <p:nvSpPr>
              <p:cNvPr id="139" name="TextBox 62"/>
              <p:cNvSpPr txBox="1"/>
              <p:nvPr/>
            </p:nvSpPr>
            <p:spPr>
              <a:xfrm>
                <a:off x="6591300" y="5615121"/>
                <a:ext cx="1020623" cy="244356"/>
              </a:xfrm>
              <a:prstGeom prst="rect">
                <a:avLst/>
              </a:prstGeom>
              <a:noFill/>
            </p:spPr>
            <p:txBody>
              <a:bodyPr wrap="none" rtlCol="0">
                <a:spAutoFit/>
              </a:bodyPr>
              <a:lstStyle/>
              <a:p>
                <a:r>
                  <a:rPr lang="pt-BR" sz="800" dirty="0" smtClean="0"/>
                  <a:t>FIBRA OPGW </a:t>
                </a:r>
                <a:endParaRPr lang="pt-BR" sz="800" dirty="0"/>
              </a:p>
            </p:txBody>
          </p:sp>
          <p:sp>
            <p:nvSpPr>
              <p:cNvPr id="140" name="TextBox 63"/>
              <p:cNvSpPr txBox="1"/>
              <p:nvPr/>
            </p:nvSpPr>
            <p:spPr>
              <a:xfrm>
                <a:off x="6565900" y="5334000"/>
                <a:ext cx="2340457" cy="244356"/>
              </a:xfrm>
              <a:prstGeom prst="rect">
                <a:avLst/>
              </a:prstGeom>
              <a:noFill/>
            </p:spPr>
            <p:txBody>
              <a:bodyPr wrap="square" rtlCol="0">
                <a:spAutoFit/>
              </a:bodyPr>
              <a:lstStyle/>
              <a:p>
                <a:r>
                  <a:rPr lang="pt-BR" sz="800" dirty="0" smtClean="0"/>
                  <a:t>ABORDAGEM  SUBTERRÂNEA</a:t>
                </a:r>
                <a:endParaRPr lang="pt-BR" sz="800" dirty="0"/>
              </a:p>
            </p:txBody>
          </p:sp>
        </p:grpSp>
        <p:sp>
          <p:nvSpPr>
            <p:cNvPr id="98" name="Oval 97"/>
            <p:cNvSpPr/>
            <p:nvPr/>
          </p:nvSpPr>
          <p:spPr>
            <a:xfrm>
              <a:off x="6919416" y="6217364"/>
              <a:ext cx="395287" cy="373936"/>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00"/>
            </a:p>
          </p:txBody>
        </p:sp>
        <p:sp>
          <p:nvSpPr>
            <p:cNvPr id="99" name="TextBox 62"/>
            <p:cNvSpPr txBox="1"/>
            <p:nvPr/>
          </p:nvSpPr>
          <p:spPr>
            <a:xfrm>
              <a:off x="7548087" y="6297199"/>
              <a:ext cx="2423703" cy="244356"/>
            </a:xfrm>
            <a:prstGeom prst="rect">
              <a:avLst/>
            </a:prstGeom>
            <a:noFill/>
          </p:spPr>
          <p:txBody>
            <a:bodyPr wrap="none" rtlCol="0">
              <a:spAutoFit/>
            </a:bodyPr>
            <a:lstStyle/>
            <a:p>
              <a:r>
                <a:rPr lang="pt-BR" sz="800" dirty="0" smtClean="0"/>
                <a:t>PONTOS DE ABERTURA DE TREFEGO</a:t>
              </a:r>
              <a:endParaRPr lang="pt-BR" sz="800" dirty="0"/>
            </a:p>
          </p:txBody>
        </p:sp>
      </p:grpSp>
    </p:spTree>
    <p:extLst>
      <p:ext uri="{BB962C8B-B14F-4D97-AF65-F5344CB8AC3E}">
        <p14:creationId xmlns="" xmlns:p14="http://schemas.microsoft.com/office/powerpoint/2010/main" val="337778899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 name="Title 38"/>
          <p:cNvSpPr txBox="1">
            <a:spLocks/>
          </p:cNvSpPr>
          <p:nvPr>
            <p:custDataLst>
              <p:tags r:id="rId1"/>
            </p:custDataLst>
          </p:nvPr>
        </p:nvSpPr>
        <p:spPr bwMode="auto">
          <a:xfrm>
            <a:off x="308018" y="87604"/>
            <a:ext cx="7980363"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eaLnBrk="0" hangingPunct="0">
              <a:lnSpc>
                <a:spcPct val="80000"/>
              </a:lnSpc>
            </a:pPr>
            <a:r>
              <a:rPr lang="en-US" sz="2600" kern="0" dirty="0" smtClean="0">
                <a:solidFill>
                  <a:srgbClr val="FFFFFF"/>
                </a:solidFill>
                <a:latin typeface="Calibri" pitchFamily="34" charset="0"/>
                <a:ea typeface="Arial" charset="0"/>
                <a:cs typeface="Arial"/>
              </a:rPr>
              <a:t/>
            </a:r>
            <a:br>
              <a:rPr lang="en-US" sz="2600" kern="0" dirty="0" smtClean="0">
                <a:solidFill>
                  <a:srgbClr val="FFFFFF"/>
                </a:solidFill>
                <a:latin typeface="Calibri" pitchFamily="34" charset="0"/>
                <a:ea typeface="Arial" charset="0"/>
                <a:cs typeface="Arial"/>
              </a:rPr>
            </a:br>
            <a:r>
              <a:rPr lang="en-US" sz="2600" kern="0" dirty="0" smtClean="0">
                <a:solidFill>
                  <a:srgbClr val="FFFFFF"/>
                </a:solidFill>
                <a:latin typeface="Calibri" pitchFamily="34" charset="0"/>
                <a:ea typeface="Arial" charset="0"/>
                <a:cs typeface="Arial"/>
              </a:rPr>
              <a:t>LT AMAZONAS</a:t>
            </a:r>
            <a:endParaRPr lang="en-US" sz="2800" kern="0" dirty="0" smtClean="0">
              <a:solidFill>
                <a:schemeClr val="bg1"/>
              </a:solidFill>
              <a:latin typeface="Calibri" pitchFamily="34" charset="0"/>
              <a:ea typeface="Arial" charset="0"/>
              <a:cs typeface="+mj-cs"/>
            </a:endParaRPr>
          </a:p>
        </p:txBody>
      </p:sp>
      <p:sp>
        <p:nvSpPr>
          <p:cNvPr id="2" name="Rectangle 1"/>
          <p:cNvSpPr/>
          <p:nvPr/>
        </p:nvSpPr>
        <p:spPr>
          <a:xfrm>
            <a:off x="128464" y="975936"/>
            <a:ext cx="9649072" cy="438582"/>
          </a:xfrm>
          <a:prstGeom prst="rect">
            <a:avLst/>
          </a:prstGeom>
        </p:spPr>
        <p:txBody>
          <a:bodyPr wrap="square">
            <a:spAutoFit/>
          </a:bodyPr>
          <a:lstStyle/>
          <a:p>
            <a:pPr algn="just"/>
            <a:r>
              <a:rPr lang="pt-BR" sz="1200" u="sng" dirty="0" smtClean="0"/>
              <a:t>Estudo </a:t>
            </a:r>
            <a:r>
              <a:rPr lang="pt-BR" sz="1200" u="sng" dirty="0" err="1" smtClean="0"/>
              <a:t>EoY</a:t>
            </a:r>
            <a:r>
              <a:rPr lang="pt-BR" sz="1200" u="sng" dirty="0" smtClean="0"/>
              <a:t> - 2014</a:t>
            </a:r>
            <a:endParaRPr lang="pt-BR" sz="1200" u="sng" dirty="0"/>
          </a:p>
          <a:p>
            <a:pPr algn="just"/>
            <a:r>
              <a:rPr lang="pt-BR" sz="1050" dirty="0"/>
              <a:t> </a:t>
            </a:r>
          </a:p>
        </p:txBody>
      </p:sp>
      <p:cxnSp>
        <p:nvCxnSpPr>
          <p:cNvPr id="55" name="Straight Connector 56"/>
          <p:cNvCxnSpPr>
            <a:cxnSpLocks noChangeShapeType="1"/>
          </p:cNvCxnSpPr>
          <p:nvPr/>
        </p:nvCxnSpPr>
        <p:spPr bwMode="auto">
          <a:xfrm flipH="1">
            <a:off x="4146798" y="3392682"/>
            <a:ext cx="12700" cy="1174750"/>
          </a:xfrm>
          <a:prstGeom prst="line">
            <a:avLst/>
          </a:prstGeom>
          <a:noFill/>
          <a:ln w="9525" algn="ctr">
            <a:solidFill>
              <a:srgbClr val="0000FF"/>
            </a:solidFill>
            <a:round/>
            <a:headEnd/>
            <a:tailEnd/>
          </a:ln>
        </p:spPr>
      </p:cxnSp>
      <p:cxnSp>
        <p:nvCxnSpPr>
          <p:cNvPr id="56" name="Straight Connector 54"/>
          <p:cNvCxnSpPr>
            <a:cxnSpLocks noChangeShapeType="1"/>
          </p:cNvCxnSpPr>
          <p:nvPr/>
        </p:nvCxnSpPr>
        <p:spPr bwMode="auto">
          <a:xfrm>
            <a:off x="4211885" y="2277718"/>
            <a:ext cx="4797425" cy="1588"/>
          </a:xfrm>
          <a:prstGeom prst="line">
            <a:avLst/>
          </a:prstGeom>
          <a:noFill/>
          <a:ln w="9525" algn="ctr">
            <a:solidFill>
              <a:srgbClr val="0000FF"/>
            </a:solidFill>
            <a:round/>
            <a:headEnd/>
            <a:tailEnd/>
          </a:ln>
        </p:spPr>
      </p:cxnSp>
      <p:cxnSp>
        <p:nvCxnSpPr>
          <p:cNvPr id="57" name="Straight Connector 52"/>
          <p:cNvCxnSpPr>
            <a:cxnSpLocks noChangeShapeType="1"/>
          </p:cNvCxnSpPr>
          <p:nvPr/>
        </p:nvCxnSpPr>
        <p:spPr bwMode="auto">
          <a:xfrm flipH="1">
            <a:off x="4159498" y="2340170"/>
            <a:ext cx="12700" cy="917575"/>
          </a:xfrm>
          <a:prstGeom prst="line">
            <a:avLst/>
          </a:prstGeom>
          <a:noFill/>
          <a:ln w="9525" algn="ctr">
            <a:solidFill>
              <a:srgbClr val="0000FF"/>
            </a:solidFill>
            <a:round/>
            <a:headEnd/>
            <a:tailEnd/>
          </a:ln>
        </p:spPr>
      </p:cxnSp>
      <p:cxnSp>
        <p:nvCxnSpPr>
          <p:cNvPr id="58" name="Straight Connector 50"/>
          <p:cNvCxnSpPr>
            <a:cxnSpLocks noChangeShapeType="1"/>
          </p:cNvCxnSpPr>
          <p:nvPr/>
        </p:nvCxnSpPr>
        <p:spPr bwMode="auto">
          <a:xfrm>
            <a:off x="2851398" y="2278257"/>
            <a:ext cx="1244600" cy="0"/>
          </a:xfrm>
          <a:prstGeom prst="line">
            <a:avLst/>
          </a:prstGeom>
          <a:noFill/>
          <a:ln w="9525" algn="ctr">
            <a:solidFill>
              <a:srgbClr val="0000FF"/>
            </a:solidFill>
            <a:round/>
            <a:headEnd/>
            <a:tailEnd/>
          </a:ln>
        </p:spPr>
      </p:cxnSp>
      <p:cxnSp>
        <p:nvCxnSpPr>
          <p:cNvPr id="59" name="Straight Connector 48"/>
          <p:cNvCxnSpPr>
            <a:cxnSpLocks noChangeShapeType="1"/>
          </p:cNvCxnSpPr>
          <p:nvPr/>
        </p:nvCxnSpPr>
        <p:spPr bwMode="auto">
          <a:xfrm flipV="1">
            <a:off x="1301678" y="2278257"/>
            <a:ext cx="1403670" cy="13943"/>
          </a:xfrm>
          <a:prstGeom prst="line">
            <a:avLst/>
          </a:prstGeom>
          <a:noFill/>
          <a:ln w="9525" algn="ctr">
            <a:solidFill>
              <a:srgbClr val="0000FF"/>
            </a:solidFill>
            <a:round/>
            <a:headEnd/>
            <a:tailEnd/>
          </a:ln>
        </p:spPr>
      </p:cxnSp>
      <p:pic>
        <p:nvPicPr>
          <p:cNvPr id="60" name="NEW_STATION_OTM.bmp" descr="C:\Program Files\iManager MDS 6600\WDM\bin\..\icon\NEW_STATION_OTM.bmp"/>
          <p:cNvPicPr>
            <a:picLocks noChangeAspect="1"/>
          </p:cNvPicPr>
          <p:nvPr/>
        </p:nvPicPr>
        <p:blipFill>
          <a:blip r:embed="rId3" r:link="rId4" cstate="print"/>
          <a:srcRect/>
          <a:stretch>
            <a:fillRect/>
          </a:stretch>
        </p:blipFill>
        <p:spPr bwMode="auto">
          <a:xfrm>
            <a:off x="1073078" y="2163957"/>
            <a:ext cx="228600" cy="228600"/>
          </a:xfrm>
          <a:prstGeom prst="rect">
            <a:avLst/>
          </a:prstGeom>
          <a:noFill/>
          <a:ln w="9525">
            <a:solidFill>
              <a:srgbClr val="FF0000"/>
            </a:solidFill>
            <a:miter lim="800000"/>
            <a:headEnd/>
            <a:tailEnd/>
          </a:ln>
        </p:spPr>
      </p:pic>
      <p:sp>
        <p:nvSpPr>
          <p:cNvPr id="61" name="TextBox 31"/>
          <p:cNvSpPr txBox="1">
            <a:spLocks noChangeArrowheads="1"/>
          </p:cNvSpPr>
          <p:nvPr/>
        </p:nvSpPr>
        <p:spPr bwMode="auto">
          <a:xfrm>
            <a:off x="730178" y="2392557"/>
            <a:ext cx="889000" cy="230188"/>
          </a:xfrm>
          <a:prstGeom prst="rect">
            <a:avLst/>
          </a:prstGeom>
          <a:noFill/>
          <a:ln w="9525">
            <a:noFill/>
            <a:miter lim="800000"/>
            <a:headEnd/>
            <a:tailEnd/>
          </a:ln>
        </p:spPr>
        <p:txBody>
          <a:bodyPr anchorCtr="1">
            <a:spAutoFit/>
          </a:bodyPr>
          <a:lstStyle/>
          <a:p>
            <a:r>
              <a:rPr lang="en-US" sz="900"/>
              <a:t>Tucurui</a:t>
            </a:r>
          </a:p>
        </p:txBody>
      </p:sp>
      <p:pic>
        <p:nvPicPr>
          <p:cNvPr id="62" name="NEW_STATION_OTM.bmp" descr="C:\Program Files\iManager MDS 6600\WDM\bin\..\icon\NEW_STATION_OTM.bmp"/>
          <p:cNvPicPr>
            <a:picLocks noChangeAspect="1"/>
          </p:cNvPicPr>
          <p:nvPr/>
        </p:nvPicPr>
        <p:blipFill>
          <a:blip r:embed="rId3" r:link="rId4" cstate="print"/>
          <a:srcRect/>
          <a:stretch>
            <a:fillRect/>
          </a:stretch>
        </p:blipFill>
        <p:spPr bwMode="auto">
          <a:xfrm>
            <a:off x="2660898" y="2163957"/>
            <a:ext cx="228600" cy="228600"/>
          </a:xfrm>
          <a:prstGeom prst="rect">
            <a:avLst/>
          </a:prstGeom>
          <a:noFill/>
          <a:ln w="9525">
            <a:solidFill>
              <a:srgbClr val="FF0000"/>
            </a:solidFill>
            <a:miter lim="800000"/>
            <a:headEnd/>
            <a:tailEnd/>
          </a:ln>
        </p:spPr>
      </p:pic>
      <p:sp>
        <p:nvSpPr>
          <p:cNvPr id="63" name="TextBox 33"/>
          <p:cNvSpPr txBox="1">
            <a:spLocks noChangeArrowheads="1"/>
          </p:cNvSpPr>
          <p:nvPr/>
        </p:nvSpPr>
        <p:spPr bwMode="auto">
          <a:xfrm>
            <a:off x="2283996" y="2323344"/>
            <a:ext cx="889000" cy="230188"/>
          </a:xfrm>
          <a:prstGeom prst="rect">
            <a:avLst/>
          </a:prstGeom>
          <a:noFill/>
          <a:ln w="9525">
            <a:noFill/>
            <a:miter lim="800000"/>
            <a:headEnd/>
            <a:tailEnd/>
          </a:ln>
        </p:spPr>
        <p:txBody>
          <a:bodyPr anchorCtr="1">
            <a:spAutoFit/>
          </a:bodyPr>
          <a:lstStyle/>
          <a:p>
            <a:r>
              <a:rPr lang="en-US" sz="900" dirty="0"/>
              <a:t>Xingu</a:t>
            </a:r>
          </a:p>
        </p:txBody>
      </p:sp>
      <p:pic>
        <p:nvPicPr>
          <p:cNvPr id="64" name="NEW_STATION_OTM.bmp" descr="C:\Program Files\iManager MDS 6600\WDM\bin\..\icon\NEW_STATION_OTM.bmp"/>
          <p:cNvPicPr>
            <a:picLocks noChangeAspect="1"/>
          </p:cNvPicPr>
          <p:nvPr/>
        </p:nvPicPr>
        <p:blipFill>
          <a:blip r:embed="rId3" r:link="rId4" cstate="print"/>
          <a:srcRect/>
          <a:stretch>
            <a:fillRect/>
          </a:stretch>
        </p:blipFill>
        <p:spPr bwMode="auto">
          <a:xfrm>
            <a:off x="4057898" y="2163957"/>
            <a:ext cx="228600" cy="228600"/>
          </a:xfrm>
          <a:prstGeom prst="rect">
            <a:avLst/>
          </a:prstGeom>
          <a:noFill/>
          <a:ln w="9525">
            <a:solidFill>
              <a:srgbClr val="FF0000"/>
            </a:solidFill>
            <a:miter lim="800000"/>
            <a:headEnd/>
            <a:tailEnd/>
          </a:ln>
        </p:spPr>
      </p:pic>
      <p:sp>
        <p:nvSpPr>
          <p:cNvPr id="65" name="TextBox 35"/>
          <p:cNvSpPr txBox="1">
            <a:spLocks noChangeArrowheads="1"/>
          </p:cNvSpPr>
          <p:nvPr/>
        </p:nvSpPr>
        <p:spPr bwMode="auto">
          <a:xfrm>
            <a:off x="3727698" y="2392557"/>
            <a:ext cx="889000" cy="230188"/>
          </a:xfrm>
          <a:prstGeom prst="rect">
            <a:avLst/>
          </a:prstGeom>
          <a:noFill/>
          <a:ln w="9525">
            <a:noFill/>
            <a:miter lim="800000"/>
            <a:headEnd/>
            <a:tailEnd/>
          </a:ln>
        </p:spPr>
        <p:txBody>
          <a:bodyPr anchorCtr="1">
            <a:spAutoFit/>
          </a:bodyPr>
          <a:lstStyle/>
          <a:p>
            <a:r>
              <a:rPr lang="en-US" sz="900"/>
              <a:t>Jurupari</a:t>
            </a:r>
          </a:p>
        </p:txBody>
      </p:sp>
      <p:pic>
        <p:nvPicPr>
          <p:cNvPr id="66" name="NEW_STATION_OTM.bmp" descr="C:\Program Files\iManager MDS 6600\WDM\bin\..\icon\NEW_STATION_OTM.bmp"/>
          <p:cNvPicPr>
            <a:picLocks noChangeAspect="1"/>
          </p:cNvPicPr>
          <p:nvPr/>
        </p:nvPicPr>
        <p:blipFill>
          <a:blip r:embed="rId3" r:link="rId4" cstate="print"/>
          <a:srcRect/>
          <a:stretch>
            <a:fillRect/>
          </a:stretch>
        </p:blipFill>
        <p:spPr bwMode="auto">
          <a:xfrm>
            <a:off x="4045198" y="3205357"/>
            <a:ext cx="228600" cy="228600"/>
          </a:xfrm>
          <a:prstGeom prst="rect">
            <a:avLst/>
          </a:prstGeom>
          <a:noFill/>
          <a:ln w="9525">
            <a:solidFill>
              <a:srgbClr val="FF0000"/>
            </a:solidFill>
            <a:miter lim="800000"/>
            <a:headEnd/>
            <a:tailEnd/>
          </a:ln>
        </p:spPr>
      </p:pic>
      <p:sp>
        <p:nvSpPr>
          <p:cNvPr id="67" name="TextBox 37"/>
          <p:cNvSpPr txBox="1">
            <a:spLocks noChangeArrowheads="1"/>
          </p:cNvSpPr>
          <p:nvPr/>
        </p:nvSpPr>
        <p:spPr bwMode="auto">
          <a:xfrm>
            <a:off x="3714998" y="3433957"/>
            <a:ext cx="889000" cy="369332"/>
          </a:xfrm>
          <a:prstGeom prst="rect">
            <a:avLst/>
          </a:prstGeom>
          <a:noFill/>
          <a:ln w="9525">
            <a:noFill/>
            <a:miter lim="800000"/>
            <a:headEnd/>
            <a:tailEnd/>
          </a:ln>
        </p:spPr>
        <p:txBody>
          <a:bodyPr anchorCtr="1">
            <a:spAutoFit/>
          </a:bodyPr>
          <a:lstStyle/>
          <a:p>
            <a:pPr algn="ctr"/>
            <a:r>
              <a:rPr lang="en-US" sz="900" dirty="0" err="1" smtClean="0"/>
              <a:t>Laranjal</a:t>
            </a:r>
            <a:r>
              <a:rPr lang="en-US" sz="900" dirty="0" smtClean="0"/>
              <a:t> do </a:t>
            </a:r>
            <a:r>
              <a:rPr lang="en-US" sz="900" dirty="0" err="1" smtClean="0"/>
              <a:t>Jari</a:t>
            </a:r>
            <a:endParaRPr lang="en-US" sz="900" dirty="0"/>
          </a:p>
        </p:txBody>
      </p:sp>
      <p:pic>
        <p:nvPicPr>
          <p:cNvPr id="70" name="NEW_STATION_OTM.bmp" descr="C:\Program Files\iManager MDS 6600\WDM\bin\..\icon\NEW_STATION_OTM.bmp"/>
          <p:cNvPicPr>
            <a:picLocks noChangeAspect="1"/>
          </p:cNvPicPr>
          <p:nvPr/>
        </p:nvPicPr>
        <p:blipFill>
          <a:blip r:embed="rId3" r:link="rId4" cstate="print"/>
          <a:srcRect/>
          <a:stretch>
            <a:fillRect/>
          </a:stretch>
        </p:blipFill>
        <p:spPr bwMode="auto">
          <a:xfrm>
            <a:off x="5950677" y="2163957"/>
            <a:ext cx="228600" cy="228600"/>
          </a:xfrm>
          <a:prstGeom prst="rect">
            <a:avLst/>
          </a:prstGeom>
          <a:noFill/>
          <a:ln w="9525">
            <a:solidFill>
              <a:srgbClr val="FF0000"/>
            </a:solidFill>
            <a:miter lim="800000"/>
            <a:headEnd/>
            <a:tailEnd/>
          </a:ln>
        </p:spPr>
      </p:pic>
      <p:sp>
        <p:nvSpPr>
          <p:cNvPr id="71" name="TextBox 43"/>
          <p:cNvSpPr txBox="1">
            <a:spLocks noChangeArrowheads="1"/>
          </p:cNvSpPr>
          <p:nvPr/>
        </p:nvSpPr>
        <p:spPr bwMode="auto">
          <a:xfrm>
            <a:off x="5574024" y="2347675"/>
            <a:ext cx="889000" cy="230188"/>
          </a:xfrm>
          <a:prstGeom prst="rect">
            <a:avLst/>
          </a:prstGeom>
          <a:noFill/>
          <a:ln w="9525">
            <a:noFill/>
            <a:miter lim="800000"/>
            <a:headEnd/>
            <a:tailEnd/>
          </a:ln>
        </p:spPr>
        <p:txBody>
          <a:bodyPr anchorCtr="1">
            <a:spAutoFit/>
          </a:bodyPr>
          <a:lstStyle/>
          <a:p>
            <a:r>
              <a:rPr lang="en-US" sz="900" dirty="0" err="1" smtClean="0"/>
              <a:t>Oriximiná</a:t>
            </a:r>
            <a:endParaRPr lang="en-US" sz="900" dirty="0"/>
          </a:p>
        </p:txBody>
      </p:sp>
      <p:pic>
        <p:nvPicPr>
          <p:cNvPr id="72" name="NEW_STATION_OTM.bmp" descr="C:\Program Files\iManager MDS 6600\WDM\bin\..\icon\NEW_STATION_OTM.bmp"/>
          <p:cNvPicPr>
            <a:picLocks noChangeAspect="1"/>
          </p:cNvPicPr>
          <p:nvPr/>
        </p:nvPicPr>
        <p:blipFill>
          <a:blip r:embed="rId3" r:link="rId4" cstate="print"/>
          <a:srcRect/>
          <a:stretch>
            <a:fillRect/>
          </a:stretch>
        </p:blipFill>
        <p:spPr bwMode="auto">
          <a:xfrm>
            <a:off x="7791698" y="2163957"/>
            <a:ext cx="228600" cy="228600"/>
          </a:xfrm>
          <a:prstGeom prst="rect">
            <a:avLst/>
          </a:prstGeom>
          <a:noFill/>
          <a:ln w="9525">
            <a:solidFill>
              <a:srgbClr val="FF0000"/>
            </a:solidFill>
            <a:miter lim="800000"/>
            <a:headEnd/>
            <a:tailEnd/>
          </a:ln>
        </p:spPr>
      </p:pic>
      <p:sp>
        <p:nvSpPr>
          <p:cNvPr id="73" name="TextBox 45"/>
          <p:cNvSpPr txBox="1">
            <a:spLocks noChangeArrowheads="1"/>
          </p:cNvSpPr>
          <p:nvPr/>
        </p:nvSpPr>
        <p:spPr bwMode="auto">
          <a:xfrm>
            <a:off x="7461498" y="2392557"/>
            <a:ext cx="889000" cy="230188"/>
          </a:xfrm>
          <a:prstGeom prst="rect">
            <a:avLst/>
          </a:prstGeom>
          <a:noFill/>
          <a:ln w="9525">
            <a:noFill/>
            <a:miter lim="800000"/>
            <a:headEnd/>
            <a:tailEnd/>
          </a:ln>
        </p:spPr>
        <p:txBody>
          <a:bodyPr anchorCtr="1">
            <a:spAutoFit/>
          </a:bodyPr>
          <a:lstStyle/>
          <a:p>
            <a:r>
              <a:rPr lang="en-US" sz="900"/>
              <a:t>Silves</a:t>
            </a:r>
          </a:p>
        </p:txBody>
      </p:sp>
      <p:pic>
        <p:nvPicPr>
          <p:cNvPr id="74" name="NEW_STATION_OTM.bmp" descr="C:\Program Files\iManager MDS 6600\WDM\bin\..\icon\NEW_STATION_OTM.bmp"/>
          <p:cNvPicPr>
            <a:picLocks noChangeAspect="1"/>
          </p:cNvPicPr>
          <p:nvPr/>
        </p:nvPicPr>
        <p:blipFill>
          <a:blip r:embed="rId3" r:link="rId4" cstate="print"/>
          <a:srcRect/>
          <a:stretch>
            <a:fillRect/>
          </a:stretch>
        </p:blipFill>
        <p:spPr bwMode="auto">
          <a:xfrm>
            <a:off x="8820398" y="2163957"/>
            <a:ext cx="228600" cy="228600"/>
          </a:xfrm>
          <a:prstGeom prst="rect">
            <a:avLst/>
          </a:prstGeom>
          <a:noFill/>
          <a:ln w="9525">
            <a:solidFill>
              <a:srgbClr val="FF0000"/>
            </a:solidFill>
            <a:miter lim="800000"/>
            <a:headEnd/>
            <a:tailEnd/>
          </a:ln>
        </p:spPr>
      </p:pic>
      <p:sp>
        <p:nvSpPr>
          <p:cNvPr id="75" name="TextBox 47"/>
          <p:cNvSpPr txBox="1">
            <a:spLocks noChangeArrowheads="1"/>
          </p:cNvSpPr>
          <p:nvPr/>
        </p:nvSpPr>
        <p:spPr bwMode="auto">
          <a:xfrm>
            <a:off x="8490198" y="2392557"/>
            <a:ext cx="889000" cy="230188"/>
          </a:xfrm>
          <a:prstGeom prst="rect">
            <a:avLst/>
          </a:prstGeom>
          <a:noFill/>
          <a:ln w="9525">
            <a:noFill/>
            <a:miter lim="800000"/>
            <a:headEnd/>
            <a:tailEnd/>
          </a:ln>
        </p:spPr>
        <p:txBody>
          <a:bodyPr anchorCtr="1">
            <a:spAutoFit/>
          </a:bodyPr>
          <a:lstStyle/>
          <a:p>
            <a:r>
              <a:rPr lang="en-US" sz="900" dirty="0" err="1" smtClean="0"/>
              <a:t>Lexuga</a:t>
            </a:r>
            <a:r>
              <a:rPr lang="en-US" sz="900" dirty="0" smtClean="0"/>
              <a:t> - SUB</a:t>
            </a:r>
            <a:endParaRPr lang="en-US" sz="900" dirty="0"/>
          </a:p>
        </p:txBody>
      </p:sp>
      <p:cxnSp>
        <p:nvCxnSpPr>
          <p:cNvPr id="78" name="Straight Connector 50"/>
          <p:cNvCxnSpPr>
            <a:cxnSpLocks noChangeShapeType="1"/>
            <a:stCxn id="61" idx="0"/>
          </p:cNvCxnSpPr>
          <p:nvPr/>
        </p:nvCxnSpPr>
        <p:spPr bwMode="auto">
          <a:xfrm rot="16200000" flipH="1" flipV="1">
            <a:off x="533328" y="3008507"/>
            <a:ext cx="1257300" cy="25400"/>
          </a:xfrm>
          <a:prstGeom prst="line">
            <a:avLst/>
          </a:prstGeom>
          <a:ln>
            <a:solidFill>
              <a:srgbClr val="FF0000"/>
            </a:solidFill>
            <a:headEnd/>
            <a:tailEnd/>
          </a:ln>
        </p:spPr>
        <p:style>
          <a:lnRef idx="2">
            <a:schemeClr val="dk1"/>
          </a:lnRef>
          <a:fillRef idx="0">
            <a:schemeClr val="dk1"/>
          </a:fillRef>
          <a:effectRef idx="1">
            <a:schemeClr val="dk1"/>
          </a:effectRef>
          <a:fontRef idx="minor">
            <a:schemeClr val="tx1"/>
          </a:fontRef>
        </p:style>
      </p:cxnSp>
      <p:sp>
        <p:nvSpPr>
          <p:cNvPr id="79" name="TextBox 41"/>
          <p:cNvSpPr txBox="1">
            <a:spLocks noChangeArrowheads="1"/>
          </p:cNvSpPr>
          <p:nvPr/>
        </p:nvSpPr>
        <p:spPr bwMode="auto">
          <a:xfrm>
            <a:off x="416496" y="3904352"/>
            <a:ext cx="1492250" cy="230832"/>
          </a:xfrm>
          <a:prstGeom prst="rect">
            <a:avLst/>
          </a:prstGeom>
          <a:noFill/>
          <a:ln w="9525">
            <a:noFill/>
            <a:miter lim="800000"/>
            <a:headEnd/>
            <a:tailEnd/>
          </a:ln>
        </p:spPr>
        <p:txBody>
          <a:bodyPr wrap="square" anchorCtr="1">
            <a:spAutoFit/>
          </a:bodyPr>
          <a:lstStyle/>
          <a:p>
            <a:r>
              <a:rPr lang="pt-BR" sz="900" dirty="0" smtClean="0"/>
              <a:t>Goianésia do Para </a:t>
            </a:r>
            <a:r>
              <a:rPr lang="en-US" sz="900" dirty="0" smtClean="0"/>
              <a:t>- TIM</a:t>
            </a:r>
            <a:endParaRPr lang="en-US" sz="900" dirty="0"/>
          </a:p>
        </p:txBody>
      </p:sp>
      <p:sp>
        <p:nvSpPr>
          <p:cNvPr id="80" name="TextBox 47"/>
          <p:cNvSpPr txBox="1">
            <a:spLocks noChangeArrowheads="1"/>
          </p:cNvSpPr>
          <p:nvPr/>
        </p:nvSpPr>
        <p:spPr bwMode="auto">
          <a:xfrm rot="16200000">
            <a:off x="8705603" y="3483108"/>
            <a:ext cx="889000" cy="230188"/>
          </a:xfrm>
          <a:prstGeom prst="rect">
            <a:avLst/>
          </a:prstGeom>
          <a:noFill/>
          <a:ln w="9525">
            <a:noFill/>
            <a:miter lim="800000"/>
            <a:headEnd/>
            <a:tailEnd/>
          </a:ln>
        </p:spPr>
        <p:txBody>
          <a:bodyPr anchorCtr="1">
            <a:spAutoFit/>
          </a:bodyPr>
          <a:lstStyle/>
          <a:p>
            <a:r>
              <a:rPr lang="en-US" sz="900" dirty="0" smtClean="0"/>
              <a:t>Manaus-TIM</a:t>
            </a:r>
            <a:endParaRPr lang="en-US" sz="900" dirty="0"/>
          </a:p>
        </p:txBody>
      </p:sp>
      <p:cxnSp>
        <p:nvCxnSpPr>
          <p:cNvPr id="81" name="Straight Connector 56"/>
          <p:cNvCxnSpPr>
            <a:cxnSpLocks noChangeShapeType="1"/>
            <a:stCxn id="75" idx="0"/>
          </p:cNvCxnSpPr>
          <p:nvPr/>
        </p:nvCxnSpPr>
        <p:spPr bwMode="auto">
          <a:xfrm rot="16200000" flipH="1">
            <a:off x="8528298" y="2798957"/>
            <a:ext cx="812800" cy="1588"/>
          </a:xfrm>
          <a:prstGeom prst="line">
            <a:avLst/>
          </a:prstGeom>
          <a:noFill/>
          <a:ln w="28575" algn="ctr">
            <a:solidFill>
              <a:srgbClr val="FF0000"/>
            </a:solidFill>
            <a:round/>
            <a:headEnd/>
            <a:tailEnd/>
          </a:ln>
        </p:spPr>
      </p:cxnSp>
      <p:cxnSp>
        <p:nvCxnSpPr>
          <p:cNvPr id="82" name="Straight Connector 56"/>
          <p:cNvCxnSpPr>
            <a:cxnSpLocks noChangeShapeType="1"/>
          </p:cNvCxnSpPr>
          <p:nvPr/>
        </p:nvCxnSpPr>
        <p:spPr bwMode="auto">
          <a:xfrm flipH="1">
            <a:off x="4141189" y="4537112"/>
            <a:ext cx="4201" cy="801845"/>
          </a:xfrm>
          <a:prstGeom prst="line">
            <a:avLst/>
          </a:prstGeom>
          <a:noFill/>
          <a:ln w="28575" algn="ctr">
            <a:solidFill>
              <a:srgbClr val="FF0000"/>
            </a:solidFill>
            <a:round/>
            <a:headEnd/>
            <a:tailEnd/>
          </a:ln>
        </p:spPr>
      </p:cxnSp>
      <p:sp>
        <p:nvSpPr>
          <p:cNvPr id="83" name="TextBox 39"/>
          <p:cNvSpPr txBox="1">
            <a:spLocks noChangeArrowheads="1"/>
          </p:cNvSpPr>
          <p:nvPr/>
        </p:nvSpPr>
        <p:spPr bwMode="auto">
          <a:xfrm>
            <a:off x="3599098" y="5576712"/>
            <a:ext cx="1083725" cy="230832"/>
          </a:xfrm>
          <a:prstGeom prst="rect">
            <a:avLst/>
          </a:prstGeom>
          <a:noFill/>
          <a:ln w="9525">
            <a:noFill/>
            <a:miter lim="800000"/>
            <a:headEnd/>
            <a:tailEnd/>
          </a:ln>
        </p:spPr>
        <p:txBody>
          <a:bodyPr wrap="square" anchorCtr="1">
            <a:spAutoFit/>
          </a:bodyPr>
          <a:lstStyle/>
          <a:p>
            <a:r>
              <a:rPr lang="en-US" sz="900" dirty="0" smtClean="0"/>
              <a:t>Macapá - TIM</a:t>
            </a:r>
            <a:endParaRPr lang="en-US" sz="900" dirty="0"/>
          </a:p>
        </p:txBody>
      </p:sp>
      <p:cxnSp>
        <p:nvCxnSpPr>
          <p:cNvPr id="84" name="Straight Connector 214"/>
          <p:cNvCxnSpPr/>
          <p:nvPr/>
        </p:nvCxnSpPr>
        <p:spPr bwMode="auto">
          <a:xfrm rot="16200000" flipV="1">
            <a:off x="6345180" y="2452761"/>
            <a:ext cx="374350" cy="34003"/>
          </a:xfrm>
          <a:prstGeom prst="line">
            <a:avLst/>
          </a:prstGeom>
          <a:ln>
            <a:solidFill>
              <a:srgbClr val="FF0000"/>
            </a:solidFill>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85" name="Straight Connector 215"/>
          <p:cNvCxnSpPr/>
          <p:nvPr/>
        </p:nvCxnSpPr>
        <p:spPr bwMode="auto">
          <a:xfrm rot="5400000" flipH="1" flipV="1">
            <a:off x="6389391" y="2450923"/>
            <a:ext cx="391381" cy="71451"/>
          </a:xfrm>
          <a:prstGeom prst="line">
            <a:avLst/>
          </a:prstGeom>
          <a:ln>
            <a:solidFill>
              <a:srgbClr val="FF0000"/>
            </a:solidFill>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86" name="Straight Connector 216"/>
          <p:cNvCxnSpPr/>
          <p:nvPr/>
        </p:nvCxnSpPr>
        <p:spPr bwMode="auto">
          <a:xfrm rot="16200000" flipV="1">
            <a:off x="4826097" y="2456044"/>
            <a:ext cx="402875" cy="23221"/>
          </a:xfrm>
          <a:prstGeom prst="line">
            <a:avLst/>
          </a:prstGeom>
          <a:ln>
            <a:solidFill>
              <a:srgbClr val="FF0000"/>
            </a:solidFill>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87" name="Straight Connector 217"/>
          <p:cNvCxnSpPr/>
          <p:nvPr/>
        </p:nvCxnSpPr>
        <p:spPr bwMode="auto">
          <a:xfrm rot="5400000" flipH="1" flipV="1">
            <a:off x="4882504" y="2422858"/>
            <a:ext cx="402875" cy="89595"/>
          </a:xfrm>
          <a:prstGeom prst="line">
            <a:avLst/>
          </a:prstGeom>
          <a:ln>
            <a:solidFill>
              <a:srgbClr val="FF0000"/>
            </a:solidFill>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89" name="Straight Connector 220"/>
          <p:cNvCxnSpPr/>
          <p:nvPr/>
        </p:nvCxnSpPr>
        <p:spPr bwMode="auto">
          <a:xfrm rot="16200000" flipV="1">
            <a:off x="1633310" y="2456414"/>
            <a:ext cx="387260" cy="30616"/>
          </a:xfrm>
          <a:prstGeom prst="line">
            <a:avLst/>
          </a:prstGeom>
          <a:solidFill>
            <a:schemeClr val="bg1"/>
          </a:solidFill>
          <a:ln w="28575" cap="flat" cmpd="sng" algn="ctr">
            <a:solidFill>
              <a:srgbClr val="FF0000"/>
            </a:solidFill>
            <a:prstDash val="solid"/>
            <a:round/>
            <a:headEnd type="none" w="med" len="med"/>
            <a:tailEnd type="none" w="med" len="med"/>
          </a:ln>
          <a:effectLst/>
        </p:spPr>
      </p:cxnSp>
      <p:cxnSp>
        <p:nvCxnSpPr>
          <p:cNvPr id="90" name="Straight Connector 221"/>
          <p:cNvCxnSpPr/>
          <p:nvPr/>
        </p:nvCxnSpPr>
        <p:spPr bwMode="auto">
          <a:xfrm rot="5400000" flipH="1" flipV="1">
            <a:off x="1668936" y="2451404"/>
            <a:ext cx="387260" cy="40636"/>
          </a:xfrm>
          <a:prstGeom prst="line">
            <a:avLst/>
          </a:prstGeom>
          <a:solidFill>
            <a:schemeClr val="bg1"/>
          </a:solidFill>
          <a:ln w="28575" cap="flat" cmpd="sng" algn="ctr">
            <a:solidFill>
              <a:srgbClr val="FF0000"/>
            </a:solidFill>
            <a:prstDash val="solid"/>
            <a:round/>
            <a:headEnd type="none" w="med" len="med"/>
            <a:tailEnd type="none" w="med" len="med"/>
          </a:ln>
          <a:effectLst/>
        </p:spPr>
      </p:cxnSp>
      <p:sp>
        <p:nvSpPr>
          <p:cNvPr id="92" name="TextBox 33"/>
          <p:cNvSpPr txBox="1">
            <a:spLocks noChangeArrowheads="1"/>
          </p:cNvSpPr>
          <p:nvPr/>
        </p:nvSpPr>
        <p:spPr bwMode="auto">
          <a:xfrm rot="16200000">
            <a:off x="2966482" y="2962718"/>
            <a:ext cx="1020942" cy="369332"/>
          </a:xfrm>
          <a:prstGeom prst="rect">
            <a:avLst/>
          </a:prstGeom>
          <a:noFill/>
          <a:ln w="9525">
            <a:noFill/>
            <a:miter lim="800000"/>
            <a:headEnd/>
            <a:tailEnd/>
          </a:ln>
        </p:spPr>
        <p:txBody>
          <a:bodyPr wrap="square" anchorCtr="1">
            <a:spAutoFit/>
          </a:bodyPr>
          <a:lstStyle/>
          <a:p>
            <a:pPr algn="ctr"/>
            <a:r>
              <a:rPr lang="en-US" sz="900" dirty="0" err="1" smtClean="0"/>
              <a:t>Vitória</a:t>
            </a:r>
            <a:r>
              <a:rPr lang="en-US" sz="900" dirty="0" smtClean="0"/>
              <a:t> do</a:t>
            </a:r>
          </a:p>
          <a:p>
            <a:pPr algn="ctr"/>
            <a:r>
              <a:rPr lang="en-US" sz="900" dirty="0" smtClean="0"/>
              <a:t> Xingu</a:t>
            </a:r>
            <a:endParaRPr lang="en-US" sz="900" dirty="0"/>
          </a:p>
        </p:txBody>
      </p:sp>
      <p:sp>
        <p:nvSpPr>
          <p:cNvPr id="93" name="TextBox 43"/>
          <p:cNvSpPr txBox="1">
            <a:spLocks noChangeArrowheads="1"/>
          </p:cNvSpPr>
          <p:nvPr/>
        </p:nvSpPr>
        <p:spPr bwMode="auto">
          <a:xfrm rot="16200000">
            <a:off x="1519298" y="2902263"/>
            <a:ext cx="617517" cy="230832"/>
          </a:xfrm>
          <a:prstGeom prst="rect">
            <a:avLst/>
          </a:prstGeom>
          <a:noFill/>
          <a:ln w="9525">
            <a:noFill/>
            <a:miter lim="800000"/>
            <a:headEnd/>
            <a:tailEnd/>
          </a:ln>
        </p:spPr>
        <p:txBody>
          <a:bodyPr wrap="square" anchorCtr="1">
            <a:spAutoFit/>
          </a:bodyPr>
          <a:lstStyle/>
          <a:p>
            <a:r>
              <a:rPr lang="en-US" sz="900" dirty="0" smtClean="0"/>
              <a:t>Pacaja</a:t>
            </a:r>
            <a:endParaRPr lang="en-US" sz="900" dirty="0"/>
          </a:p>
        </p:txBody>
      </p:sp>
      <p:cxnSp>
        <p:nvCxnSpPr>
          <p:cNvPr id="94" name="Straight Connector 235"/>
          <p:cNvCxnSpPr/>
          <p:nvPr/>
        </p:nvCxnSpPr>
        <p:spPr bwMode="auto">
          <a:xfrm rot="5400000" flipH="1" flipV="1">
            <a:off x="3264539" y="2463447"/>
            <a:ext cx="384976" cy="28624"/>
          </a:xfrm>
          <a:prstGeom prst="line">
            <a:avLst/>
          </a:prstGeom>
          <a:ln>
            <a:solidFill>
              <a:srgbClr val="FF0000"/>
            </a:solidFill>
            <a:headEnd type="none" w="med" len="med"/>
            <a:tailEnd type="none" w="med" len="med"/>
          </a:ln>
        </p:spPr>
        <p:style>
          <a:lnRef idx="2">
            <a:schemeClr val="dk1"/>
          </a:lnRef>
          <a:fillRef idx="0">
            <a:schemeClr val="dk1"/>
          </a:fillRef>
          <a:effectRef idx="1">
            <a:schemeClr val="dk1"/>
          </a:effectRef>
          <a:fontRef idx="minor">
            <a:schemeClr val="tx1"/>
          </a:fontRef>
        </p:style>
      </p:cxnSp>
      <p:sp>
        <p:nvSpPr>
          <p:cNvPr id="95" name="TextBox 43"/>
          <p:cNvSpPr txBox="1">
            <a:spLocks noChangeArrowheads="1"/>
          </p:cNvSpPr>
          <p:nvPr/>
        </p:nvSpPr>
        <p:spPr bwMode="auto">
          <a:xfrm rot="16200000">
            <a:off x="4839661" y="2614699"/>
            <a:ext cx="938980" cy="369332"/>
          </a:xfrm>
          <a:prstGeom prst="rect">
            <a:avLst/>
          </a:prstGeom>
          <a:noFill/>
          <a:ln w="9525">
            <a:noFill/>
            <a:miter lim="800000"/>
            <a:headEnd/>
            <a:tailEnd/>
          </a:ln>
        </p:spPr>
        <p:txBody>
          <a:bodyPr wrap="square" anchorCtr="1">
            <a:spAutoFit/>
          </a:bodyPr>
          <a:lstStyle/>
          <a:p>
            <a:pPr algn="ctr"/>
            <a:r>
              <a:rPr lang="en-US" sz="900" dirty="0" smtClean="0"/>
              <a:t>Vila Camburão/PA</a:t>
            </a:r>
            <a:endParaRPr lang="en-US" sz="900" dirty="0"/>
          </a:p>
        </p:txBody>
      </p:sp>
      <p:sp>
        <p:nvSpPr>
          <p:cNvPr id="96" name="TextBox 43"/>
          <p:cNvSpPr txBox="1">
            <a:spLocks noChangeArrowheads="1"/>
          </p:cNvSpPr>
          <p:nvPr/>
        </p:nvSpPr>
        <p:spPr bwMode="auto">
          <a:xfrm rot="16200000">
            <a:off x="6153061" y="3039361"/>
            <a:ext cx="705514" cy="369332"/>
          </a:xfrm>
          <a:prstGeom prst="rect">
            <a:avLst/>
          </a:prstGeom>
          <a:noFill/>
          <a:ln w="9525">
            <a:noFill/>
            <a:miter lim="800000"/>
            <a:headEnd/>
            <a:tailEnd/>
          </a:ln>
        </p:spPr>
        <p:txBody>
          <a:bodyPr wrap="square" anchorCtr="1">
            <a:spAutoFit/>
          </a:bodyPr>
          <a:lstStyle/>
          <a:p>
            <a:pPr algn="ctr"/>
            <a:r>
              <a:rPr lang="en-US" sz="900" dirty="0" smtClean="0"/>
              <a:t>Terra Santa/AM</a:t>
            </a:r>
            <a:endParaRPr lang="en-US" sz="900" dirty="0"/>
          </a:p>
        </p:txBody>
      </p:sp>
      <p:cxnSp>
        <p:nvCxnSpPr>
          <p:cNvPr id="97" name="Straight Connector 262"/>
          <p:cNvCxnSpPr/>
          <p:nvPr/>
        </p:nvCxnSpPr>
        <p:spPr bwMode="auto">
          <a:xfrm rot="16200000" flipV="1">
            <a:off x="3219504" y="2450290"/>
            <a:ext cx="385281" cy="40512"/>
          </a:xfrm>
          <a:prstGeom prst="line">
            <a:avLst/>
          </a:prstGeom>
          <a:ln>
            <a:solidFill>
              <a:srgbClr val="FF0000"/>
            </a:solidFill>
            <a:headEnd type="none" w="med" len="med"/>
            <a:tailEnd type="none" w="med" len="med"/>
          </a:ln>
        </p:spPr>
        <p:style>
          <a:lnRef idx="2">
            <a:schemeClr val="dk1"/>
          </a:lnRef>
          <a:fillRef idx="0">
            <a:schemeClr val="dk1"/>
          </a:fillRef>
          <a:effectRef idx="1">
            <a:schemeClr val="dk1"/>
          </a:effectRef>
          <a:fontRef idx="minor">
            <a:schemeClr val="tx1"/>
          </a:fontRef>
        </p:style>
      </p:cxnSp>
      <p:pic>
        <p:nvPicPr>
          <p:cNvPr id="105" name="NEW_STATION_OTM.bmp" descr="C:\Program Files\iManager MDS 6600\WDM\bin\..\icon\NEW_STATION_OTM.bmp"/>
          <p:cNvPicPr>
            <a:picLocks noChangeAspect="1"/>
          </p:cNvPicPr>
          <p:nvPr/>
        </p:nvPicPr>
        <p:blipFill>
          <a:blip r:embed="rId3" r:link="rId4" cstate="print"/>
          <a:srcRect/>
          <a:stretch>
            <a:fillRect/>
          </a:stretch>
        </p:blipFill>
        <p:spPr bwMode="auto">
          <a:xfrm>
            <a:off x="6418055" y="2642669"/>
            <a:ext cx="228600" cy="228600"/>
          </a:xfrm>
          <a:prstGeom prst="rect">
            <a:avLst/>
          </a:prstGeom>
          <a:noFill/>
          <a:ln w="9525">
            <a:solidFill>
              <a:srgbClr val="FF0000"/>
            </a:solidFill>
            <a:miter lim="800000"/>
            <a:headEnd/>
            <a:tailEnd/>
          </a:ln>
        </p:spPr>
      </p:pic>
      <p:pic>
        <p:nvPicPr>
          <p:cNvPr id="119" name="NEW_STATION_OTM.bmp" descr="C:\Program Files\iManager MDS 6600\WDM\bin\..\icon\NEW_STATION_OTM.bmp"/>
          <p:cNvPicPr>
            <a:picLocks noChangeAspect="1"/>
          </p:cNvPicPr>
          <p:nvPr/>
        </p:nvPicPr>
        <p:blipFill>
          <a:blip r:embed="rId3" r:link="rId4" cstate="print"/>
          <a:srcRect/>
          <a:stretch>
            <a:fillRect/>
          </a:stretch>
        </p:blipFill>
        <p:spPr bwMode="auto">
          <a:xfrm>
            <a:off x="1028628" y="3584686"/>
            <a:ext cx="228600" cy="228600"/>
          </a:xfrm>
          <a:prstGeom prst="rect">
            <a:avLst/>
          </a:prstGeom>
          <a:noFill/>
          <a:ln w="9525">
            <a:solidFill>
              <a:srgbClr val="FF0000"/>
            </a:solidFill>
            <a:miter lim="800000"/>
            <a:headEnd/>
            <a:tailEnd/>
          </a:ln>
        </p:spPr>
      </p:pic>
      <p:pic>
        <p:nvPicPr>
          <p:cNvPr id="120" name="NEW_STATION_OTM.bmp" descr="C:\Program Files\iManager MDS 6600\WDM\bin\..\icon\NEW_STATION_OTM.bmp"/>
          <p:cNvPicPr>
            <a:picLocks noChangeAspect="1"/>
          </p:cNvPicPr>
          <p:nvPr/>
        </p:nvPicPr>
        <p:blipFill>
          <a:blip r:embed="rId3" r:link="rId4" cstate="print"/>
          <a:srcRect/>
          <a:stretch>
            <a:fillRect/>
          </a:stretch>
        </p:blipFill>
        <p:spPr bwMode="auto">
          <a:xfrm>
            <a:off x="4895885" y="2656938"/>
            <a:ext cx="228600" cy="228600"/>
          </a:xfrm>
          <a:prstGeom prst="rect">
            <a:avLst/>
          </a:prstGeom>
          <a:noFill/>
          <a:ln w="9525">
            <a:solidFill>
              <a:srgbClr val="FF0000"/>
            </a:solidFill>
            <a:miter lim="800000"/>
            <a:headEnd/>
            <a:tailEnd/>
          </a:ln>
        </p:spPr>
      </p:pic>
      <p:pic>
        <p:nvPicPr>
          <p:cNvPr id="121" name="NEW_STATION_OTM.bmp" descr="C:\Program Files\iManager MDS 6600\WDM\bin\..\icon\NEW_STATION_OTM.bmp"/>
          <p:cNvPicPr>
            <a:picLocks noChangeAspect="1"/>
          </p:cNvPicPr>
          <p:nvPr/>
        </p:nvPicPr>
        <p:blipFill>
          <a:blip r:embed="rId3" r:link="rId4" cstate="print"/>
          <a:srcRect/>
          <a:stretch>
            <a:fillRect/>
          </a:stretch>
        </p:blipFill>
        <p:spPr bwMode="auto">
          <a:xfrm>
            <a:off x="3318101" y="2622745"/>
            <a:ext cx="228600" cy="228600"/>
          </a:xfrm>
          <a:prstGeom prst="rect">
            <a:avLst/>
          </a:prstGeom>
          <a:noFill/>
          <a:ln w="9525">
            <a:solidFill>
              <a:srgbClr val="FF0000"/>
            </a:solidFill>
            <a:miter lim="800000"/>
            <a:headEnd/>
            <a:tailEnd/>
          </a:ln>
        </p:spPr>
      </p:pic>
      <p:pic>
        <p:nvPicPr>
          <p:cNvPr id="122" name="NEW_STATION_OTM.bmp" descr="C:\Program Files\iManager MDS 6600\WDM\bin\..\icon\NEW_STATION_OTM.bmp"/>
          <p:cNvPicPr>
            <a:picLocks noChangeAspect="1"/>
          </p:cNvPicPr>
          <p:nvPr/>
        </p:nvPicPr>
        <p:blipFill>
          <a:blip r:embed="rId3" r:link="rId4" cstate="print"/>
          <a:srcRect/>
          <a:stretch>
            <a:fillRect/>
          </a:stretch>
        </p:blipFill>
        <p:spPr bwMode="auto">
          <a:xfrm>
            <a:off x="1712640" y="2571151"/>
            <a:ext cx="228600" cy="228600"/>
          </a:xfrm>
          <a:prstGeom prst="rect">
            <a:avLst/>
          </a:prstGeom>
          <a:noFill/>
          <a:ln w="9525">
            <a:solidFill>
              <a:srgbClr val="FF0000"/>
            </a:solidFill>
            <a:miter lim="800000"/>
            <a:headEnd/>
            <a:tailEnd/>
          </a:ln>
        </p:spPr>
      </p:pic>
      <p:pic>
        <p:nvPicPr>
          <p:cNvPr id="128" name="NEW_STATION_OTM.bmp" descr="C:\Program Files\iManager MDS 6600\WDM\bin\..\icon\NEW_STATION_OTM.bmp"/>
          <p:cNvPicPr>
            <a:picLocks noChangeAspect="1"/>
          </p:cNvPicPr>
          <p:nvPr/>
        </p:nvPicPr>
        <p:blipFill>
          <a:blip r:embed="rId3" r:link="rId4" cstate="print"/>
          <a:srcRect/>
          <a:stretch>
            <a:fillRect/>
          </a:stretch>
        </p:blipFill>
        <p:spPr bwMode="auto">
          <a:xfrm>
            <a:off x="8816156" y="3141092"/>
            <a:ext cx="228600" cy="228600"/>
          </a:xfrm>
          <a:prstGeom prst="rect">
            <a:avLst/>
          </a:prstGeom>
          <a:noFill/>
          <a:ln w="9525">
            <a:solidFill>
              <a:srgbClr val="FF0000"/>
            </a:solidFill>
            <a:miter lim="800000"/>
            <a:headEnd/>
            <a:tailEnd/>
          </a:ln>
        </p:spPr>
      </p:pic>
      <p:pic>
        <p:nvPicPr>
          <p:cNvPr id="141" name="NEW_STATION_OTM.bmp" descr="C:\Program Files\iManager MDS 6600\WDM\bin\..\icon\NEW_STATION_OTM.bmp"/>
          <p:cNvPicPr>
            <a:picLocks noChangeAspect="1"/>
          </p:cNvPicPr>
          <p:nvPr/>
        </p:nvPicPr>
        <p:blipFill>
          <a:blip r:embed="rId3" r:link="rId4" cstate="print"/>
          <a:srcRect/>
          <a:stretch>
            <a:fillRect/>
          </a:stretch>
        </p:blipFill>
        <p:spPr bwMode="auto">
          <a:xfrm>
            <a:off x="4029596" y="5254600"/>
            <a:ext cx="228600" cy="228600"/>
          </a:xfrm>
          <a:prstGeom prst="rect">
            <a:avLst/>
          </a:prstGeom>
          <a:noFill/>
          <a:ln w="9525">
            <a:solidFill>
              <a:srgbClr val="FF0000"/>
            </a:solidFill>
            <a:miter lim="800000"/>
            <a:headEnd/>
            <a:tailEnd/>
          </a:ln>
        </p:spPr>
      </p:pic>
      <p:sp>
        <p:nvSpPr>
          <p:cNvPr id="3" name="Oval 2"/>
          <p:cNvSpPr/>
          <p:nvPr/>
        </p:nvSpPr>
        <p:spPr>
          <a:xfrm>
            <a:off x="3968204" y="2078117"/>
            <a:ext cx="395287" cy="373936"/>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77" name="Oval 76"/>
          <p:cNvSpPr/>
          <p:nvPr/>
        </p:nvSpPr>
        <p:spPr>
          <a:xfrm>
            <a:off x="8735516" y="3067764"/>
            <a:ext cx="395287" cy="373936"/>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88" name="Oval 87"/>
          <p:cNvSpPr/>
          <p:nvPr/>
        </p:nvSpPr>
        <p:spPr>
          <a:xfrm>
            <a:off x="3946252" y="5181932"/>
            <a:ext cx="395287" cy="373936"/>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1" name="Oval 90"/>
          <p:cNvSpPr/>
          <p:nvPr/>
        </p:nvSpPr>
        <p:spPr>
          <a:xfrm>
            <a:off x="951633" y="3530416"/>
            <a:ext cx="395287" cy="373936"/>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nvGrpSpPr>
          <p:cNvPr id="4" name="Group 3"/>
          <p:cNvGrpSpPr/>
          <p:nvPr/>
        </p:nvGrpSpPr>
        <p:grpSpPr>
          <a:xfrm>
            <a:off x="7117056" y="5788581"/>
            <a:ext cx="2838402" cy="802719"/>
            <a:chOff x="6681192" y="5680859"/>
            <a:chExt cx="3290598" cy="910441"/>
          </a:xfrm>
        </p:grpSpPr>
        <p:grpSp>
          <p:nvGrpSpPr>
            <p:cNvPr id="136" name="Group 64"/>
            <p:cNvGrpSpPr/>
            <p:nvPr/>
          </p:nvGrpSpPr>
          <p:grpSpPr>
            <a:xfrm>
              <a:off x="6681192" y="5680859"/>
              <a:ext cx="3171782" cy="525477"/>
              <a:chOff x="5734575" y="5334000"/>
              <a:chExt cx="3171782" cy="525477"/>
            </a:xfrm>
          </p:grpSpPr>
          <p:cxnSp>
            <p:nvCxnSpPr>
              <p:cNvPr id="137" name="Straight Connector 60"/>
              <p:cNvCxnSpPr/>
              <p:nvPr/>
            </p:nvCxnSpPr>
            <p:spPr bwMode="auto">
              <a:xfrm>
                <a:off x="5734575" y="5459412"/>
                <a:ext cx="781575" cy="1588"/>
              </a:xfrm>
              <a:prstGeom prst="line">
                <a:avLst/>
              </a:prstGeom>
              <a:ln>
                <a:headEnd type="none" w="med" len="med"/>
                <a:tailEnd type="none" w="med" len="med"/>
              </a:ln>
            </p:spPr>
            <p:style>
              <a:lnRef idx="3">
                <a:schemeClr val="accent2"/>
              </a:lnRef>
              <a:fillRef idx="0">
                <a:schemeClr val="accent2"/>
              </a:fillRef>
              <a:effectRef idx="2">
                <a:schemeClr val="accent2"/>
              </a:effectRef>
              <a:fontRef idx="minor">
                <a:schemeClr val="tx1"/>
              </a:fontRef>
            </p:style>
          </p:cxnSp>
          <p:cxnSp>
            <p:nvCxnSpPr>
              <p:cNvPr id="138" name="Straight Connector 61"/>
              <p:cNvCxnSpPr/>
              <p:nvPr/>
            </p:nvCxnSpPr>
            <p:spPr bwMode="auto">
              <a:xfrm>
                <a:off x="5734575" y="5726112"/>
                <a:ext cx="781575" cy="1588"/>
              </a:xfrm>
              <a:prstGeom prst="line">
                <a:avLst/>
              </a:prstGeom>
              <a:solidFill>
                <a:schemeClr val="bg1"/>
              </a:solidFill>
              <a:ln w="28575" cap="flat" cmpd="sng" algn="ctr">
                <a:solidFill>
                  <a:srgbClr val="0070C0"/>
                </a:solidFill>
                <a:prstDash val="solid"/>
                <a:round/>
                <a:headEnd type="none" w="med" len="med"/>
                <a:tailEnd type="none" w="med" len="med"/>
              </a:ln>
              <a:effectLst/>
            </p:spPr>
          </p:cxnSp>
          <p:sp>
            <p:nvSpPr>
              <p:cNvPr id="139" name="TextBox 62"/>
              <p:cNvSpPr txBox="1"/>
              <p:nvPr/>
            </p:nvSpPr>
            <p:spPr>
              <a:xfrm>
                <a:off x="6591300" y="5615121"/>
                <a:ext cx="1020623" cy="244356"/>
              </a:xfrm>
              <a:prstGeom prst="rect">
                <a:avLst/>
              </a:prstGeom>
              <a:noFill/>
            </p:spPr>
            <p:txBody>
              <a:bodyPr wrap="none" rtlCol="0">
                <a:spAutoFit/>
              </a:bodyPr>
              <a:lstStyle/>
              <a:p>
                <a:r>
                  <a:rPr lang="pt-BR" sz="800" dirty="0" smtClean="0"/>
                  <a:t>FIBRA OPGW </a:t>
                </a:r>
                <a:endParaRPr lang="pt-BR" sz="800" dirty="0"/>
              </a:p>
            </p:txBody>
          </p:sp>
          <p:sp>
            <p:nvSpPr>
              <p:cNvPr id="140" name="TextBox 63"/>
              <p:cNvSpPr txBox="1"/>
              <p:nvPr/>
            </p:nvSpPr>
            <p:spPr>
              <a:xfrm>
                <a:off x="6565900" y="5334000"/>
                <a:ext cx="2340457" cy="244356"/>
              </a:xfrm>
              <a:prstGeom prst="rect">
                <a:avLst/>
              </a:prstGeom>
              <a:noFill/>
            </p:spPr>
            <p:txBody>
              <a:bodyPr wrap="square" rtlCol="0">
                <a:spAutoFit/>
              </a:bodyPr>
              <a:lstStyle/>
              <a:p>
                <a:r>
                  <a:rPr lang="pt-BR" sz="800" dirty="0" smtClean="0"/>
                  <a:t>ABORDAGEM  SUBTERRÂNEA</a:t>
                </a:r>
                <a:endParaRPr lang="pt-BR" sz="800" dirty="0"/>
              </a:p>
            </p:txBody>
          </p:sp>
        </p:grpSp>
        <p:sp>
          <p:nvSpPr>
            <p:cNvPr id="98" name="Oval 97"/>
            <p:cNvSpPr/>
            <p:nvPr/>
          </p:nvSpPr>
          <p:spPr>
            <a:xfrm>
              <a:off x="6919416" y="6217364"/>
              <a:ext cx="395287" cy="373936"/>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00"/>
            </a:p>
          </p:txBody>
        </p:sp>
        <p:sp>
          <p:nvSpPr>
            <p:cNvPr id="99" name="TextBox 62"/>
            <p:cNvSpPr txBox="1"/>
            <p:nvPr/>
          </p:nvSpPr>
          <p:spPr>
            <a:xfrm>
              <a:off x="7548087" y="6297199"/>
              <a:ext cx="2423703" cy="244356"/>
            </a:xfrm>
            <a:prstGeom prst="rect">
              <a:avLst/>
            </a:prstGeom>
            <a:noFill/>
          </p:spPr>
          <p:txBody>
            <a:bodyPr wrap="none" rtlCol="0">
              <a:spAutoFit/>
            </a:bodyPr>
            <a:lstStyle/>
            <a:p>
              <a:r>
                <a:rPr lang="pt-BR" sz="800" dirty="0" smtClean="0"/>
                <a:t>PONTOS DE ABERTURA DE TREFEGO</a:t>
              </a:r>
              <a:endParaRPr lang="pt-BR" sz="800" dirty="0"/>
            </a:p>
          </p:txBody>
        </p:sp>
      </p:grpSp>
      <p:cxnSp>
        <p:nvCxnSpPr>
          <p:cNvPr id="100" name="Straight Connector 220"/>
          <p:cNvCxnSpPr/>
          <p:nvPr/>
        </p:nvCxnSpPr>
        <p:spPr bwMode="auto">
          <a:xfrm rot="16200000" flipV="1">
            <a:off x="2052782" y="2455195"/>
            <a:ext cx="387260" cy="30616"/>
          </a:xfrm>
          <a:prstGeom prst="line">
            <a:avLst/>
          </a:prstGeom>
          <a:solidFill>
            <a:schemeClr val="bg1"/>
          </a:solidFill>
          <a:ln w="28575" cap="flat" cmpd="sng" algn="ctr">
            <a:solidFill>
              <a:srgbClr val="FF0000"/>
            </a:solidFill>
            <a:prstDash val="solid"/>
            <a:round/>
            <a:headEnd type="none" w="med" len="med"/>
            <a:tailEnd type="none" w="med" len="med"/>
          </a:ln>
          <a:effectLst/>
        </p:spPr>
      </p:cxnSp>
      <p:cxnSp>
        <p:nvCxnSpPr>
          <p:cNvPr id="101" name="Straight Connector 221"/>
          <p:cNvCxnSpPr/>
          <p:nvPr/>
        </p:nvCxnSpPr>
        <p:spPr bwMode="auto">
          <a:xfrm rot="5400000" flipH="1" flipV="1">
            <a:off x="2088408" y="2450185"/>
            <a:ext cx="387260" cy="40636"/>
          </a:xfrm>
          <a:prstGeom prst="line">
            <a:avLst/>
          </a:prstGeom>
          <a:solidFill>
            <a:schemeClr val="bg1"/>
          </a:solidFill>
          <a:ln w="28575" cap="flat" cmpd="sng" algn="ctr">
            <a:solidFill>
              <a:srgbClr val="FF0000"/>
            </a:solidFill>
            <a:prstDash val="solid"/>
            <a:round/>
            <a:headEnd type="none" w="med" len="med"/>
            <a:tailEnd type="none" w="med" len="med"/>
          </a:ln>
          <a:effectLst/>
        </p:spPr>
      </p:cxnSp>
      <p:pic>
        <p:nvPicPr>
          <p:cNvPr id="102" name="NEW_STATION_OTM.bmp" descr="C:\Program Files\iManager MDS 6600\WDM\bin\..\icon\NEW_STATION_OTM.bmp"/>
          <p:cNvPicPr>
            <a:picLocks noChangeAspect="1"/>
          </p:cNvPicPr>
          <p:nvPr/>
        </p:nvPicPr>
        <p:blipFill>
          <a:blip r:embed="rId3" r:link="rId4" cstate="print"/>
          <a:srcRect/>
          <a:stretch>
            <a:fillRect/>
          </a:stretch>
        </p:blipFill>
        <p:spPr bwMode="auto">
          <a:xfrm>
            <a:off x="2132112" y="2569932"/>
            <a:ext cx="228600" cy="228600"/>
          </a:xfrm>
          <a:prstGeom prst="rect">
            <a:avLst/>
          </a:prstGeom>
          <a:noFill/>
          <a:ln w="9525">
            <a:solidFill>
              <a:srgbClr val="FF0000"/>
            </a:solidFill>
            <a:miter lim="800000"/>
            <a:headEnd/>
            <a:tailEnd/>
          </a:ln>
        </p:spPr>
      </p:pic>
      <p:pic>
        <p:nvPicPr>
          <p:cNvPr id="103" name="NEW_STATION_OTM.bmp" descr="C:\Program Files\iManager MDS 6600\WDM\bin\..\icon\NEW_STATION_OTM.bmp"/>
          <p:cNvPicPr>
            <a:picLocks noChangeAspect="1"/>
          </p:cNvPicPr>
          <p:nvPr/>
        </p:nvPicPr>
        <p:blipFill>
          <a:blip r:embed="rId3" r:link="rId4" cstate="print"/>
          <a:srcRect/>
          <a:stretch>
            <a:fillRect/>
          </a:stretch>
        </p:blipFill>
        <p:spPr bwMode="auto">
          <a:xfrm>
            <a:off x="2977819" y="2702765"/>
            <a:ext cx="228600" cy="228600"/>
          </a:xfrm>
          <a:prstGeom prst="rect">
            <a:avLst/>
          </a:prstGeom>
          <a:noFill/>
          <a:ln w="9525">
            <a:solidFill>
              <a:srgbClr val="FF0000"/>
            </a:solidFill>
            <a:miter lim="800000"/>
            <a:headEnd/>
            <a:tailEnd/>
          </a:ln>
        </p:spPr>
      </p:pic>
      <p:cxnSp>
        <p:nvCxnSpPr>
          <p:cNvPr id="104" name="Straight Connector 262"/>
          <p:cNvCxnSpPr>
            <a:stCxn id="103" idx="0"/>
          </p:cNvCxnSpPr>
          <p:nvPr/>
        </p:nvCxnSpPr>
        <p:spPr bwMode="auto">
          <a:xfrm flipH="1" flipV="1">
            <a:off x="3045530" y="2271657"/>
            <a:ext cx="46589" cy="431108"/>
          </a:xfrm>
          <a:prstGeom prst="line">
            <a:avLst/>
          </a:prstGeom>
          <a:ln>
            <a:solidFill>
              <a:srgbClr val="FF0000"/>
            </a:solidFill>
            <a:headEnd type="none" w="med" len="med"/>
            <a:tailEnd type="none" w="med" len="med"/>
          </a:ln>
        </p:spPr>
        <p:style>
          <a:lnRef idx="2">
            <a:schemeClr val="dk1"/>
          </a:lnRef>
          <a:fillRef idx="0">
            <a:schemeClr val="dk1"/>
          </a:fillRef>
          <a:effectRef idx="1">
            <a:schemeClr val="dk1"/>
          </a:effectRef>
          <a:fontRef idx="minor">
            <a:schemeClr val="tx1"/>
          </a:fontRef>
        </p:style>
      </p:cxnSp>
      <p:cxnSp>
        <p:nvCxnSpPr>
          <p:cNvPr id="106" name="Straight Connector 262"/>
          <p:cNvCxnSpPr>
            <a:stCxn id="103" idx="3"/>
            <a:endCxn id="121" idx="1"/>
          </p:cNvCxnSpPr>
          <p:nvPr/>
        </p:nvCxnSpPr>
        <p:spPr bwMode="auto">
          <a:xfrm flipV="1">
            <a:off x="3206419" y="2737045"/>
            <a:ext cx="111682" cy="80020"/>
          </a:xfrm>
          <a:prstGeom prst="line">
            <a:avLst/>
          </a:prstGeom>
          <a:ln>
            <a:solidFill>
              <a:srgbClr val="FF0000"/>
            </a:solidFill>
            <a:headEnd type="none" w="med" len="med"/>
            <a:tailEnd type="none" w="med" len="med"/>
          </a:ln>
        </p:spPr>
        <p:style>
          <a:lnRef idx="2">
            <a:schemeClr val="dk1"/>
          </a:lnRef>
          <a:fillRef idx="0">
            <a:schemeClr val="dk1"/>
          </a:fillRef>
          <a:effectRef idx="1">
            <a:schemeClr val="dk1"/>
          </a:effectRef>
          <a:fontRef idx="minor">
            <a:schemeClr val="tx1"/>
          </a:fontRef>
        </p:style>
      </p:cxnSp>
      <p:sp>
        <p:nvSpPr>
          <p:cNvPr id="107" name="TextBox 33"/>
          <p:cNvSpPr txBox="1">
            <a:spLocks noChangeArrowheads="1"/>
          </p:cNvSpPr>
          <p:nvPr/>
        </p:nvSpPr>
        <p:spPr bwMode="auto">
          <a:xfrm rot="16200000">
            <a:off x="2581648" y="3197118"/>
            <a:ext cx="1020942" cy="230832"/>
          </a:xfrm>
          <a:prstGeom prst="rect">
            <a:avLst/>
          </a:prstGeom>
          <a:noFill/>
          <a:ln w="9525">
            <a:noFill/>
            <a:miter lim="800000"/>
            <a:headEnd/>
            <a:tailEnd/>
          </a:ln>
        </p:spPr>
        <p:txBody>
          <a:bodyPr wrap="square" anchorCtr="1">
            <a:spAutoFit/>
          </a:bodyPr>
          <a:lstStyle/>
          <a:p>
            <a:pPr algn="ctr"/>
            <a:r>
              <a:rPr lang="en-US" sz="900" dirty="0" smtClean="0"/>
              <a:t>Altamira</a:t>
            </a:r>
            <a:endParaRPr lang="en-US" sz="900" dirty="0"/>
          </a:p>
        </p:txBody>
      </p:sp>
      <p:sp>
        <p:nvSpPr>
          <p:cNvPr id="108" name="TextBox 43"/>
          <p:cNvSpPr txBox="1">
            <a:spLocks noChangeArrowheads="1"/>
          </p:cNvSpPr>
          <p:nvPr/>
        </p:nvSpPr>
        <p:spPr bwMode="auto">
          <a:xfrm rot="16200000">
            <a:off x="1938770" y="3012798"/>
            <a:ext cx="617517" cy="230832"/>
          </a:xfrm>
          <a:prstGeom prst="rect">
            <a:avLst/>
          </a:prstGeom>
          <a:noFill/>
          <a:ln w="9525">
            <a:noFill/>
            <a:miter lim="800000"/>
            <a:headEnd/>
            <a:tailEnd/>
          </a:ln>
        </p:spPr>
        <p:txBody>
          <a:bodyPr wrap="square" anchorCtr="1">
            <a:spAutoFit/>
          </a:bodyPr>
          <a:lstStyle/>
          <a:p>
            <a:r>
              <a:rPr lang="en-US" sz="900" dirty="0" err="1" smtClean="0"/>
              <a:t>Anapu</a:t>
            </a:r>
            <a:endParaRPr lang="en-US" sz="900" dirty="0"/>
          </a:p>
        </p:txBody>
      </p:sp>
      <p:pic>
        <p:nvPicPr>
          <p:cNvPr id="109" name="NEW_STATION_OTM.bmp" descr="C:\Program Files\iManager MDS 6600\WDM\bin\..\icon\NEW_STATION_OTM.bmp"/>
          <p:cNvPicPr>
            <a:picLocks noChangeAspect="1"/>
          </p:cNvPicPr>
          <p:nvPr/>
        </p:nvPicPr>
        <p:blipFill>
          <a:blip r:embed="rId3" r:link="rId4" cstate="print"/>
          <a:srcRect/>
          <a:stretch>
            <a:fillRect/>
          </a:stretch>
        </p:blipFill>
        <p:spPr bwMode="auto">
          <a:xfrm>
            <a:off x="4890650" y="3097678"/>
            <a:ext cx="228600" cy="228600"/>
          </a:xfrm>
          <a:prstGeom prst="rect">
            <a:avLst/>
          </a:prstGeom>
          <a:noFill/>
          <a:ln w="9525">
            <a:solidFill>
              <a:srgbClr val="FF0000"/>
            </a:solidFill>
            <a:miter lim="800000"/>
            <a:headEnd/>
            <a:tailEnd/>
          </a:ln>
        </p:spPr>
      </p:pic>
      <p:cxnSp>
        <p:nvCxnSpPr>
          <p:cNvPr id="110" name="Straight Connector 216"/>
          <p:cNvCxnSpPr>
            <a:stCxn id="109" idx="0"/>
            <a:endCxn id="120" idx="2"/>
          </p:cNvCxnSpPr>
          <p:nvPr/>
        </p:nvCxnSpPr>
        <p:spPr bwMode="auto">
          <a:xfrm flipV="1">
            <a:off x="5004950" y="2885538"/>
            <a:ext cx="5235" cy="212140"/>
          </a:xfrm>
          <a:prstGeom prst="line">
            <a:avLst/>
          </a:prstGeom>
          <a:ln>
            <a:solidFill>
              <a:srgbClr val="FF0000"/>
            </a:solidFill>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111" name="TextBox 33"/>
          <p:cNvSpPr txBox="1">
            <a:spLocks noChangeArrowheads="1"/>
          </p:cNvSpPr>
          <p:nvPr/>
        </p:nvSpPr>
        <p:spPr bwMode="auto">
          <a:xfrm rot="16200000">
            <a:off x="4485937" y="3536024"/>
            <a:ext cx="1020942" cy="230832"/>
          </a:xfrm>
          <a:prstGeom prst="rect">
            <a:avLst/>
          </a:prstGeom>
          <a:noFill/>
          <a:ln w="9525">
            <a:noFill/>
            <a:miter lim="800000"/>
            <a:headEnd/>
            <a:tailEnd/>
          </a:ln>
        </p:spPr>
        <p:txBody>
          <a:bodyPr wrap="square" anchorCtr="1">
            <a:spAutoFit/>
          </a:bodyPr>
          <a:lstStyle/>
          <a:p>
            <a:pPr algn="ctr"/>
            <a:r>
              <a:rPr lang="en-US" sz="900" dirty="0" err="1" smtClean="0"/>
              <a:t>Alenquer</a:t>
            </a:r>
            <a:endParaRPr lang="en-US" sz="900" dirty="0"/>
          </a:p>
        </p:txBody>
      </p:sp>
      <p:cxnSp>
        <p:nvCxnSpPr>
          <p:cNvPr id="112" name="Straight Connector 214"/>
          <p:cNvCxnSpPr/>
          <p:nvPr/>
        </p:nvCxnSpPr>
        <p:spPr bwMode="auto">
          <a:xfrm rot="16200000" flipV="1">
            <a:off x="6767936" y="2447046"/>
            <a:ext cx="374350" cy="34003"/>
          </a:xfrm>
          <a:prstGeom prst="line">
            <a:avLst/>
          </a:prstGeom>
          <a:ln>
            <a:solidFill>
              <a:srgbClr val="FF0000"/>
            </a:solidFill>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113" name="Straight Connector 215"/>
          <p:cNvCxnSpPr/>
          <p:nvPr/>
        </p:nvCxnSpPr>
        <p:spPr bwMode="auto">
          <a:xfrm rot="5400000" flipH="1" flipV="1">
            <a:off x="6812147" y="2445208"/>
            <a:ext cx="391381" cy="71451"/>
          </a:xfrm>
          <a:prstGeom prst="line">
            <a:avLst/>
          </a:prstGeom>
          <a:ln>
            <a:solidFill>
              <a:srgbClr val="FF0000"/>
            </a:solidFill>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114" name="TextBox 43"/>
          <p:cNvSpPr txBox="1">
            <a:spLocks noChangeArrowheads="1"/>
          </p:cNvSpPr>
          <p:nvPr/>
        </p:nvSpPr>
        <p:spPr bwMode="auto">
          <a:xfrm rot="16200000">
            <a:off x="6371324" y="3238139"/>
            <a:ext cx="1114501" cy="369332"/>
          </a:xfrm>
          <a:prstGeom prst="rect">
            <a:avLst/>
          </a:prstGeom>
          <a:noFill/>
          <a:ln w="9525">
            <a:noFill/>
            <a:miter lim="800000"/>
            <a:headEnd/>
            <a:tailEnd/>
          </a:ln>
        </p:spPr>
        <p:txBody>
          <a:bodyPr wrap="square" anchorCtr="1">
            <a:spAutoFit/>
          </a:bodyPr>
          <a:lstStyle/>
          <a:p>
            <a:pPr algn="ctr"/>
            <a:r>
              <a:rPr lang="en-US" sz="900" dirty="0" smtClean="0"/>
              <a:t>São </a:t>
            </a:r>
            <a:r>
              <a:rPr lang="en-US" sz="900" dirty="0" err="1" smtClean="0"/>
              <a:t>Sebatião</a:t>
            </a:r>
            <a:r>
              <a:rPr lang="en-US" sz="900" dirty="0" smtClean="0"/>
              <a:t> do </a:t>
            </a:r>
            <a:r>
              <a:rPr lang="en-US" sz="900" dirty="0" err="1" smtClean="0"/>
              <a:t>Uatumã</a:t>
            </a:r>
            <a:endParaRPr lang="en-US" sz="900" dirty="0"/>
          </a:p>
        </p:txBody>
      </p:sp>
      <p:pic>
        <p:nvPicPr>
          <p:cNvPr id="115" name="NEW_STATION_OTM.bmp" descr="C:\Program Files\iManager MDS 6600\WDM\bin\..\icon\NEW_STATION_OTM.bmp"/>
          <p:cNvPicPr>
            <a:picLocks noChangeAspect="1"/>
          </p:cNvPicPr>
          <p:nvPr/>
        </p:nvPicPr>
        <p:blipFill>
          <a:blip r:embed="rId3" r:link="rId4" cstate="print"/>
          <a:srcRect/>
          <a:stretch>
            <a:fillRect/>
          </a:stretch>
        </p:blipFill>
        <p:spPr bwMode="auto">
          <a:xfrm>
            <a:off x="6840811" y="2636954"/>
            <a:ext cx="228600" cy="228600"/>
          </a:xfrm>
          <a:prstGeom prst="rect">
            <a:avLst/>
          </a:prstGeom>
          <a:noFill/>
          <a:ln w="9525">
            <a:solidFill>
              <a:srgbClr val="FF0000"/>
            </a:solidFill>
            <a:miter lim="800000"/>
            <a:headEnd/>
            <a:tailEnd/>
          </a:ln>
        </p:spPr>
      </p:pic>
      <p:cxnSp>
        <p:nvCxnSpPr>
          <p:cNvPr id="116" name="Straight Connector 214"/>
          <p:cNvCxnSpPr/>
          <p:nvPr/>
        </p:nvCxnSpPr>
        <p:spPr bwMode="auto">
          <a:xfrm rot="16200000" flipV="1">
            <a:off x="7199984" y="2447046"/>
            <a:ext cx="374350" cy="34003"/>
          </a:xfrm>
          <a:prstGeom prst="line">
            <a:avLst/>
          </a:prstGeom>
          <a:ln>
            <a:solidFill>
              <a:srgbClr val="FF0000"/>
            </a:solidFill>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117" name="Straight Connector 215"/>
          <p:cNvCxnSpPr/>
          <p:nvPr/>
        </p:nvCxnSpPr>
        <p:spPr bwMode="auto">
          <a:xfrm rot="5400000" flipH="1" flipV="1">
            <a:off x="7244195" y="2445208"/>
            <a:ext cx="391381" cy="71451"/>
          </a:xfrm>
          <a:prstGeom prst="line">
            <a:avLst/>
          </a:prstGeom>
          <a:ln>
            <a:solidFill>
              <a:srgbClr val="FF0000"/>
            </a:solidFill>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142" name="TextBox 43"/>
          <p:cNvSpPr txBox="1">
            <a:spLocks noChangeArrowheads="1"/>
          </p:cNvSpPr>
          <p:nvPr/>
        </p:nvSpPr>
        <p:spPr bwMode="auto">
          <a:xfrm rot="16200000">
            <a:off x="6958522" y="3176053"/>
            <a:ext cx="851829" cy="230832"/>
          </a:xfrm>
          <a:prstGeom prst="rect">
            <a:avLst/>
          </a:prstGeom>
          <a:noFill/>
          <a:ln w="9525">
            <a:noFill/>
            <a:miter lim="800000"/>
            <a:headEnd/>
            <a:tailEnd/>
          </a:ln>
        </p:spPr>
        <p:txBody>
          <a:bodyPr wrap="square" anchorCtr="1">
            <a:spAutoFit/>
          </a:bodyPr>
          <a:lstStyle/>
          <a:p>
            <a:pPr algn="ctr"/>
            <a:r>
              <a:rPr lang="en-US" sz="900" dirty="0" err="1" smtClean="0"/>
              <a:t>Itapiranga</a:t>
            </a:r>
            <a:endParaRPr lang="en-US" sz="900" dirty="0"/>
          </a:p>
        </p:txBody>
      </p:sp>
      <p:pic>
        <p:nvPicPr>
          <p:cNvPr id="143" name="NEW_STATION_OTM.bmp" descr="C:\Program Files\iManager MDS 6600\WDM\bin\..\icon\NEW_STATION_OTM.bmp"/>
          <p:cNvPicPr>
            <a:picLocks noChangeAspect="1"/>
          </p:cNvPicPr>
          <p:nvPr/>
        </p:nvPicPr>
        <p:blipFill>
          <a:blip r:embed="rId3" r:link="rId4" cstate="print"/>
          <a:srcRect/>
          <a:stretch>
            <a:fillRect/>
          </a:stretch>
        </p:blipFill>
        <p:spPr bwMode="auto">
          <a:xfrm>
            <a:off x="7272859" y="2636954"/>
            <a:ext cx="228600" cy="228600"/>
          </a:xfrm>
          <a:prstGeom prst="rect">
            <a:avLst/>
          </a:prstGeom>
          <a:noFill/>
          <a:ln w="9525">
            <a:solidFill>
              <a:srgbClr val="FF0000"/>
            </a:solidFill>
            <a:miter lim="800000"/>
            <a:headEnd/>
            <a:tailEnd/>
          </a:ln>
        </p:spPr>
      </p:pic>
      <p:cxnSp>
        <p:nvCxnSpPr>
          <p:cNvPr id="144" name="Straight Connector 214"/>
          <p:cNvCxnSpPr/>
          <p:nvPr/>
        </p:nvCxnSpPr>
        <p:spPr bwMode="auto">
          <a:xfrm rot="16200000" flipV="1">
            <a:off x="7992072" y="2447046"/>
            <a:ext cx="374350" cy="34003"/>
          </a:xfrm>
          <a:prstGeom prst="line">
            <a:avLst/>
          </a:prstGeom>
          <a:ln>
            <a:solidFill>
              <a:srgbClr val="FF0000"/>
            </a:solidFill>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145" name="Straight Connector 215"/>
          <p:cNvCxnSpPr/>
          <p:nvPr/>
        </p:nvCxnSpPr>
        <p:spPr bwMode="auto">
          <a:xfrm rot="5400000" flipH="1" flipV="1">
            <a:off x="8036283" y="2445208"/>
            <a:ext cx="391381" cy="71451"/>
          </a:xfrm>
          <a:prstGeom prst="line">
            <a:avLst/>
          </a:prstGeom>
          <a:ln>
            <a:solidFill>
              <a:srgbClr val="FF0000"/>
            </a:solidFill>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146" name="TextBox 43"/>
          <p:cNvSpPr txBox="1">
            <a:spLocks noChangeArrowheads="1"/>
          </p:cNvSpPr>
          <p:nvPr/>
        </p:nvSpPr>
        <p:spPr bwMode="auto">
          <a:xfrm rot="16200000">
            <a:off x="7735994" y="3166854"/>
            <a:ext cx="833431" cy="230832"/>
          </a:xfrm>
          <a:prstGeom prst="rect">
            <a:avLst/>
          </a:prstGeom>
          <a:noFill/>
          <a:ln w="9525">
            <a:noFill/>
            <a:miter lim="800000"/>
            <a:headEnd/>
            <a:tailEnd/>
          </a:ln>
        </p:spPr>
        <p:txBody>
          <a:bodyPr wrap="square" anchorCtr="1">
            <a:spAutoFit/>
          </a:bodyPr>
          <a:lstStyle/>
          <a:p>
            <a:pPr algn="ctr"/>
            <a:r>
              <a:rPr lang="en-US" sz="900" dirty="0" err="1" smtClean="0"/>
              <a:t>Itacoatiara</a:t>
            </a:r>
            <a:endParaRPr lang="en-US" sz="900" dirty="0"/>
          </a:p>
        </p:txBody>
      </p:sp>
      <p:pic>
        <p:nvPicPr>
          <p:cNvPr id="147" name="NEW_STATION_OTM.bmp" descr="C:\Program Files\iManager MDS 6600\WDM\bin\..\icon\NEW_STATION_OTM.bmp"/>
          <p:cNvPicPr>
            <a:picLocks noChangeAspect="1"/>
          </p:cNvPicPr>
          <p:nvPr/>
        </p:nvPicPr>
        <p:blipFill>
          <a:blip r:embed="rId3" r:link="rId4" cstate="print"/>
          <a:srcRect/>
          <a:stretch>
            <a:fillRect/>
          </a:stretch>
        </p:blipFill>
        <p:spPr bwMode="auto">
          <a:xfrm>
            <a:off x="8064947" y="2636954"/>
            <a:ext cx="228600" cy="228600"/>
          </a:xfrm>
          <a:prstGeom prst="rect">
            <a:avLst/>
          </a:prstGeom>
          <a:noFill/>
          <a:ln w="9525">
            <a:solidFill>
              <a:srgbClr val="FF0000"/>
            </a:solidFill>
            <a:miter lim="800000"/>
            <a:headEnd/>
            <a:tailEnd/>
          </a:ln>
        </p:spPr>
      </p:pic>
      <p:cxnSp>
        <p:nvCxnSpPr>
          <p:cNvPr id="148" name="Straight Connector 214"/>
          <p:cNvCxnSpPr/>
          <p:nvPr/>
        </p:nvCxnSpPr>
        <p:spPr bwMode="auto">
          <a:xfrm rot="16200000" flipV="1">
            <a:off x="8352112" y="2447046"/>
            <a:ext cx="374350" cy="34003"/>
          </a:xfrm>
          <a:prstGeom prst="line">
            <a:avLst/>
          </a:prstGeom>
          <a:ln>
            <a:solidFill>
              <a:srgbClr val="FF0000"/>
            </a:solidFill>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149" name="Straight Connector 215"/>
          <p:cNvCxnSpPr/>
          <p:nvPr/>
        </p:nvCxnSpPr>
        <p:spPr bwMode="auto">
          <a:xfrm rot="5400000" flipH="1" flipV="1">
            <a:off x="8396323" y="2445208"/>
            <a:ext cx="391381" cy="71451"/>
          </a:xfrm>
          <a:prstGeom prst="line">
            <a:avLst/>
          </a:prstGeom>
          <a:ln>
            <a:solidFill>
              <a:srgbClr val="FF0000"/>
            </a:solidFill>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150" name="TextBox 43"/>
          <p:cNvSpPr txBox="1">
            <a:spLocks noChangeArrowheads="1"/>
          </p:cNvSpPr>
          <p:nvPr/>
        </p:nvSpPr>
        <p:spPr bwMode="auto">
          <a:xfrm rot="16200000">
            <a:off x="7899187" y="3363701"/>
            <a:ext cx="1227125" cy="230832"/>
          </a:xfrm>
          <a:prstGeom prst="rect">
            <a:avLst/>
          </a:prstGeom>
          <a:noFill/>
          <a:ln w="9525">
            <a:noFill/>
            <a:miter lim="800000"/>
            <a:headEnd/>
            <a:tailEnd/>
          </a:ln>
        </p:spPr>
        <p:txBody>
          <a:bodyPr wrap="square" anchorCtr="1">
            <a:spAutoFit/>
          </a:bodyPr>
          <a:lstStyle/>
          <a:p>
            <a:pPr algn="ctr"/>
            <a:r>
              <a:rPr lang="en-US" sz="900" dirty="0" smtClean="0"/>
              <a:t>Rio </a:t>
            </a:r>
            <a:r>
              <a:rPr lang="en-US" sz="900" dirty="0" err="1" smtClean="0"/>
              <a:t>Preto</a:t>
            </a:r>
            <a:r>
              <a:rPr lang="en-US" sz="900" dirty="0" smtClean="0"/>
              <a:t> da Eva</a:t>
            </a:r>
            <a:endParaRPr lang="en-US" sz="900" dirty="0"/>
          </a:p>
        </p:txBody>
      </p:sp>
      <p:pic>
        <p:nvPicPr>
          <p:cNvPr id="151" name="NEW_STATION_OTM.bmp" descr="C:\Program Files\iManager MDS 6600\WDM\bin\..\icon\NEW_STATION_OTM.bmp"/>
          <p:cNvPicPr>
            <a:picLocks noChangeAspect="1"/>
          </p:cNvPicPr>
          <p:nvPr/>
        </p:nvPicPr>
        <p:blipFill>
          <a:blip r:embed="rId3" r:link="rId4" cstate="print"/>
          <a:srcRect/>
          <a:stretch>
            <a:fillRect/>
          </a:stretch>
        </p:blipFill>
        <p:spPr bwMode="auto">
          <a:xfrm>
            <a:off x="8424987" y="2636954"/>
            <a:ext cx="228600" cy="228600"/>
          </a:xfrm>
          <a:prstGeom prst="rect">
            <a:avLst/>
          </a:prstGeom>
          <a:noFill/>
          <a:ln w="9525">
            <a:solidFill>
              <a:srgbClr val="FF0000"/>
            </a:solidFill>
            <a:miter lim="800000"/>
            <a:headEnd/>
            <a:tailEnd/>
          </a:ln>
        </p:spPr>
      </p:pic>
      <p:sp>
        <p:nvSpPr>
          <p:cNvPr id="152" name="Oval 151"/>
          <p:cNvSpPr/>
          <p:nvPr/>
        </p:nvSpPr>
        <p:spPr>
          <a:xfrm>
            <a:off x="4818280" y="2590087"/>
            <a:ext cx="395287" cy="373936"/>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53" name="Oval 152"/>
          <p:cNvSpPr/>
          <p:nvPr/>
        </p:nvSpPr>
        <p:spPr>
          <a:xfrm>
            <a:off x="4809923" y="3037443"/>
            <a:ext cx="395287" cy="373936"/>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54" name="Oval 153"/>
          <p:cNvSpPr/>
          <p:nvPr/>
        </p:nvSpPr>
        <p:spPr>
          <a:xfrm>
            <a:off x="5867333" y="2076080"/>
            <a:ext cx="395287" cy="373936"/>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55" name="Oval 154"/>
          <p:cNvSpPr/>
          <p:nvPr/>
        </p:nvSpPr>
        <p:spPr>
          <a:xfrm>
            <a:off x="6317709" y="2571151"/>
            <a:ext cx="395287" cy="373936"/>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56" name="Oval 155"/>
          <p:cNvSpPr/>
          <p:nvPr/>
        </p:nvSpPr>
        <p:spPr>
          <a:xfrm>
            <a:off x="6744116" y="2572582"/>
            <a:ext cx="395287" cy="373936"/>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57" name="Oval 156"/>
          <p:cNvSpPr/>
          <p:nvPr/>
        </p:nvSpPr>
        <p:spPr>
          <a:xfrm>
            <a:off x="7193434" y="2564904"/>
            <a:ext cx="395287" cy="373936"/>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58" name="Oval 157"/>
          <p:cNvSpPr/>
          <p:nvPr/>
        </p:nvSpPr>
        <p:spPr>
          <a:xfrm>
            <a:off x="7708354" y="2060848"/>
            <a:ext cx="395287" cy="373936"/>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59" name="Oval 158"/>
          <p:cNvSpPr/>
          <p:nvPr/>
        </p:nvSpPr>
        <p:spPr>
          <a:xfrm>
            <a:off x="7995047" y="2560533"/>
            <a:ext cx="395287" cy="373936"/>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60" name="Oval 159"/>
          <p:cNvSpPr/>
          <p:nvPr/>
        </p:nvSpPr>
        <p:spPr>
          <a:xfrm>
            <a:off x="8330704" y="2555379"/>
            <a:ext cx="395287" cy="373936"/>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61" name="Oval 160"/>
          <p:cNvSpPr/>
          <p:nvPr/>
        </p:nvSpPr>
        <p:spPr>
          <a:xfrm>
            <a:off x="3944888" y="3140968"/>
            <a:ext cx="395287" cy="373936"/>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62" name="Oval 161"/>
          <p:cNvSpPr/>
          <p:nvPr/>
        </p:nvSpPr>
        <p:spPr>
          <a:xfrm>
            <a:off x="3224808" y="2551008"/>
            <a:ext cx="395287" cy="373936"/>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63" name="Oval 162"/>
          <p:cNvSpPr/>
          <p:nvPr/>
        </p:nvSpPr>
        <p:spPr>
          <a:xfrm>
            <a:off x="2864768" y="2603004"/>
            <a:ext cx="395287" cy="373936"/>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64" name="Oval 163"/>
          <p:cNvSpPr/>
          <p:nvPr/>
        </p:nvSpPr>
        <p:spPr>
          <a:xfrm>
            <a:off x="2555206" y="2094756"/>
            <a:ext cx="395287" cy="373936"/>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65" name="Oval 164"/>
          <p:cNvSpPr/>
          <p:nvPr/>
        </p:nvSpPr>
        <p:spPr>
          <a:xfrm>
            <a:off x="2044105" y="2493858"/>
            <a:ext cx="395287" cy="373936"/>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66" name="Oval 165"/>
          <p:cNvSpPr/>
          <p:nvPr/>
        </p:nvSpPr>
        <p:spPr>
          <a:xfrm>
            <a:off x="1631107" y="2492896"/>
            <a:ext cx="395287" cy="373936"/>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67" name="Oval 166"/>
          <p:cNvSpPr/>
          <p:nvPr/>
        </p:nvSpPr>
        <p:spPr>
          <a:xfrm>
            <a:off x="992560" y="2084090"/>
            <a:ext cx="395287" cy="373936"/>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 xmlns:p14="http://schemas.microsoft.com/office/powerpoint/2010/main" val="205976208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2"/>
          <p:cNvSpPr>
            <a:spLocks noChangeArrowheads="1"/>
          </p:cNvSpPr>
          <p:nvPr/>
        </p:nvSpPr>
        <p:spPr bwMode="auto">
          <a:xfrm>
            <a:off x="1208584" y="2852993"/>
            <a:ext cx="6480000" cy="503999"/>
          </a:xfrm>
          <a:prstGeom prst="snip2DiagRect">
            <a:avLst/>
          </a:prstGeom>
          <a:solidFill>
            <a:srgbClr val="3E628A"/>
          </a:solidFill>
          <a:ln>
            <a:noFill/>
          </a:ln>
          <a:extLst>
            <a:ext uri="{91240B29-F687-4f45-9708-019B960494DF}">
              <a14:hiddenLine xmlns=""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lIns="87766" tIns="43883" rIns="87766" bIns="43883" rtlCol="0" anchor="ctr"/>
          <a:lstStyle/>
          <a:p>
            <a:pPr algn="ctr" eaLnBrk="0" hangingPunct="0"/>
            <a:endParaRPr lang="en-US" smtClean="0">
              <a:solidFill>
                <a:schemeClr val="lt1"/>
              </a:solidFill>
            </a:endParaRPr>
          </a:p>
        </p:txBody>
      </p:sp>
      <p:sp>
        <p:nvSpPr>
          <p:cNvPr id="7" name="Text Box 4"/>
          <p:cNvSpPr txBox="1">
            <a:spLocks noChangeArrowheads="1"/>
          </p:cNvSpPr>
          <p:nvPr/>
        </p:nvSpPr>
        <p:spPr bwMode="auto">
          <a:xfrm>
            <a:off x="1480300" y="1333918"/>
            <a:ext cx="7687545" cy="1880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03659" tIns="0" rIns="103659" bIns="0"/>
          <a:lstStyle>
            <a:lvl1pPr marL="365125" indent="-365125" defTabSz="450850" eaLnBrk="0" hangingPunct="0">
              <a:defRPr sz="1600" b="1">
                <a:solidFill>
                  <a:schemeClr val="tx1"/>
                </a:solidFill>
                <a:latin typeface="Arial" pitchFamily="34" charset="0"/>
                <a:cs typeface="Arial" pitchFamily="34" charset="0"/>
              </a:defRPr>
            </a:lvl1pPr>
            <a:lvl2pPr marL="742950" indent="-285750" defTabSz="450850" eaLnBrk="0" hangingPunct="0">
              <a:defRPr sz="1600" b="1">
                <a:solidFill>
                  <a:schemeClr val="tx1"/>
                </a:solidFill>
                <a:latin typeface="Arial" pitchFamily="34" charset="0"/>
                <a:cs typeface="Arial" pitchFamily="34" charset="0"/>
              </a:defRPr>
            </a:lvl2pPr>
            <a:lvl3pPr marL="1143000" indent="-228600" defTabSz="450850" eaLnBrk="0" hangingPunct="0">
              <a:defRPr sz="1600" b="1">
                <a:solidFill>
                  <a:schemeClr val="tx1"/>
                </a:solidFill>
                <a:latin typeface="Arial" pitchFamily="34" charset="0"/>
                <a:cs typeface="Arial" pitchFamily="34" charset="0"/>
              </a:defRPr>
            </a:lvl3pPr>
            <a:lvl4pPr marL="1600200" indent="-228600" defTabSz="450850" eaLnBrk="0" hangingPunct="0">
              <a:defRPr sz="1600" b="1">
                <a:solidFill>
                  <a:schemeClr val="tx1"/>
                </a:solidFill>
                <a:latin typeface="Arial" pitchFamily="34" charset="0"/>
                <a:cs typeface="Arial" pitchFamily="34" charset="0"/>
              </a:defRPr>
            </a:lvl4pPr>
            <a:lvl5pPr marL="2057400" indent="-228600" defTabSz="450850" eaLnBrk="0" hangingPunct="0">
              <a:defRPr sz="1600" b="1">
                <a:solidFill>
                  <a:schemeClr val="tx1"/>
                </a:solidFill>
                <a:latin typeface="Arial" pitchFamily="34" charset="0"/>
                <a:cs typeface="Arial" pitchFamily="34" charset="0"/>
              </a:defRPr>
            </a:lvl5pPr>
            <a:lvl6pPr marL="2514600" indent="-228600" defTabSz="450850" eaLnBrk="0" fontAlgn="base" hangingPunct="0">
              <a:spcBef>
                <a:spcPct val="0"/>
              </a:spcBef>
              <a:spcAft>
                <a:spcPct val="0"/>
              </a:spcAft>
              <a:defRPr sz="1600" b="1">
                <a:solidFill>
                  <a:schemeClr val="tx1"/>
                </a:solidFill>
                <a:latin typeface="Arial" pitchFamily="34" charset="0"/>
                <a:cs typeface="Arial" pitchFamily="34" charset="0"/>
              </a:defRPr>
            </a:lvl6pPr>
            <a:lvl7pPr marL="2971800" indent="-228600" defTabSz="450850" eaLnBrk="0" fontAlgn="base" hangingPunct="0">
              <a:spcBef>
                <a:spcPct val="0"/>
              </a:spcBef>
              <a:spcAft>
                <a:spcPct val="0"/>
              </a:spcAft>
              <a:defRPr sz="1600" b="1">
                <a:solidFill>
                  <a:schemeClr val="tx1"/>
                </a:solidFill>
                <a:latin typeface="Arial" pitchFamily="34" charset="0"/>
                <a:cs typeface="Arial" pitchFamily="34" charset="0"/>
              </a:defRPr>
            </a:lvl7pPr>
            <a:lvl8pPr marL="3429000" indent="-228600" defTabSz="450850" eaLnBrk="0" fontAlgn="base" hangingPunct="0">
              <a:spcBef>
                <a:spcPct val="0"/>
              </a:spcBef>
              <a:spcAft>
                <a:spcPct val="0"/>
              </a:spcAft>
              <a:defRPr sz="1600" b="1">
                <a:solidFill>
                  <a:schemeClr val="tx1"/>
                </a:solidFill>
                <a:latin typeface="Arial" pitchFamily="34" charset="0"/>
                <a:cs typeface="Arial" pitchFamily="34" charset="0"/>
              </a:defRPr>
            </a:lvl8pPr>
            <a:lvl9pPr marL="3886200" indent="-228600" defTabSz="450850" eaLnBrk="0" fontAlgn="base" hangingPunct="0">
              <a:spcBef>
                <a:spcPct val="0"/>
              </a:spcBef>
              <a:spcAft>
                <a:spcPct val="0"/>
              </a:spcAft>
              <a:defRPr sz="1600" b="1">
                <a:solidFill>
                  <a:schemeClr val="tx1"/>
                </a:solidFill>
                <a:latin typeface="Arial" pitchFamily="34" charset="0"/>
                <a:cs typeface="Arial" pitchFamily="34" charset="0"/>
              </a:defRPr>
            </a:lvl9pPr>
          </a:lstStyle>
          <a:p>
            <a:pPr eaLnBrk="1" hangingPunct="1">
              <a:lnSpc>
                <a:spcPct val="150000"/>
              </a:lnSpc>
              <a:spcBef>
                <a:spcPct val="60000"/>
              </a:spcBef>
              <a:buClr>
                <a:schemeClr val="bg1">
                  <a:lumMod val="65000"/>
                </a:schemeClr>
              </a:buClr>
              <a:buFont typeface="Webdings" pitchFamily="18" charset="2"/>
              <a:buChar char="4"/>
            </a:pPr>
            <a:r>
              <a:rPr lang="en-US" sz="2300" b="0" dirty="0">
                <a:solidFill>
                  <a:schemeClr val="bg1">
                    <a:lumMod val="75000"/>
                  </a:schemeClr>
                </a:solidFill>
                <a:latin typeface="Calibri" pitchFamily="34" charset="0"/>
              </a:rPr>
              <a:t>BACKBONE LD EVOLUTION</a:t>
            </a:r>
          </a:p>
          <a:p>
            <a:pPr eaLnBrk="1" hangingPunct="1">
              <a:lnSpc>
                <a:spcPct val="150000"/>
              </a:lnSpc>
              <a:spcBef>
                <a:spcPct val="60000"/>
              </a:spcBef>
              <a:buClr>
                <a:schemeClr val="bg1">
                  <a:lumMod val="65000"/>
                </a:schemeClr>
              </a:buClr>
              <a:buFont typeface="Webdings" pitchFamily="18" charset="2"/>
              <a:buChar char="4"/>
            </a:pPr>
            <a:r>
              <a:rPr lang="en-US" sz="2300" b="0" dirty="0">
                <a:solidFill>
                  <a:schemeClr val="bg1">
                    <a:lumMod val="75000"/>
                  </a:schemeClr>
                </a:solidFill>
                <a:latin typeface="Calibri" pitchFamily="34" charset="0"/>
              </a:rPr>
              <a:t>CASE LT AMAZONAS</a:t>
            </a:r>
          </a:p>
          <a:p>
            <a:pPr eaLnBrk="1" hangingPunct="1">
              <a:lnSpc>
                <a:spcPct val="150000"/>
              </a:lnSpc>
              <a:spcBef>
                <a:spcPct val="60000"/>
              </a:spcBef>
              <a:buClr>
                <a:schemeClr val="bg1">
                  <a:lumMod val="65000"/>
                </a:schemeClr>
              </a:buClr>
              <a:buFont typeface="Webdings" pitchFamily="18" charset="2"/>
              <a:buChar char="4"/>
            </a:pPr>
            <a:r>
              <a:rPr lang="en-US" sz="2300" b="0" dirty="0">
                <a:solidFill>
                  <a:schemeClr val="bg1"/>
                </a:solidFill>
                <a:latin typeface="Calibri" pitchFamily="34" charset="0"/>
              </a:rPr>
              <a:t>FTTS</a:t>
            </a:r>
            <a:endParaRPr lang="pt-BR" sz="2300" b="0" dirty="0">
              <a:solidFill>
                <a:schemeClr val="bg1"/>
              </a:solidFill>
              <a:latin typeface="Calibri" pitchFamily="34" charset="0"/>
            </a:endParaRPr>
          </a:p>
          <a:p>
            <a:pPr eaLnBrk="1" hangingPunct="1">
              <a:lnSpc>
                <a:spcPct val="150000"/>
              </a:lnSpc>
              <a:spcBef>
                <a:spcPct val="60000"/>
              </a:spcBef>
              <a:buClr>
                <a:schemeClr val="bg1">
                  <a:lumMod val="65000"/>
                </a:schemeClr>
              </a:buClr>
              <a:buFont typeface="Webdings" pitchFamily="18" charset="2"/>
              <a:buChar char="4"/>
            </a:pPr>
            <a:r>
              <a:rPr lang="en-US" sz="2300" b="0" dirty="0">
                <a:solidFill>
                  <a:schemeClr val="bg1">
                    <a:lumMod val="75000"/>
                  </a:schemeClr>
                </a:solidFill>
                <a:latin typeface="Calibri" pitchFamily="34" charset="0"/>
              </a:rPr>
              <a:t>MBB</a:t>
            </a:r>
          </a:p>
          <a:p>
            <a:pPr eaLnBrk="1" hangingPunct="1">
              <a:lnSpc>
                <a:spcPct val="150000"/>
              </a:lnSpc>
              <a:spcBef>
                <a:spcPct val="60000"/>
              </a:spcBef>
              <a:buClr>
                <a:schemeClr val="bg1">
                  <a:lumMod val="65000"/>
                </a:schemeClr>
              </a:buClr>
              <a:buFont typeface="Webdings" pitchFamily="18" charset="2"/>
              <a:buChar char="4"/>
            </a:pPr>
            <a:r>
              <a:rPr lang="en-US" sz="2300" b="0" dirty="0" smtClean="0">
                <a:solidFill>
                  <a:schemeClr val="bg1">
                    <a:lumMod val="75000"/>
                  </a:schemeClr>
                </a:solidFill>
                <a:latin typeface="Calibri" pitchFamily="34" charset="0"/>
              </a:rPr>
              <a:t>LICENSING CHALLENGES</a:t>
            </a:r>
            <a:endParaRPr lang="en-US" sz="2300" b="0" dirty="0">
              <a:solidFill>
                <a:schemeClr val="bg1">
                  <a:lumMod val="75000"/>
                </a:schemeClr>
              </a:solidFill>
              <a:latin typeface="Calibri" pitchFamily="34" charset="0"/>
            </a:endParaRPr>
          </a:p>
        </p:txBody>
      </p:sp>
      <p:sp>
        <p:nvSpPr>
          <p:cNvPr id="8" name="Title 38"/>
          <p:cNvSpPr txBox="1">
            <a:spLocks/>
          </p:cNvSpPr>
          <p:nvPr/>
        </p:nvSpPr>
        <p:spPr>
          <a:xfrm>
            <a:off x="330224" y="227015"/>
            <a:ext cx="7980364" cy="457200"/>
          </a:xfrm>
          <a:prstGeom prst="rect">
            <a:avLst/>
          </a:prstGeom>
          <a:noFill/>
          <a:ln>
            <a:noFill/>
          </a:ln>
        </p:spPr>
        <p:txBody>
          <a:bodyPr vert="horz" wrap="square" lIns="0" tIns="0" rIns="0" bIns="0" numCol="1" anchor="ctr" anchorCtr="0" compatLnSpc="1">
            <a:prstTxWarp prst="textNoShape">
              <a:avLst/>
            </a:prstTxWarp>
          </a:bodyPr>
          <a:lstStyle/>
          <a:p>
            <a:pPr defTabSz="877654" eaLnBrk="0" hangingPunct="0">
              <a:lnSpc>
                <a:spcPct val="80000"/>
              </a:lnSpc>
              <a:defRPr/>
            </a:pPr>
            <a:r>
              <a:rPr lang="en-US" sz="2500" kern="0" dirty="0" smtClean="0">
                <a:solidFill>
                  <a:schemeClr val="bg1"/>
                </a:solidFill>
                <a:latin typeface="Calibri" pitchFamily="34" charset="0"/>
                <a:ea typeface="Arial" charset="0"/>
                <a:cs typeface="+mj-cs"/>
              </a:rPr>
              <a:t>AGENDA</a:t>
            </a:r>
            <a:endParaRPr lang="en-US" sz="2500" kern="0" dirty="0">
              <a:solidFill>
                <a:schemeClr val="bg1"/>
              </a:solidFill>
              <a:latin typeface="Calibri" pitchFamily="34" charset="0"/>
              <a:ea typeface="Arial" charset="0"/>
              <a:cs typeface="+mj-cs"/>
            </a:endParaRPr>
          </a:p>
        </p:txBody>
      </p:sp>
    </p:spTree>
    <p:extLst>
      <p:ext uri="{BB962C8B-B14F-4D97-AF65-F5344CB8AC3E}">
        <p14:creationId xmlns="" xmlns:p14="http://schemas.microsoft.com/office/powerpoint/2010/main" val="86520366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 name="Rectangle 12"/>
          <p:cNvSpPr>
            <a:spLocks noChangeArrowheads="1"/>
          </p:cNvSpPr>
          <p:nvPr/>
        </p:nvSpPr>
        <p:spPr bwMode="auto">
          <a:xfrm>
            <a:off x="145907" y="3124335"/>
            <a:ext cx="9585325" cy="3473017"/>
          </a:xfrm>
          <a:prstGeom prst="rect">
            <a:avLst/>
          </a:prstGeom>
          <a:solidFill>
            <a:srgbClr val="FFFFFF"/>
          </a:solidFill>
          <a:ln w="9525">
            <a:solidFill>
              <a:srgbClr val="97B3D1"/>
            </a:solidFill>
            <a:miter lim="800000"/>
            <a:headEnd/>
            <a:tailEnd/>
          </a:ln>
        </p:spPr>
        <p:txBody>
          <a:bodyPr tIns="82800" bIns="82800"/>
          <a:lstStyle/>
          <a:p>
            <a:pPr marL="185738" indent="-185738">
              <a:buFontTx/>
              <a:buChar char="•"/>
            </a:pPr>
            <a:endParaRPr lang="pt-BR" sz="1050" b="0" dirty="0" smtClean="0">
              <a:latin typeface="Calibri" pitchFamily="34" charset="0"/>
            </a:endParaRPr>
          </a:p>
          <a:p>
            <a:pPr lvl="1"/>
            <a:endParaRPr lang="it-IT" sz="1050" b="0" dirty="0">
              <a:latin typeface="Calibri" pitchFamily="34" charset="0"/>
            </a:endParaRPr>
          </a:p>
        </p:txBody>
      </p:sp>
      <p:grpSp>
        <p:nvGrpSpPr>
          <p:cNvPr id="2" name="Group 624"/>
          <p:cNvGrpSpPr/>
          <p:nvPr/>
        </p:nvGrpSpPr>
        <p:grpSpPr>
          <a:xfrm>
            <a:off x="4764697" y="3561222"/>
            <a:ext cx="4648129" cy="2647109"/>
            <a:chOff x="1065133" y="2251192"/>
            <a:chExt cx="7959833" cy="4463956"/>
          </a:xfrm>
        </p:grpSpPr>
        <p:sp>
          <p:nvSpPr>
            <p:cNvPr id="439" name="Rounded Rectangle 438"/>
            <p:cNvSpPr/>
            <p:nvPr/>
          </p:nvSpPr>
          <p:spPr bwMode="auto">
            <a:xfrm>
              <a:off x="1065133" y="2251192"/>
              <a:ext cx="7959833" cy="4463956"/>
            </a:xfrm>
            <a:prstGeom prst="roundRect">
              <a:avLst>
                <a:gd name="adj" fmla="val 4957"/>
              </a:avLst>
            </a:prstGeom>
            <a:solidFill>
              <a:schemeClr val="bg1"/>
            </a:solidFill>
            <a:ln w="9525" cap="flat" cmpd="sng" algn="ctr">
              <a:solidFill>
                <a:srgbClr val="969696"/>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grpSp>
          <p:nvGrpSpPr>
            <p:cNvPr id="3" name="Group 48"/>
            <p:cNvGrpSpPr>
              <a:grpSpLocks/>
            </p:cNvGrpSpPr>
            <p:nvPr/>
          </p:nvGrpSpPr>
          <p:grpSpPr bwMode="auto">
            <a:xfrm>
              <a:off x="7300900" y="2776254"/>
              <a:ext cx="174625" cy="180975"/>
              <a:chOff x="8053381" y="4195958"/>
              <a:chExt cx="228600" cy="228600"/>
            </a:xfrm>
          </p:grpSpPr>
          <p:sp>
            <p:nvSpPr>
              <p:cNvPr id="643" name="Oval 642"/>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644" name="Oval 643"/>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4" name="Group 49"/>
            <p:cNvGrpSpPr>
              <a:grpSpLocks/>
            </p:cNvGrpSpPr>
            <p:nvPr/>
          </p:nvGrpSpPr>
          <p:grpSpPr bwMode="auto">
            <a:xfrm>
              <a:off x="7399325" y="3106454"/>
              <a:ext cx="174625" cy="180975"/>
              <a:chOff x="8053381" y="4195958"/>
              <a:chExt cx="228600" cy="228600"/>
            </a:xfrm>
          </p:grpSpPr>
          <p:sp>
            <p:nvSpPr>
              <p:cNvPr id="641" name="Oval 640"/>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642" name="Oval 641"/>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5" name="Group 52"/>
            <p:cNvGrpSpPr>
              <a:grpSpLocks/>
            </p:cNvGrpSpPr>
            <p:nvPr/>
          </p:nvGrpSpPr>
          <p:grpSpPr bwMode="auto">
            <a:xfrm>
              <a:off x="7291375" y="3463641"/>
              <a:ext cx="176213" cy="180975"/>
              <a:chOff x="8053381" y="4195958"/>
              <a:chExt cx="228600" cy="228600"/>
            </a:xfrm>
          </p:grpSpPr>
          <p:sp>
            <p:nvSpPr>
              <p:cNvPr id="639" name="Oval 638"/>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640" name="Oval 639"/>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6" name="Group 55"/>
            <p:cNvGrpSpPr>
              <a:grpSpLocks/>
            </p:cNvGrpSpPr>
            <p:nvPr/>
          </p:nvGrpSpPr>
          <p:grpSpPr bwMode="auto">
            <a:xfrm>
              <a:off x="6870688" y="3096929"/>
              <a:ext cx="176212" cy="180975"/>
              <a:chOff x="8053381" y="4195958"/>
              <a:chExt cx="228600" cy="228600"/>
            </a:xfrm>
          </p:grpSpPr>
          <p:sp>
            <p:nvSpPr>
              <p:cNvPr id="637" name="Oval 636"/>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638" name="Oval 637"/>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7" name="Group 58"/>
            <p:cNvGrpSpPr>
              <a:grpSpLocks/>
            </p:cNvGrpSpPr>
            <p:nvPr/>
          </p:nvGrpSpPr>
          <p:grpSpPr bwMode="auto">
            <a:xfrm>
              <a:off x="7432663" y="3881154"/>
              <a:ext cx="174625" cy="179387"/>
              <a:chOff x="8053381" y="4195958"/>
              <a:chExt cx="228600" cy="228600"/>
            </a:xfrm>
          </p:grpSpPr>
          <p:sp>
            <p:nvSpPr>
              <p:cNvPr id="635" name="Oval 634"/>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636" name="Oval 635"/>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8" name="Group 61"/>
            <p:cNvGrpSpPr>
              <a:grpSpLocks/>
            </p:cNvGrpSpPr>
            <p:nvPr/>
          </p:nvGrpSpPr>
          <p:grpSpPr bwMode="auto">
            <a:xfrm>
              <a:off x="7034200" y="3727166"/>
              <a:ext cx="174625" cy="180975"/>
              <a:chOff x="8053381" y="4195958"/>
              <a:chExt cx="228600" cy="228600"/>
            </a:xfrm>
          </p:grpSpPr>
          <p:sp>
            <p:nvSpPr>
              <p:cNvPr id="633" name="Oval 632"/>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634" name="Oval 633"/>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9" name="Group 64"/>
            <p:cNvGrpSpPr>
              <a:grpSpLocks/>
            </p:cNvGrpSpPr>
            <p:nvPr/>
          </p:nvGrpSpPr>
          <p:grpSpPr bwMode="auto">
            <a:xfrm>
              <a:off x="6645263" y="3708116"/>
              <a:ext cx="176212" cy="179388"/>
              <a:chOff x="8053381" y="4195958"/>
              <a:chExt cx="228600" cy="228600"/>
            </a:xfrm>
          </p:grpSpPr>
          <p:sp>
            <p:nvSpPr>
              <p:cNvPr id="631" name="Oval 630"/>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632" name="Oval 631"/>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10" name="Group 67"/>
            <p:cNvGrpSpPr>
              <a:grpSpLocks/>
            </p:cNvGrpSpPr>
            <p:nvPr/>
          </p:nvGrpSpPr>
          <p:grpSpPr bwMode="auto">
            <a:xfrm>
              <a:off x="6954825" y="4049429"/>
              <a:ext cx="176213" cy="179387"/>
              <a:chOff x="8053381" y="4195958"/>
              <a:chExt cx="228600" cy="228600"/>
            </a:xfrm>
          </p:grpSpPr>
          <p:sp>
            <p:nvSpPr>
              <p:cNvPr id="629" name="Oval 628"/>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630" name="Oval 629"/>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11" name="Group 70"/>
            <p:cNvGrpSpPr>
              <a:grpSpLocks/>
            </p:cNvGrpSpPr>
            <p:nvPr/>
          </p:nvGrpSpPr>
          <p:grpSpPr bwMode="auto">
            <a:xfrm>
              <a:off x="7443775" y="4401854"/>
              <a:ext cx="174625" cy="179387"/>
              <a:chOff x="8053381" y="4195958"/>
              <a:chExt cx="228600" cy="228600"/>
            </a:xfrm>
          </p:grpSpPr>
          <p:sp>
            <p:nvSpPr>
              <p:cNvPr id="627" name="Oval 626"/>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prst="relaxedInset"/>
              </a:sp3d>
            </p:spPr>
            <p:txBody>
              <a:bodyPr wrap="none" lIns="0" tIns="0" rIns="0" bIns="0" anchor="ctr"/>
              <a:lstStyle/>
              <a:p>
                <a:pPr algn="ctr" defTabSz="873125" eaLnBrk="0" hangingPunct="0">
                  <a:defRPr/>
                </a:pPr>
                <a:endParaRPr lang="en-US" dirty="0">
                  <a:cs typeface="Arial" pitchFamily="34" charset="0"/>
                </a:endParaRPr>
              </a:p>
            </p:txBody>
          </p:sp>
          <p:sp>
            <p:nvSpPr>
              <p:cNvPr id="628" name="Oval 627"/>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prst="relaxedInse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12" name="Group 73"/>
            <p:cNvGrpSpPr>
              <a:grpSpLocks/>
            </p:cNvGrpSpPr>
            <p:nvPr/>
          </p:nvGrpSpPr>
          <p:grpSpPr bwMode="auto">
            <a:xfrm>
              <a:off x="7008800" y="4498691"/>
              <a:ext cx="176213" cy="180975"/>
              <a:chOff x="8053381" y="4195958"/>
              <a:chExt cx="228600" cy="228600"/>
            </a:xfrm>
          </p:grpSpPr>
          <p:sp>
            <p:nvSpPr>
              <p:cNvPr id="625" name="Oval 624"/>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626" name="Oval 625"/>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13" name="Group 76"/>
            <p:cNvGrpSpPr>
              <a:grpSpLocks/>
            </p:cNvGrpSpPr>
            <p:nvPr/>
          </p:nvGrpSpPr>
          <p:grpSpPr bwMode="auto">
            <a:xfrm>
              <a:off x="6519850" y="4406616"/>
              <a:ext cx="174625" cy="179388"/>
              <a:chOff x="8053381" y="4195958"/>
              <a:chExt cx="228600" cy="228600"/>
            </a:xfrm>
          </p:grpSpPr>
          <p:sp>
            <p:nvSpPr>
              <p:cNvPr id="623" name="Oval 622"/>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624" name="Oval 623"/>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14" name="Group 79"/>
            <p:cNvGrpSpPr>
              <a:grpSpLocks/>
            </p:cNvGrpSpPr>
            <p:nvPr/>
          </p:nvGrpSpPr>
          <p:grpSpPr bwMode="auto">
            <a:xfrm>
              <a:off x="5988038" y="3570004"/>
              <a:ext cx="176212" cy="179387"/>
              <a:chOff x="8053381" y="4195958"/>
              <a:chExt cx="228600" cy="228600"/>
            </a:xfrm>
          </p:grpSpPr>
          <p:sp>
            <p:nvSpPr>
              <p:cNvPr id="621" name="Oval 620"/>
              <p:cNvSpPr/>
              <p:nvPr/>
            </p:nvSpPr>
            <p:spPr bwMode="auto">
              <a:xfrm>
                <a:off x="8053381" y="4195958"/>
                <a:ext cx="228600" cy="228600"/>
              </a:xfrm>
              <a:prstGeom prst="ellipse">
                <a:avLst/>
              </a:prstGeom>
              <a:solidFill>
                <a:srgbClr val="33CC33"/>
              </a:solidFill>
              <a:ln w="9525" cap="flat" cmpd="sng" algn="ctr">
                <a:solidFill>
                  <a:schemeClr val="tx1">
                    <a:lumMod val="95000"/>
                    <a:lumOff val="5000"/>
                  </a:schemeClr>
                </a:solidFill>
                <a:prstDash val="solid"/>
                <a:round/>
                <a:headEnd type="none" w="med" len="med"/>
                <a:tailEnd type="none" w="med" len="med"/>
              </a:ln>
              <a:effectLst/>
              <a:scene3d>
                <a:camera prst="orthographicFront"/>
                <a:lightRig rig="threePt" dir="t"/>
              </a:scene3d>
              <a:sp3d>
                <a:bevelT w="152400" h="50800" prst="softRound"/>
              </a:sp3d>
            </p:spPr>
            <p:txBody>
              <a:bodyPr wrap="none" lIns="0" tIns="0" rIns="0" bIns="0" anchor="ctr"/>
              <a:lstStyle/>
              <a:p>
                <a:pPr algn="ctr" defTabSz="873125" eaLnBrk="0" hangingPunct="0">
                  <a:defRPr/>
                </a:pPr>
                <a:endParaRPr lang="en-US" dirty="0">
                  <a:cs typeface="Arial" pitchFamily="34" charset="0"/>
                </a:endParaRPr>
              </a:p>
            </p:txBody>
          </p:sp>
          <p:sp>
            <p:nvSpPr>
              <p:cNvPr id="622" name="Oval 621"/>
              <p:cNvSpPr/>
              <p:nvPr/>
            </p:nvSpPr>
            <p:spPr bwMode="auto">
              <a:xfrm>
                <a:off x="8109348" y="4253475"/>
                <a:ext cx="116666" cy="114950"/>
              </a:xfrm>
              <a:prstGeom prst="ellipse">
                <a:avLst/>
              </a:prstGeom>
              <a:solidFill>
                <a:srgbClr val="FF0000"/>
              </a:solidFill>
              <a:ln w="9525" cap="flat" cmpd="sng" algn="ctr">
                <a:solidFill>
                  <a:schemeClr val="tx1">
                    <a:lumMod val="95000"/>
                    <a:lumOff val="5000"/>
                  </a:schemeClr>
                </a:solidFill>
                <a:prstDash val="solid"/>
                <a:round/>
                <a:headEnd type="none" w="med" len="med"/>
                <a:tailEnd type="none" w="med" len="med"/>
              </a:ln>
              <a:effectLst/>
              <a:scene3d>
                <a:camera prst="orthographicFront"/>
                <a:lightRig rig="threePt" dir="t"/>
              </a:scene3d>
              <a:sp3d>
                <a:bevelT w="152400" h="50800" prst="softRound"/>
              </a:sp3d>
            </p:spPr>
            <p:txBody>
              <a:bodyPr wrap="none" lIns="0" tIns="0" rIns="0" bIns="0" anchor="ctr"/>
              <a:lstStyle/>
              <a:p>
                <a:pPr algn="ctr" defTabSz="873125" eaLnBrk="0" hangingPunct="0">
                  <a:defRPr/>
                </a:pPr>
                <a:endParaRPr lang="en-US" dirty="0">
                  <a:cs typeface="Arial" pitchFamily="34" charset="0"/>
                </a:endParaRPr>
              </a:p>
            </p:txBody>
          </p:sp>
        </p:grpSp>
        <p:sp>
          <p:nvSpPr>
            <p:cNvPr id="452" name="Rounded Rectangle 451"/>
            <p:cNvSpPr/>
            <p:nvPr/>
          </p:nvSpPr>
          <p:spPr bwMode="auto">
            <a:xfrm>
              <a:off x="4591446" y="3700968"/>
              <a:ext cx="220772" cy="196066"/>
            </a:xfrm>
            <a:prstGeom prst="roundRect">
              <a:avLst/>
            </a:prstGeom>
            <a:solidFill>
              <a:srgbClr val="FFC000"/>
            </a:solidFill>
            <a:ln w="9525" cap="flat" cmpd="sng" algn="ctr">
              <a:solidFill>
                <a:srgbClr val="969696"/>
              </a:solidFill>
              <a:prstDash val="solid"/>
              <a:round/>
              <a:headEnd type="none" w="med" len="med"/>
              <a:tailEnd type="none" w="med" len="med"/>
            </a:ln>
            <a:effectLst/>
            <a:scene3d>
              <a:camera prst="orthographicFront"/>
              <a:lightRig rig="threePt" dir="t"/>
            </a:scene3d>
            <a:sp3d>
              <a:bevelT prst="relaxedInset"/>
            </a:sp3d>
          </p:spPr>
          <p:txBody>
            <a:bodyPr wrap="none" lIns="0" tIns="0" rIns="0" bIns="0" anchor="ctr"/>
            <a:lstStyle/>
            <a:p>
              <a:pPr algn="ctr" defTabSz="873125" eaLnBrk="0" hangingPunct="0">
                <a:defRPr/>
              </a:pPr>
              <a:endParaRPr lang="en-US" dirty="0">
                <a:cs typeface="Arial" pitchFamily="34" charset="0"/>
              </a:endParaRPr>
            </a:p>
          </p:txBody>
        </p:sp>
        <p:cxnSp>
          <p:nvCxnSpPr>
            <p:cNvPr id="453" name="Straight Connector 84"/>
            <p:cNvCxnSpPr>
              <a:cxnSpLocks noChangeShapeType="1"/>
            </p:cNvCxnSpPr>
            <p:nvPr/>
          </p:nvCxnSpPr>
          <p:spPr bwMode="auto">
            <a:xfrm rot="5400000">
              <a:off x="7076269" y="2873885"/>
              <a:ext cx="193675" cy="306387"/>
            </a:xfrm>
            <a:prstGeom prst="line">
              <a:avLst/>
            </a:prstGeom>
            <a:noFill/>
            <a:ln w="9525" algn="ctr">
              <a:solidFill>
                <a:srgbClr val="969696"/>
              </a:solidFill>
              <a:round/>
              <a:headEnd/>
              <a:tailEnd/>
            </a:ln>
          </p:spPr>
        </p:cxnSp>
        <p:cxnSp>
          <p:nvCxnSpPr>
            <p:cNvPr id="454" name="Straight Connector 86"/>
            <p:cNvCxnSpPr>
              <a:cxnSpLocks noChangeShapeType="1"/>
            </p:cNvCxnSpPr>
            <p:nvPr/>
          </p:nvCxnSpPr>
          <p:spPr bwMode="auto">
            <a:xfrm rot="10800000">
              <a:off x="7046900" y="3187416"/>
              <a:ext cx="352425" cy="9525"/>
            </a:xfrm>
            <a:prstGeom prst="line">
              <a:avLst/>
            </a:prstGeom>
            <a:noFill/>
            <a:ln w="9525" algn="ctr">
              <a:solidFill>
                <a:srgbClr val="969696"/>
              </a:solidFill>
              <a:round/>
              <a:headEnd/>
              <a:tailEnd/>
            </a:ln>
          </p:spPr>
        </p:cxnSp>
        <p:cxnSp>
          <p:nvCxnSpPr>
            <p:cNvPr id="455" name="Straight Connector 88"/>
            <p:cNvCxnSpPr>
              <a:cxnSpLocks noChangeShapeType="1"/>
            </p:cNvCxnSpPr>
            <p:nvPr/>
          </p:nvCxnSpPr>
          <p:spPr bwMode="auto">
            <a:xfrm rot="10800000">
              <a:off x="7019913" y="3250916"/>
              <a:ext cx="271462" cy="303213"/>
            </a:xfrm>
            <a:prstGeom prst="line">
              <a:avLst/>
            </a:prstGeom>
            <a:noFill/>
            <a:ln w="9525" algn="ctr">
              <a:solidFill>
                <a:srgbClr val="969696"/>
              </a:solidFill>
              <a:round/>
              <a:headEnd/>
              <a:tailEnd/>
            </a:ln>
          </p:spPr>
        </p:cxnSp>
        <p:cxnSp>
          <p:nvCxnSpPr>
            <p:cNvPr id="456" name="Straight Connector 90"/>
            <p:cNvCxnSpPr>
              <a:cxnSpLocks noChangeShapeType="1"/>
            </p:cNvCxnSpPr>
            <p:nvPr/>
          </p:nvCxnSpPr>
          <p:spPr bwMode="auto">
            <a:xfrm rot="10800000" flipV="1">
              <a:off x="6137263" y="3187416"/>
              <a:ext cx="733425" cy="407988"/>
            </a:xfrm>
            <a:prstGeom prst="line">
              <a:avLst/>
            </a:prstGeom>
            <a:noFill/>
            <a:ln w="9525" algn="ctr">
              <a:solidFill>
                <a:srgbClr val="969696"/>
              </a:solidFill>
              <a:round/>
              <a:headEnd/>
              <a:tailEnd/>
            </a:ln>
          </p:spPr>
        </p:cxnSp>
        <p:cxnSp>
          <p:nvCxnSpPr>
            <p:cNvPr id="457" name="Straight Connector 92"/>
            <p:cNvCxnSpPr>
              <a:cxnSpLocks noChangeShapeType="1"/>
            </p:cNvCxnSpPr>
            <p:nvPr/>
          </p:nvCxnSpPr>
          <p:spPr bwMode="auto">
            <a:xfrm rot="10800000">
              <a:off x="6121388" y="3660491"/>
              <a:ext cx="523875" cy="138113"/>
            </a:xfrm>
            <a:prstGeom prst="line">
              <a:avLst/>
            </a:prstGeom>
            <a:noFill/>
            <a:ln w="9525" algn="ctr">
              <a:solidFill>
                <a:srgbClr val="969696"/>
              </a:solidFill>
              <a:round/>
              <a:headEnd/>
              <a:tailEnd/>
            </a:ln>
          </p:spPr>
        </p:cxnSp>
        <p:cxnSp>
          <p:nvCxnSpPr>
            <p:cNvPr id="458" name="Straight Connector 97"/>
            <p:cNvCxnSpPr>
              <a:cxnSpLocks noChangeShapeType="1"/>
            </p:cNvCxnSpPr>
            <p:nvPr/>
          </p:nvCxnSpPr>
          <p:spPr bwMode="auto">
            <a:xfrm rot="16200000" flipV="1">
              <a:off x="7288994" y="3737485"/>
              <a:ext cx="88900" cy="249238"/>
            </a:xfrm>
            <a:prstGeom prst="line">
              <a:avLst/>
            </a:prstGeom>
            <a:noFill/>
            <a:ln w="9525" algn="ctr">
              <a:solidFill>
                <a:srgbClr val="969696"/>
              </a:solidFill>
              <a:round/>
              <a:headEnd/>
              <a:tailEnd/>
            </a:ln>
          </p:spPr>
        </p:cxnSp>
        <p:cxnSp>
          <p:nvCxnSpPr>
            <p:cNvPr id="459" name="Straight Connector 101"/>
            <p:cNvCxnSpPr>
              <a:cxnSpLocks noChangeShapeType="1"/>
            </p:cNvCxnSpPr>
            <p:nvPr/>
          </p:nvCxnSpPr>
          <p:spPr bwMode="auto">
            <a:xfrm rot="10800000">
              <a:off x="6821475" y="3798604"/>
              <a:ext cx="212725" cy="19050"/>
            </a:xfrm>
            <a:prstGeom prst="line">
              <a:avLst/>
            </a:prstGeom>
            <a:noFill/>
            <a:ln w="9525" algn="ctr">
              <a:solidFill>
                <a:srgbClr val="969696"/>
              </a:solidFill>
              <a:round/>
              <a:headEnd/>
              <a:tailEnd/>
            </a:ln>
          </p:spPr>
        </p:cxnSp>
        <p:cxnSp>
          <p:nvCxnSpPr>
            <p:cNvPr id="460" name="Straight Connector 104"/>
            <p:cNvCxnSpPr>
              <a:cxnSpLocks noChangeShapeType="1"/>
            </p:cNvCxnSpPr>
            <p:nvPr/>
          </p:nvCxnSpPr>
          <p:spPr bwMode="auto">
            <a:xfrm rot="16200000" flipV="1">
              <a:off x="6782581" y="3875598"/>
              <a:ext cx="212725" cy="185738"/>
            </a:xfrm>
            <a:prstGeom prst="line">
              <a:avLst/>
            </a:prstGeom>
            <a:noFill/>
            <a:ln w="9525" algn="ctr">
              <a:solidFill>
                <a:srgbClr val="969696"/>
              </a:solidFill>
              <a:round/>
              <a:headEnd/>
              <a:tailEnd/>
            </a:ln>
          </p:spPr>
        </p:cxnSp>
        <p:cxnSp>
          <p:nvCxnSpPr>
            <p:cNvPr id="461" name="Straight Connector 106"/>
            <p:cNvCxnSpPr>
              <a:cxnSpLocks noChangeShapeType="1"/>
            </p:cNvCxnSpPr>
            <p:nvPr/>
          </p:nvCxnSpPr>
          <p:spPr bwMode="auto">
            <a:xfrm rot="10800000" flipV="1">
              <a:off x="7185013" y="4492341"/>
              <a:ext cx="258762" cy="96838"/>
            </a:xfrm>
            <a:prstGeom prst="line">
              <a:avLst/>
            </a:prstGeom>
            <a:noFill/>
            <a:ln w="9525" algn="ctr">
              <a:solidFill>
                <a:srgbClr val="969696"/>
              </a:solidFill>
              <a:round/>
              <a:headEnd/>
              <a:tailEnd/>
            </a:ln>
          </p:spPr>
        </p:cxnSp>
        <p:cxnSp>
          <p:nvCxnSpPr>
            <p:cNvPr id="462" name="Straight Connector 108"/>
            <p:cNvCxnSpPr>
              <a:cxnSpLocks noChangeShapeType="1"/>
            </p:cNvCxnSpPr>
            <p:nvPr/>
          </p:nvCxnSpPr>
          <p:spPr bwMode="auto">
            <a:xfrm rot="10800000">
              <a:off x="6694475" y="4495516"/>
              <a:ext cx="314325" cy="93663"/>
            </a:xfrm>
            <a:prstGeom prst="line">
              <a:avLst/>
            </a:prstGeom>
            <a:noFill/>
            <a:ln w="9525" algn="ctr">
              <a:solidFill>
                <a:srgbClr val="969696"/>
              </a:solidFill>
              <a:round/>
              <a:headEnd/>
              <a:tailEnd/>
            </a:ln>
          </p:spPr>
        </p:cxnSp>
        <p:cxnSp>
          <p:nvCxnSpPr>
            <p:cNvPr id="463" name="Straight Connector 110"/>
            <p:cNvCxnSpPr>
              <a:cxnSpLocks noChangeShapeType="1"/>
            </p:cNvCxnSpPr>
            <p:nvPr/>
          </p:nvCxnSpPr>
          <p:spPr bwMode="auto">
            <a:xfrm rot="16200000" flipV="1">
              <a:off x="5968987" y="3855754"/>
              <a:ext cx="682625" cy="469900"/>
            </a:xfrm>
            <a:prstGeom prst="line">
              <a:avLst/>
            </a:prstGeom>
            <a:noFill/>
            <a:ln w="9525" algn="ctr">
              <a:solidFill>
                <a:srgbClr val="969696"/>
              </a:solidFill>
              <a:round/>
              <a:headEnd/>
              <a:tailEnd/>
            </a:ln>
          </p:spPr>
        </p:cxnSp>
        <p:grpSp>
          <p:nvGrpSpPr>
            <p:cNvPr id="15" name="Group 111"/>
            <p:cNvGrpSpPr>
              <a:grpSpLocks/>
            </p:cNvGrpSpPr>
            <p:nvPr/>
          </p:nvGrpSpPr>
          <p:grpSpPr bwMode="auto">
            <a:xfrm>
              <a:off x="4416821" y="4285966"/>
              <a:ext cx="174625" cy="179387"/>
              <a:chOff x="8053381" y="4195958"/>
              <a:chExt cx="228600" cy="228600"/>
            </a:xfrm>
          </p:grpSpPr>
          <p:sp>
            <p:nvSpPr>
              <p:cNvPr id="619" name="Oval 618"/>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620" name="Oval 619"/>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cxnSp>
          <p:nvCxnSpPr>
            <p:cNvPr id="465" name="Straight Connector 114"/>
            <p:cNvCxnSpPr>
              <a:cxnSpLocks noChangeShapeType="1"/>
              <a:endCxn id="452" idx="2"/>
            </p:cNvCxnSpPr>
            <p:nvPr/>
          </p:nvCxnSpPr>
          <p:spPr bwMode="auto">
            <a:xfrm rot="5400000" flipH="1" flipV="1">
              <a:off x="4408517" y="3992651"/>
              <a:ext cx="388932" cy="197698"/>
            </a:xfrm>
            <a:prstGeom prst="line">
              <a:avLst/>
            </a:prstGeom>
            <a:noFill/>
            <a:ln w="9525" algn="ctr">
              <a:solidFill>
                <a:srgbClr val="969696"/>
              </a:solidFill>
              <a:round/>
              <a:headEnd/>
              <a:tailEnd/>
            </a:ln>
          </p:spPr>
        </p:cxnSp>
        <p:sp>
          <p:nvSpPr>
            <p:cNvPr id="466" name="TextBox 127"/>
            <p:cNvSpPr txBox="1">
              <a:spLocks noChangeArrowheads="1"/>
            </p:cNvSpPr>
            <p:nvPr/>
          </p:nvSpPr>
          <p:spPr bwMode="auto">
            <a:xfrm>
              <a:off x="4684039" y="3399004"/>
              <a:ext cx="953104" cy="363314"/>
            </a:xfrm>
            <a:prstGeom prst="rect">
              <a:avLst/>
            </a:prstGeom>
            <a:noFill/>
            <a:ln w="9525">
              <a:noFill/>
              <a:miter lim="800000"/>
              <a:headEnd/>
              <a:tailEnd/>
            </a:ln>
          </p:spPr>
          <p:txBody>
            <a:bodyPr wrap="none">
              <a:spAutoFit/>
            </a:bodyPr>
            <a:lstStyle/>
            <a:p>
              <a:pPr>
                <a:spcBef>
                  <a:spcPct val="50000"/>
                </a:spcBef>
              </a:pPr>
              <a:r>
                <a:rPr lang="en-US" sz="800" b="1" i="0" dirty="0" smtClean="0">
                  <a:latin typeface="Calibri" pitchFamily="34" charset="0"/>
                </a:rPr>
                <a:t>BSC-RNC</a:t>
              </a:r>
              <a:endParaRPr lang="en-US" sz="800" b="1" i="0" dirty="0">
                <a:latin typeface="Calibri" pitchFamily="34" charset="0"/>
              </a:endParaRPr>
            </a:p>
          </p:txBody>
        </p:sp>
        <p:sp>
          <p:nvSpPr>
            <p:cNvPr id="467" name="TextBox 131"/>
            <p:cNvSpPr txBox="1">
              <a:spLocks noChangeArrowheads="1"/>
            </p:cNvSpPr>
            <p:nvPr/>
          </p:nvSpPr>
          <p:spPr bwMode="auto">
            <a:xfrm>
              <a:off x="5788013" y="3325529"/>
              <a:ext cx="568325" cy="215900"/>
            </a:xfrm>
            <a:prstGeom prst="rect">
              <a:avLst/>
            </a:prstGeom>
            <a:noFill/>
            <a:ln w="9525">
              <a:noFill/>
              <a:miter lim="800000"/>
              <a:headEnd/>
              <a:tailEnd/>
            </a:ln>
          </p:spPr>
          <p:txBody>
            <a:bodyPr wrap="none">
              <a:spAutoFit/>
            </a:bodyPr>
            <a:lstStyle/>
            <a:p>
              <a:pPr>
                <a:spcBef>
                  <a:spcPct val="50000"/>
                </a:spcBef>
              </a:pPr>
              <a:r>
                <a:rPr lang="en-US" sz="800" b="1" i="0" smtClean="0">
                  <a:latin typeface="Calibri" pitchFamily="34" charset="0"/>
                </a:rPr>
                <a:t>POP MW</a:t>
              </a:r>
              <a:endParaRPr lang="en-US" sz="800" b="1" i="0" dirty="0">
                <a:latin typeface="Calibri" pitchFamily="34" charset="0"/>
              </a:endParaRPr>
            </a:p>
          </p:txBody>
        </p:sp>
        <p:grpSp>
          <p:nvGrpSpPr>
            <p:cNvPr id="16" name="Group 188"/>
            <p:cNvGrpSpPr/>
            <p:nvPr/>
          </p:nvGrpSpPr>
          <p:grpSpPr>
            <a:xfrm flipH="1">
              <a:off x="1919944" y="2433757"/>
              <a:ext cx="1830387" cy="1903412"/>
              <a:chOff x="952455" y="2736052"/>
              <a:chExt cx="1830387" cy="1903412"/>
            </a:xfrm>
          </p:grpSpPr>
          <p:grpSp>
            <p:nvGrpSpPr>
              <p:cNvPr id="17" name="Group 48"/>
              <p:cNvGrpSpPr>
                <a:grpSpLocks/>
              </p:cNvGrpSpPr>
              <p:nvPr/>
            </p:nvGrpSpPr>
            <p:grpSpPr bwMode="auto">
              <a:xfrm>
                <a:off x="2465342" y="2736052"/>
                <a:ext cx="174625" cy="180975"/>
                <a:chOff x="8053381" y="4195958"/>
                <a:chExt cx="228600" cy="228600"/>
              </a:xfrm>
            </p:grpSpPr>
            <p:sp>
              <p:nvSpPr>
                <p:cNvPr id="617" name="Oval 616"/>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618" name="Oval 617"/>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18" name="Group 49"/>
              <p:cNvGrpSpPr>
                <a:grpSpLocks/>
              </p:cNvGrpSpPr>
              <p:nvPr/>
            </p:nvGrpSpPr>
            <p:grpSpPr bwMode="auto">
              <a:xfrm>
                <a:off x="2563767" y="3066252"/>
                <a:ext cx="174625" cy="180975"/>
                <a:chOff x="8053381" y="4195958"/>
                <a:chExt cx="228600" cy="228600"/>
              </a:xfrm>
            </p:grpSpPr>
            <p:sp>
              <p:nvSpPr>
                <p:cNvPr id="615" name="Oval 614"/>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616" name="Oval 615"/>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19" name="Group 52"/>
              <p:cNvGrpSpPr>
                <a:grpSpLocks/>
              </p:cNvGrpSpPr>
              <p:nvPr/>
            </p:nvGrpSpPr>
            <p:grpSpPr bwMode="auto">
              <a:xfrm>
                <a:off x="2455817" y="3423439"/>
                <a:ext cx="176213" cy="180975"/>
                <a:chOff x="8053381" y="4195958"/>
                <a:chExt cx="228600" cy="228600"/>
              </a:xfrm>
            </p:grpSpPr>
            <p:sp>
              <p:nvSpPr>
                <p:cNvPr id="613" name="Oval 612"/>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614" name="Oval 613"/>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20" name="Group 55"/>
              <p:cNvGrpSpPr>
                <a:grpSpLocks/>
              </p:cNvGrpSpPr>
              <p:nvPr/>
            </p:nvGrpSpPr>
            <p:grpSpPr bwMode="auto">
              <a:xfrm>
                <a:off x="2035130" y="3056727"/>
                <a:ext cx="176212" cy="180975"/>
                <a:chOff x="8053381" y="4195958"/>
                <a:chExt cx="228600" cy="228600"/>
              </a:xfrm>
            </p:grpSpPr>
            <p:sp>
              <p:nvSpPr>
                <p:cNvPr id="611" name="Oval 610"/>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612" name="Oval 611"/>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21" name="Group 58"/>
              <p:cNvGrpSpPr>
                <a:grpSpLocks/>
              </p:cNvGrpSpPr>
              <p:nvPr/>
            </p:nvGrpSpPr>
            <p:grpSpPr bwMode="auto">
              <a:xfrm>
                <a:off x="2597105" y="3840952"/>
                <a:ext cx="174625" cy="179387"/>
                <a:chOff x="8053381" y="4195958"/>
                <a:chExt cx="228600" cy="228600"/>
              </a:xfrm>
            </p:grpSpPr>
            <p:sp>
              <p:nvSpPr>
                <p:cNvPr id="609" name="Oval 608"/>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610" name="Oval 609"/>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22" name="Group 61"/>
              <p:cNvGrpSpPr>
                <a:grpSpLocks/>
              </p:cNvGrpSpPr>
              <p:nvPr/>
            </p:nvGrpSpPr>
            <p:grpSpPr bwMode="auto">
              <a:xfrm>
                <a:off x="2198642" y="3686964"/>
                <a:ext cx="174625" cy="180975"/>
                <a:chOff x="8053381" y="4195958"/>
                <a:chExt cx="228600" cy="228600"/>
              </a:xfrm>
            </p:grpSpPr>
            <p:sp>
              <p:nvSpPr>
                <p:cNvPr id="607" name="Oval 606"/>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608" name="Oval 607"/>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23" name="Group 64"/>
              <p:cNvGrpSpPr>
                <a:grpSpLocks/>
              </p:cNvGrpSpPr>
              <p:nvPr/>
            </p:nvGrpSpPr>
            <p:grpSpPr bwMode="auto">
              <a:xfrm>
                <a:off x="1809705" y="3667914"/>
                <a:ext cx="176212" cy="179388"/>
                <a:chOff x="8053381" y="4195958"/>
                <a:chExt cx="228600" cy="228600"/>
              </a:xfrm>
            </p:grpSpPr>
            <p:sp>
              <p:nvSpPr>
                <p:cNvPr id="605" name="Oval 604"/>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606" name="Oval 605"/>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24" name="Group 67"/>
              <p:cNvGrpSpPr>
                <a:grpSpLocks/>
              </p:cNvGrpSpPr>
              <p:nvPr/>
            </p:nvGrpSpPr>
            <p:grpSpPr bwMode="auto">
              <a:xfrm>
                <a:off x="2119267" y="4009227"/>
                <a:ext cx="176213" cy="179387"/>
                <a:chOff x="8053381" y="4195958"/>
                <a:chExt cx="228600" cy="228600"/>
              </a:xfrm>
            </p:grpSpPr>
            <p:sp>
              <p:nvSpPr>
                <p:cNvPr id="603" name="Oval 602"/>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604" name="Oval 603"/>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25" name="Group 70"/>
              <p:cNvGrpSpPr>
                <a:grpSpLocks/>
              </p:cNvGrpSpPr>
              <p:nvPr/>
            </p:nvGrpSpPr>
            <p:grpSpPr bwMode="auto">
              <a:xfrm>
                <a:off x="2608217" y="4361652"/>
                <a:ext cx="174625" cy="179387"/>
                <a:chOff x="8053381" y="4195958"/>
                <a:chExt cx="228600" cy="228600"/>
              </a:xfrm>
            </p:grpSpPr>
            <p:sp>
              <p:nvSpPr>
                <p:cNvPr id="601" name="Oval 600"/>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prst="relaxedInset"/>
                </a:sp3d>
              </p:spPr>
              <p:txBody>
                <a:bodyPr wrap="none" lIns="0" tIns="0" rIns="0" bIns="0" anchor="ctr"/>
                <a:lstStyle/>
                <a:p>
                  <a:pPr algn="ctr" defTabSz="873125" eaLnBrk="0" hangingPunct="0">
                    <a:defRPr/>
                  </a:pPr>
                  <a:endParaRPr lang="en-US" dirty="0">
                    <a:cs typeface="Arial" pitchFamily="34" charset="0"/>
                  </a:endParaRPr>
                </a:p>
              </p:txBody>
            </p:sp>
            <p:sp>
              <p:nvSpPr>
                <p:cNvPr id="602" name="Oval 601"/>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prst="relaxedInse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26" name="Group 73"/>
              <p:cNvGrpSpPr>
                <a:grpSpLocks/>
              </p:cNvGrpSpPr>
              <p:nvPr/>
            </p:nvGrpSpPr>
            <p:grpSpPr bwMode="auto">
              <a:xfrm>
                <a:off x="2173242" y="4458489"/>
                <a:ext cx="176213" cy="180975"/>
                <a:chOff x="8053381" y="4195958"/>
                <a:chExt cx="228600" cy="228600"/>
              </a:xfrm>
            </p:grpSpPr>
            <p:sp>
              <p:nvSpPr>
                <p:cNvPr id="599" name="Oval 598"/>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600" name="Oval 599"/>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27" name="Group 76"/>
              <p:cNvGrpSpPr>
                <a:grpSpLocks/>
              </p:cNvGrpSpPr>
              <p:nvPr/>
            </p:nvGrpSpPr>
            <p:grpSpPr bwMode="auto">
              <a:xfrm>
                <a:off x="1684292" y="4366414"/>
                <a:ext cx="174625" cy="179388"/>
                <a:chOff x="8053381" y="4195958"/>
                <a:chExt cx="228600" cy="228600"/>
              </a:xfrm>
            </p:grpSpPr>
            <p:sp>
              <p:nvSpPr>
                <p:cNvPr id="597" name="Oval 596"/>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98" name="Oval 597"/>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28" name="Group 485"/>
              <p:cNvGrpSpPr>
                <a:grpSpLocks/>
              </p:cNvGrpSpPr>
              <p:nvPr/>
            </p:nvGrpSpPr>
            <p:grpSpPr bwMode="auto">
              <a:xfrm>
                <a:off x="1152480" y="3529802"/>
                <a:ext cx="176212" cy="179387"/>
                <a:chOff x="8053381" y="4195958"/>
                <a:chExt cx="228600" cy="228600"/>
              </a:xfrm>
            </p:grpSpPr>
            <p:sp>
              <p:nvSpPr>
                <p:cNvPr id="595" name="Oval 594"/>
                <p:cNvSpPr/>
                <p:nvPr/>
              </p:nvSpPr>
              <p:spPr bwMode="auto">
                <a:xfrm>
                  <a:off x="8053381" y="4195958"/>
                  <a:ext cx="228600" cy="228600"/>
                </a:xfrm>
                <a:prstGeom prst="ellipse">
                  <a:avLst/>
                </a:prstGeom>
                <a:solidFill>
                  <a:srgbClr val="33CC33"/>
                </a:solidFill>
                <a:ln w="9525" cap="flat" cmpd="sng" algn="ctr">
                  <a:solidFill>
                    <a:schemeClr val="tx1">
                      <a:lumMod val="95000"/>
                      <a:lumOff val="5000"/>
                    </a:schemeClr>
                  </a:solidFill>
                  <a:prstDash val="solid"/>
                  <a:round/>
                  <a:headEnd type="none" w="med" len="med"/>
                  <a:tailEnd type="none" w="med" len="med"/>
                </a:ln>
                <a:effectLst/>
                <a:scene3d>
                  <a:camera prst="orthographicFront"/>
                  <a:lightRig rig="threePt" dir="t"/>
                </a:scene3d>
                <a:sp3d>
                  <a:bevelT w="152400" h="50800" prst="softRound"/>
                </a:sp3d>
              </p:spPr>
              <p:txBody>
                <a:bodyPr wrap="none" lIns="0" tIns="0" rIns="0" bIns="0" anchor="ctr"/>
                <a:lstStyle/>
                <a:p>
                  <a:pPr algn="ctr" defTabSz="873125" eaLnBrk="0" hangingPunct="0">
                    <a:defRPr/>
                  </a:pPr>
                  <a:endParaRPr lang="en-US" dirty="0">
                    <a:cs typeface="Arial" pitchFamily="34" charset="0"/>
                  </a:endParaRPr>
                </a:p>
              </p:txBody>
            </p:sp>
            <p:sp>
              <p:nvSpPr>
                <p:cNvPr id="596" name="Oval 595"/>
                <p:cNvSpPr/>
                <p:nvPr/>
              </p:nvSpPr>
              <p:spPr bwMode="auto">
                <a:xfrm>
                  <a:off x="8109348" y="4253475"/>
                  <a:ext cx="116666" cy="114950"/>
                </a:xfrm>
                <a:prstGeom prst="ellipse">
                  <a:avLst/>
                </a:prstGeom>
                <a:solidFill>
                  <a:srgbClr val="FF0000"/>
                </a:solidFill>
                <a:ln w="9525" cap="flat" cmpd="sng" algn="ctr">
                  <a:solidFill>
                    <a:schemeClr val="tx1">
                      <a:lumMod val="95000"/>
                      <a:lumOff val="5000"/>
                    </a:schemeClr>
                  </a:solidFill>
                  <a:prstDash val="solid"/>
                  <a:round/>
                  <a:headEnd type="none" w="med" len="med"/>
                  <a:tailEnd type="none" w="med" len="med"/>
                </a:ln>
                <a:effectLst/>
                <a:scene3d>
                  <a:camera prst="orthographicFront"/>
                  <a:lightRig rig="threePt" dir="t"/>
                </a:scene3d>
                <a:sp3d>
                  <a:bevelT w="152400" h="50800" prst="softRound"/>
                </a:sp3d>
              </p:spPr>
              <p:txBody>
                <a:bodyPr wrap="none" lIns="0" tIns="0" rIns="0" bIns="0" anchor="ctr"/>
                <a:lstStyle/>
                <a:p>
                  <a:pPr algn="ctr" defTabSz="873125" eaLnBrk="0" hangingPunct="0">
                    <a:defRPr/>
                  </a:pPr>
                  <a:endParaRPr lang="en-US" dirty="0">
                    <a:cs typeface="Arial" pitchFamily="34" charset="0"/>
                  </a:endParaRPr>
                </a:p>
              </p:txBody>
            </p:sp>
          </p:grpSp>
          <p:cxnSp>
            <p:nvCxnSpPr>
              <p:cNvPr id="583" name="Straight Connector 84"/>
              <p:cNvCxnSpPr>
                <a:cxnSpLocks noChangeShapeType="1"/>
              </p:cNvCxnSpPr>
              <p:nvPr/>
            </p:nvCxnSpPr>
            <p:spPr bwMode="auto">
              <a:xfrm rot="5400000">
                <a:off x="2240711" y="2833683"/>
                <a:ext cx="193675" cy="306387"/>
              </a:xfrm>
              <a:prstGeom prst="line">
                <a:avLst/>
              </a:prstGeom>
              <a:noFill/>
              <a:ln w="9525" algn="ctr">
                <a:solidFill>
                  <a:srgbClr val="969696"/>
                </a:solidFill>
                <a:round/>
                <a:headEnd/>
                <a:tailEnd/>
              </a:ln>
            </p:spPr>
          </p:cxnSp>
          <p:cxnSp>
            <p:nvCxnSpPr>
              <p:cNvPr id="584" name="Straight Connector 86"/>
              <p:cNvCxnSpPr>
                <a:cxnSpLocks noChangeShapeType="1"/>
              </p:cNvCxnSpPr>
              <p:nvPr/>
            </p:nvCxnSpPr>
            <p:spPr bwMode="auto">
              <a:xfrm rot="10800000">
                <a:off x="2211342" y="3147214"/>
                <a:ext cx="352425" cy="9525"/>
              </a:xfrm>
              <a:prstGeom prst="line">
                <a:avLst/>
              </a:prstGeom>
              <a:noFill/>
              <a:ln w="9525" algn="ctr">
                <a:solidFill>
                  <a:srgbClr val="969696"/>
                </a:solidFill>
                <a:round/>
                <a:headEnd/>
                <a:tailEnd/>
              </a:ln>
            </p:spPr>
          </p:cxnSp>
          <p:cxnSp>
            <p:nvCxnSpPr>
              <p:cNvPr id="585" name="Straight Connector 88"/>
              <p:cNvCxnSpPr>
                <a:cxnSpLocks noChangeShapeType="1"/>
              </p:cNvCxnSpPr>
              <p:nvPr/>
            </p:nvCxnSpPr>
            <p:spPr bwMode="auto">
              <a:xfrm rot="10800000">
                <a:off x="2184355" y="3210714"/>
                <a:ext cx="271462" cy="303213"/>
              </a:xfrm>
              <a:prstGeom prst="line">
                <a:avLst/>
              </a:prstGeom>
              <a:noFill/>
              <a:ln w="9525" algn="ctr">
                <a:solidFill>
                  <a:srgbClr val="969696"/>
                </a:solidFill>
                <a:round/>
                <a:headEnd/>
                <a:tailEnd/>
              </a:ln>
            </p:spPr>
          </p:cxnSp>
          <p:cxnSp>
            <p:nvCxnSpPr>
              <p:cNvPr id="586" name="Straight Connector 90"/>
              <p:cNvCxnSpPr>
                <a:cxnSpLocks noChangeShapeType="1"/>
              </p:cNvCxnSpPr>
              <p:nvPr/>
            </p:nvCxnSpPr>
            <p:spPr bwMode="auto">
              <a:xfrm rot="10800000" flipV="1">
                <a:off x="1301705" y="3147214"/>
                <a:ext cx="733425" cy="407988"/>
              </a:xfrm>
              <a:prstGeom prst="line">
                <a:avLst/>
              </a:prstGeom>
              <a:noFill/>
              <a:ln w="9525" algn="ctr">
                <a:solidFill>
                  <a:srgbClr val="969696"/>
                </a:solidFill>
                <a:round/>
                <a:headEnd/>
                <a:tailEnd/>
              </a:ln>
            </p:spPr>
          </p:cxnSp>
          <p:cxnSp>
            <p:nvCxnSpPr>
              <p:cNvPr id="587" name="Straight Connector 92"/>
              <p:cNvCxnSpPr>
                <a:cxnSpLocks noChangeShapeType="1"/>
              </p:cNvCxnSpPr>
              <p:nvPr/>
            </p:nvCxnSpPr>
            <p:spPr bwMode="auto">
              <a:xfrm rot="10800000">
                <a:off x="1285830" y="3620289"/>
                <a:ext cx="523875" cy="138113"/>
              </a:xfrm>
              <a:prstGeom prst="line">
                <a:avLst/>
              </a:prstGeom>
              <a:noFill/>
              <a:ln w="9525" algn="ctr">
                <a:solidFill>
                  <a:srgbClr val="969696"/>
                </a:solidFill>
                <a:round/>
                <a:headEnd/>
                <a:tailEnd/>
              </a:ln>
            </p:spPr>
          </p:cxnSp>
          <p:cxnSp>
            <p:nvCxnSpPr>
              <p:cNvPr id="588" name="Straight Connector 97"/>
              <p:cNvCxnSpPr>
                <a:cxnSpLocks noChangeShapeType="1"/>
              </p:cNvCxnSpPr>
              <p:nvPr/>
            </p:nvCxnSpPr>
            <p:spPr bwMode="auto">
              <a:xfrm rot="16200000" flipV="1">
                <a:off x="2453436" y="3697283"/>
                <a:ext cx="88900" cy="249238"/>
              </a:xfrm>
              <a:prstGeom prst="line">
                <a:avLst/>
              </a:prstGeom>
              <a:noFill/>
              <a:ln w="9525" algn="ctr">
                <a:solidFill>
                  <a:srgbClr val="969696"/>
                </a:solidFill>
                <a:round/>
                <a:headEnd/>
                <a:tailEnd/>
              </a:ln>
            </p:spPr>
          </p:cxnSp>
          <p:cxnSp>
            <p:nvCxnSpPr>
              <p:cNvPr id="589" name="Straight Connector 101"/>
              <p:cNvCxnSpPr>
                <a:cxnSpLocks noChangeShapeType="1"/>
              </p:cNvCxnSpPr>
              <p:nvPr/>
            </p:nvCxnSpPr>
            <p:spPr bwMode="auto">
              <a:xfrm rot="10800000">
                <a:off x="1985917" y="3758402"/>
                <a:ext cx="212725" cy="19050"/>
              </a:xfrm>
              <a:prstGeom prst="line">
                <a:avLst/>
              </a:prstGeom>
              <a:noFill/>
              <a:ln w="9525" algn="ctr">
                <a:solidFill>
                  <a:srgbClr val="969696"/>
                </a:solidFill>
                <a:round/>
                <a:headEnd/>
                <a:tailEnd/>
              </a:ln>
            </p:spPr>
          </p:cxnSp>
          <p:cxnSp>
            <p:nvCxnSpPr>
              <p:cNvPr id="590" name="Straight Connector 104"/>
              <p:cNvCxnSpPr>
                <a:cxnSpLocks noChangeShapeType="1"/>
              </p:cNvCxnSpPr>
              <p:nvPr/>
            </p:nvCxnSpPr>
            <p:spPr bwMode="auto">
              <a:xfrm rot="16200000" flipV="1">
                <a:off x="1947023" y="3835396"/>
                <a:ext cx="212725" cy="185738"/>
              </a:xfrm>
              <a:prstGeom prst="line">
                <a:avLst/>
              </a:prstGeom>
              <a:noFill/>
              <a:ln w="9525" algn="ctr">
                <a:solidFill>
                  <a:srgbClr val="969696"/>
                </a:solidFill>
                <a:round/>
                <a:headEnd/>
                <a:tailEnd/>
              </a:ln>
            </p:spPr>
          </p:cxnSp>
          <p:cxnSp>
            <p:nvCxnSpPr>
              <p:cNvPr id="591" name="Straight Connector 106"/>
              <p:cNvCxnSpPr>
                <a:cxnSpLocks noChangeShapeType="1"/>
              </p:cNvCxnSpPr>
              <p:nvPr/>
            </p:nvCxnSpPr>
            <p:spPr bwMode="auto">
              <a:xfrm rot="10800000" flipV="1">
                <a:off x="2349455" y="4452139"/>
                <a:ext cx="258762" cy="96838"/>
              </a:xfrm>
              <a:prstGeom prst="line">
                <a:avLst/>
              </a:prstGeom>
              <a:noFill/>
              <a:ln w="9525" algn="ctr">
                <a:solidFill>
                  <a:srgbClr val="969696"/>
                </a:solidFill>
                <a:round/>
                <a:headEnd/>
                <a:tailEnd/>
              </a:ln>
            </p:spPr>
          </p:cxnSp>
          <p:cxnSp>
            <p:nvCxnSpPr>
              <p:cNvPr id="592" name="Straight Connector 108"/>
              <p:cNvCxnSpPr>
                <a:cxnSpLocks noChangeShapeType="1"/>
              </p:cNvCxnSpPr>
              <p:nvPr/>
            </p:nvCxnSpPr>
            <p:spPr bwMode="auto">
              <a:xfrm rot="10800000">
                <a:off x="1858917" y="4455314"/>
                <a:ext cx="314325" cy="93663"/>
              </a:xfrm>
              <a:prstGeom prst="line">
                <a:avLst/>
              </a:prstGeom>
              <a:noFill/>
              <a:ln w="9525" algn="ctr">
                <a:solidFill>
                  <a:srgbClr val="969696"/>
                </a:solidFill>
                <a:round/>
                <a:headEnd/>
                <a:tailEnd/>
              </a:ln>
            </p:spPr>
          </p:cxnSp>
          <p:cxnSp>
            <p:nvCxnSpPr>
              <p:cNvPr id="593" name="Straight Connector 110"/>
              <p:cNvCxnSpPr>
                <a:cxnSpLocks noChangeShapeType="1"/>
              </p:cNvCxnSpPr>
              <p:nvPr/>
            </p:nvCxnSpPr>
            <p:spPr bwMode="auto">
              <a:xfrm rot="16200000" flipV="1">
                <a:off x="1133429" y="3815552"/>
                <a:ext cx="682625" cy="469900"/>
              </a:xfrm>
              <a:prstGeom prst="line">
                <a:avLst/>
              </a:prstGeom>
              <a:noFill/>
              <a:ln w="9525" algn="ctr">
                <a:solidFill>
                  <a:srgbClr val="969696"/>
                </a:solidFill>
                <a:round/>
                <a:headEnd/>
                <a:tailEnd/>
              </a:ln>
            </p:spPr>
          </p:cxnSp>
          <p:sp>
            <p:nvSpPr>
              <p:cNvPr id="594" name="TextBox 131"/>
              <p:cNvSpPr txBox="1">
                <a:spLocks noChangeArrowheads="1"/>
              </p:cNvSpPr>
              <p:nvPr/>
            </p:nvSpPr>
            <p:spPr bwMode="auto">
              <a:xfrm>
                <a:off x="952455" y="3285327"/>
                <a:ext cx="568325" cy="215900"/>
              </a:xfrm>
              <a:prstGeom prst="rect">
                <a:avLst/>
              </a:prstGeom>
              <a:noFill/>
              <a:ln w="9525">
                <a:noFill/>
                <a:miter lim="800000"/>
                <a:headEnd/>
                <a:tailEnd/>
              </a:ln>
            </p:spPr>
            <p:txBody>
              <a:bodyPr wrap="none">
                <a:spAutoFit/>
              </a:bodyPr>
              <a:lstStyle/>
              <a:p>
                <a:pPr>
                  <a:spcBef>
                    <a:spcPct val="50000"/>
                  </a:spcBef>
                </a:pPr>
                <a:r>
                  <a:rPr lang="en-US" sz="800" b="1" i="0" smtClean="0">
                    <a:latin typeface="Calibri" pitchFamily="34" charset="0"/>
                  </a:rPr>
                  <a:t>POP MW</a:t>
                </a:r>
                <a:endParaRPr lang="en-US" sz="800" b="1" i="0" dirty="0">
                  <a:latin typeface="Calibri" pitchFamily="34" charset="0"/>
                </a:endParaRPr>
              </a:p>
            </p:txBody>
          </p:sp>
        </p:grpSp>
        <p:grpSp>
          <p:nvGrpSpPr>
            <p:cNvPr id="29" name="Group 48"/>
            <p:cNvGrpSpPr>
              <a:grpSpLocks/>
            </p:cNvGrpSpPr>
            <p:nvPr/>
          </p:nvGrpSpPr>
          <p:grpSpPr bwMode="auto">
            <a:xfrm flipH="1">
              <a:off x="2398685" y="4700708"/>
              <a:ext cx="174625" cy="180975"/>
              <a:chOff x="8053381" y="4195958"/>
              <a:chExt cx="228600" cy="228600"/>
            </a:xfrm>
          </p:grpSpPr>
          <p:sp>
            <p:nvSpPr>
              <p:cNvPr id="569" name="Oval 568"/>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70" name="Oval 569"/>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30" name="Group 49"/>
            <p:cNvGrpSpPr>
              <a:grpSpLocks/>
            </p:cNvGrpSpPr>
            <p:nvPr/>
          </p:nvGrpSpPr>
          <p:grpSpPr bwMode="auto">
            <a:xfrm flipH="1">
              <a:off x="2300260" y="5030908"/>
              <a:ext cx="174625" cy="180975"/>
              <a:chOff x="8053381" y="4195958"/>
              <a:chExt cx="228600" cy="228600"/>
            </a:xfrm>
          </p:grpSpPr>
          <p:sp>
            <p:nvSpPr>
              <p:cNvPr id="567" name="Oval 566"/>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68" name="Oval 567"/>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31" name="Group 52"/>
            <p:cNvGrpSpPr>
              <a:grpSpLocks/>
            </p:cNvGrpSpPr>
            <p:nvPr/>
          </p:nvGrpSpPr>
          <p:grpSpPr bwMode="auto">
            <a:xfrm flipH="1">
              <a:off x="2406622" y="5388095"/>
              <a:ext cx="176213" cy="180975"/>
              <a:chOff x="8053381" y="4195958"/>
              <a:chExt cx="228600" cy="228600"/>
            </a:xfrm>
          </p:grpSpPr>
          <p:sp>
            <p:nvSpPr>
              <p:cNvPr id="565" name="Oval 564"/>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66" name="Oval 565"/>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192" name="Group 55"/>
            <p:cNvGrpSpPr>
              <a:grpSpLocks/>
            </p:cNvGrpSpPr>
            <p:nvPr/>
          </p:nvGrpSpPr>
          <p:grpSpPr bwMode="auto">
            <a:xfrm flipH="1">
              <a:off x="2827310" y="5021383"/>
              <a:ext cx="176212" cy="180975"/>
              <a:chOff x="8053381" y="4195958"/>
              <a:chExt cx="228600" cy="228600"/>
            </a:xfrm>
          </p:grpSpPr>
          <p:sp>
            <p:nvSpPr>
              <p:cNvPr id="563" name="Oval 562"/>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64" name="Oval 563"/>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193" name="Group 58"/>
            <p:cNvGrpSpPr>
              <a:grpSpLocks/>
            </p:cNvGrpSpPr>
            <p:nvPr/>
          </p:nvGrpSpPr>
          <p:grpSpPr bwMode="auto">
            <a:xfrm flipH="1">
              <a:off x="3143234" y="5731002"/>
              <a:ext cx="174625" cy="179387"/>
              <a:chOff x="8053381" y="4195958"/>
              <a:chExt cx="228600" cy="228600"/>
            </a:xfrm>
          </p:grpSpPr>
          <p:sp>
            <p:nvSpPr>
              <p:cNvPr id="561" name="Oval 560"/>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62" name="Oval 561"/>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194" name="Group 61"/>
            <p:cNvGrpSpPr>
              <a:grpSpLocks/>
            </p:cNvGrpSpPr>
            <p:nvPr/>
          </p:nvGrpSpPr>
          <p:grpSpPr bwMode="auto">
            <a:xfrm flipH="1">
              <a:off x="3541697" y="5577014"/>
              <a:ext cx="174625" cy="180975"/>
              <a:chOff x="8053381" y="4195958"/>
              <a:chExt cx="228600" cy="228600"/>
            </a:xfrm>
          </p:grpSpPr>
          <p:sp>
            <p:nvSpPr>
              <p:cNvPr id="559" name="Oval 558"/>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60" name="Oval 559"/>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195" name="Group 64"/>
            <p:cNvGrpSpPr>
              <a:grpSpLocks/>
            </p:cNvGrpSpPr>
            <p:nvPr/>
          </p:nvGrpSpPr>
          <p:grpSpPr bwMode="auto">
            <a:xfrm flipH="1">
              <a:off x="3929047" y="5557964"/>
              <a:ext cx="176212" cy="179388"/>
              <a:chOff x="8053381" y="4195958"/>
              <a:chExt cx="228600" cy="228600"/>
            </a:xfrm>
          </p:grpSpPr>
          <p:sp>
            <p:nvSpPr>
              <p:cNvPr id="557" name="Oval 556"/>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58" name="Oval 557"/>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196" name="Group 67"/>
            <p:cNvGrpSpPr>
              <a:grpSpLocks/>
            </p:cNvGrpSpPr>
            <p:nvPr/>
          </p:nvGrpSpPr>
          <p:grpSpPr bwMode="auto">
            <a:xfrm flipH="1">
              <a:off x="3619484" y="5899277"/>
              <a:ext cx="176213" cy="179387"/>
              <a:chOff x="8053381" y="4195958"/>
              <a:chExt cx="228600" cy="228600"/>
            </a:xfrm>
          </p:grpSpPr>
          <p:sp>
            <p:nvSpPr>
              <p:cNvPr id="555" name="Oval 554"/>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56" name="Oval 555"/>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197" name="Group 70"/>
            <p:cNvGrpSpPr>
              <a:grpSpLocks/>
            </p:cNvGrpSpPr>
            <p:nvPr/>
          </p:nvGrpSpPr>
          <p:grpSpPr bwMode="auto">
            <a:xfrm flipH="1">
              <a:off x="3132122" y="6251702"/>
              <a:ext cx="174625" cy="179387"/>
              <a:chOff x="8053381" y="4195958"/>
              <a:chExt cx="228600" cy="228600"/>
            </a:xfrm>
          </p:grpSpPr>
          <p:sp>
            <p:nvSpPr>
              <p:cNvPr id="553" name="Oval 552"/>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prst="relaxedInset"/>
              </a:sp3d>
            </p:spPr>
            <p:txBody>
              <a:bodyPr wrap="none" lIns="0" tIns="0" rIns="0" bIns="0" anchor="ctr"/>
              <a:lstStyle/>
              <a:p>
                <a:pPr algn="ctr" defTabSz="873125" eaLnBrk="0" hangingPunct="0">
                  <a:defRPr/>
                </a:pPr>
                <a:endParaRPr lang="en-US" dirty="0">
                  <a:cs typeface="Arial" pitchFamily="34" charset="0"/>
                </a:endParaRPr>
              </a:p>
            </p:txBody>
          </p:sp>
          <p:sp>
            <p:nvSpPr>
              <p:cNvPr id="554" name="Oval 553"/>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prst="relaxedInse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198" name="Group 73"/>
            <p:cNvGrpSpPr>
              <a:grpSpLocks/>
            </p:cNvGrpSpPr>
            <p:nvPr/>
          </p:nvGrpSpPr>
          <p:grpSpPr bwMode="auto">
            <a:xfrm flipH="1">
              <a:off x="3565509" y="6348539"/>
              <a:ext cx="176213" cy="180975"/>
              <a:chOff x="8053381" y="4195958"/>
              <a:chExt cx="228600" cy="228600"/>
            </a:xfrm>
          </p:grpSpPr>
          <p:sp>
            <p:nvSpPr>
              <p:cNvPr id="551" name="Oval 550"/>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52" name="Oval 551"/>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199" name="Group 76"/>
            <p:cNvGrpSpPr>
              <a:grpSpLocks/>
            </p:cNvGrpSpPr>
            <p:nvPr/>
          </p:nvGrpSpPr>
          <p:grpSpPr bwMode="auto">
            <a:xfrm flipH="1">
              <a:off x="4056047" y="6256464"/>
              <a:ext cx="174625" cy="179388"/>
              <a:chOff x="8053381" y="4195958"/>
              <a:chExt cx="228600" cy="228600"/>
            </a:xfrm>
          </p:grpSpPr>
          <p:sp>
            <p:nvSpPr>
              <p:cNvPr id="549" name="Oval 548"/>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50" name="Oval 549"/>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200" name="Group 79"/>
            <p:cNvGrpSpPr>
              <a:grpSpLocks/>
            </p:cNvGrpSpPr>
            <p:nvPr/>
          </p:nvGrpSpPr>
          <p:grpSpPr bwMode="auto">
            <a:xfrm flipH="1">
              <a:off x="4586272" y="5419852"/>
              <a:ext cx="176212" cy="179387"/>
              <a:chOff x="8053381" y="4195958"/>
              <a:chExt cx="228600" cy="228600"/>
            </a:xfrm>
          </p:grpSpPr>
          <p:sp>
            <p:nvSpPr>
              <p:cNvPr id="547" name="Oval 546"/>
              <p:cNvSpPr/>
              <p:nvPr/>
            </p:nvSpPr>
            <p:spPr bwMode="auto">
              <a:xfrm>
                <a:off x="8053381" y="4195958"/>
                <a:ext cx="228600" cy="228600"/>
              </a:xfrm>
              <a:prstGeom prst="ellipse">
                <a:avLst/>
              </a:prstGeom>
              <a:solidFill>
                <a:srgbClr val="33CC33"/>
              </a:solidFill>
              <a:ln w="9525" cap="flat" cmpd="sng" algn="ctr">
                <a:solidFill>
                  <a:schemeClr val="tx1">
                    <a:lumMod val="95000"/>
                    <a:lumOff val="5000"/>
                  </a:schemeClr>
                </a:solidFill>
                <a:prstDash val="solid"/>
                <a:round/>
                <a:headEnd type="none" w="med" len="med"/>
                <a:tailEnd type="none" w="med" len="med"/>
              </a:ln>
              <a:effectLst/>
              <a:scene3d>
                <a:camera prst="orthographicFront"/>
                <a:lightRig rig="threePt" dir="t"/>
              </a:scene3d>
              <a:sp3d>
                <a:bevelT w="152400" h="50800" prst="softRound"/>
              </a:sp3d>
            </p:spPr>
            <p:txBody>
              <a:bodyPr wrap="none" lIns="0" tIns="0" rIns="0" bIns="0" anchor="ctr"/>
              <a:lstStyle/>
              <a:p>
                <a:pPr algn="ctr" defTabSz="873125" eaLnBrk="0" hangingPunct="0">
                  <a:defRPr/>
                </a:pPr>
                <a:endParaRPr lang="en-US" dirty="0">
                  <a:cs typeface="Arial" pitchFamily="34" charset="0"/>
                </a:endParaRPr>
              </a:p>
            </p:txBody>
          </p:sp>
          <p:sp>
            <p:nvSpPr>
              <p:cNvPr id="548" name="Oval 547"/>
              <p:cNvSpPr/>
              <p:nvPr/>
            </p:nvSpPr>
            <p:spPr bwMode="auto">
              <a:xfrm>
                <a:off x="8109348" y="4253475"/>
                <a:ext cx="116666" cy="114950"/>
              </a:xfrm>
              <a:prstGeom prst="ellipse">
                <a:avLst/>
              </a:prstGeom>
              <a:solidFill>
                <a:srgbClr val="FF0000"/>
              </a:solidFill>
              <a:ln w="9525" cap="flat" cmpd="sng" algn="ctr">
                <a:solidFill>
                  <a:schemeClr val="tx1">
                    <a:lumMod val="95000"/>
                    <a:lumOff val="5000"/>
                  </a:schemeClr>
                </a:solidFill>
                <a:prstDash val="solid"/>
                <a:round/>
                <a:headEnd type="none" w="med" len="med"/>
                <a:tailEnd type="none" w="med" len="med"/>
              </a:ln>
              <a:effectLst/>
              <a:scene3d>
                <a:camera prst="orthographicFront"/>
                <a:lightRig rig="threePt" dir="t"/>
              </a:scene3d>
              <a:sp3d>
                <a:bevelT w="152400" h="50800" prst="softRound"/>
              </a:sp3d>
            </p:spPr>
            <p:txBody>
              <a:bodyPr wrap="none" lIns="0" tIns="0" rIns="0" bIns="0" anchor="ctr"/>
              <a:lstStyle/>
              <a:p>
                <a:pPr algn="ctr" defTabSz="873125" eaLnBrk="0" hangingPunct="0">
                  <a:defRPr/>
                </a:pPr>
                <a:endParaRPr lang="en-US" dirty="0">
                  <a:cs typeface="Arial" pitchFamily="34" charset="0"/>
                </a:endParaRPr>
              </a:p>
            </p:txBody>
          </p:sp>
        </p:grpSp>
        <p:cxnSp>
          <p:nvCxnSpPr>
            <p:cNvPr id="481" name="Straight Connector 84"/>
            <p:cNvCxnSpPr>
              <a:cxnSpLocks noChangeShapeType="1"/>
            </p:cNvCxnSpPr>
            <p:nvPr/>
          </p:nvCxnSpPr>
          <p:spPr bwMode="auto">
            <a:xfrm rot="16200000" flipH="1">
              <a:off x="2604266" y="4798339"/>
              <a:ext cx="193675" cy="306387"/>
            </a:xfrm>
            <a:prstGeom prst="line">
              <a:avLst/>
            </a:prstGeom>
            <a:noFill/>
            <a:ln w="9525" algn="ctr">
              <a:solidFill>
                <a:srgbClr val="969696"/>
              </a:solidFill>
              <a:round/>
              <a:headEnd/>
              <a:tailEnd/>
            </a:ln>
          </p:spPr>
        </p:cxnSp>
        <p:cxnSp>
          <p:nvCxnSpPr>
            <p:cNvPr id="482" name="Straight Connector 86"/>
            <p:cNvCxnSpPr>
              <a:cxnSpLocks noChangeShapeType="1"/>
            </p:cNvCxnSpPr>
            <p:nvPr/>
          </p:nvCxnSpPr>
          <p:spPr bwMode="auto">
            <a:xfrm rot="10800000" flipH="1">
              <a:off x="2474885" y="5111870"/>
              <a:ext cx="352425" cy="9525"/>
            </a:xfrm>
            <a:prstGeom prst="line">
              <a:avLst/>
            </a:prstGeom>
            <a:noFill/>
            <a:ln w="9525" algn="ctr">
              <a:solidFill>
                <a:srgbClr val="969696"/>
              </a:solidFill>
              <a:round/>
              <a:headEnd/>
              <a:tailEnd/>
            </a:ln>
          </p:spPr>
        </p:cxnSp>
        <p:cxnSp>
          <p:nvCxnSpPr>
            <p:cNvPr id="483" name="Straight Connector 88"/>
            <p:cNvCxnSpPr>
              <a:cxnSpLocks noChangeShapeType="1"/>
            </p:cNvCxnSpPr>
            <p:nvPr/>
          </p:nvCxnSpPr>
          <p:spPr bwMode="auto">
            <a:xfrm rot="10800000" flipH="1">
              <a:off x="2582835" y="5175370"/>
              <a:ext cx="271462" cy="303213"/>
            </a:xfrm>
            <a:prstGeom prst="line">
              <a:avLst/>
            </a:prstGeom>
            <a:noFill/>
            <a:ln w="9525" algn="ctr">
              <a:solidFill>
                <a:srgbClr val="969696"/>
              </a:solidFill>
              <a:round/>
              <a:headEnd/>
              <a:tailEnd/>
            </a:ln>
          </p:spPr>
        </p:cxnSp>
        <p:cxnSp>
          <p:nvCxnSpPr>
            <p:cNvPr id="484" name="Straight Connector 92"/>
            <p:cNvCxnSpPr>
              <a:cxnSpLocks noChangeShapeType="1"/>
            </p:cNvCxnSpPr>
            <p:nvPr/>
          </p:nvCxnSpPr>
          <p:spPr bwMode="auto">
            <a:xfrm rot="10800000" flipH="1">
              <a:off x="4105259" y="5510339"/>
              <a:ext cx="523875" cy="138113"/>
            </a:xfrm>
            <a:prstGeom prst="line">
              <a:avLst/>
            </a:prstGeom>
            <a:noFill/>
            <a:ln w="9525" algn="ctr">
              <a:solidFill>
                <a:srgbClr val="969696"/>
              </a:solidFill>
              <a:round/>
              <a:headEnd/>
              <a:tailEnd/>
            </a:ln>
          </p:spPr>
        </p:cxnSp>
        <p:cxnSp>
          <p:nvCxnSpPr>
            <p:cNvPr id="485" name="Straight Connector 97"/>
            <p:cNvCxnSpPr>
              <a:cxnSpLocks noChangeShapeType="1"/>
            </p:cNvCxnSpPr>
            <p:nvPr/>
          </p:nvCxnSpPr>
          <p:spPr bwMode="auto">
            <a:xfrm rot="5400000" flipH="1" flipV="1">
              <a:off x="3372628" y="5587333"/>
              <a:ext cx="88900" cy="249238"/>
            </a:xfrm>
            <a:prstGeom prst="line">
              <a:avLst/>
            </a:prstGeom>
            <a:noFill/>
            <a:ln w="9525" algn="ctr">
              <a:solidFill>
                <a:srgbClr val="969696"/>
              </a:solidFill>
              <a:round/>
              <a:headEnd/>
              <a:tailEnd/>
            </a:ln>
          </p:spPr>
        </p:cxnSp>
        <p:cxnSp>
          <p:nvCxnSpPr>
            <p:cNvPr id="486" name="Straight Connector 101"/>
            <p:cNvCxnSpPr>
              <a:cxnSpLocks noChangeShapeType="1"/>
            </p:cNvCxnSpPr>
            <p:nvPr/>
          </p:nvCxnSpPr>
          <p:spPr bwMode="auto">
            <a:xfrm rot="10800000" flipH="1">
              <a:off x="3716322" y="5648452"/>
              <a:ext cx="212725" cy="19050"/>
            </a:xfrm>
            <a:prstGeom prst="line">
              <a:avLst/>
            </a:prstGeom>
            <a:noFill/>
            <a:ln w="9525" algn="ctr">
              <a:solidFill>
                <a:srgbClr val="969696"/>
              </a:solidFill>
              <a:round/>
              <a:headEnd/>
              <a:tailEnd/>
            </a:ln>
          </p:spPr>
        </p:cxnSp>
        <p:cxnSp>
          <p:nvCxnSpPr>
            <p:cNvPr id="487" name="Straight Connector 104"/>
            <p:cNvCxnSpPr>
              <a:cxnSpLocks noChangeShapeType="1"/>
            </p:cNvCxnSpPr>
            <p:nvPr/>
          </p:nvCxnSpPr>
          <p:spPr bwMode="auto">
            <a:xfrm rot="5400000" flipH="1" flipV="1">
              <a:off x="3755216" y="5725446"/>
              <a:ext cx="212725" cy="185738"/>
            </a:xfrm>
            <a:prstGeom prst="line">
              <a:avLst/>
            </a:prstGeom>
            <a:noFill/>
            <a:ln w="9525" algn="ctr">
              <a:solidFill>
                <a:srgbClr val="969696"/>
              </a:solidFill>
              <a:round/>
              <a:headEnd/>
              <a:tailEnd/>
            </a:ln>
          </p:spPr>
        </p:cxnSp>
        <p:cxnSp>
          <p:nvCxnSpPr>
            <p:cNvPr id="488" name="Straight Connector 106"/>
            <p:cNvCxnSpPr>
              <a:cxnSpLocks noChangeShapeType="1"/>
            </p:cNvCxnSpPr>
            <p:nvPr/>
          </p:nvCxnSpPr>
          <p:spPr bwMode="auto">
            <a:xfrm rot="10800000" flipH="1" flipV="1">
              <a:off x="3306747" y="6342189"/>
              <a:ext cx="258762" cy="96838"/>
            </a:xfrm>
            <a:prstGeom prst="line">
              <a:avLst/>
            </a:prstGeom>
            <a:noFill/>
            <a:ln w="9525" algn="ctr">
              <a:solidFill>
                <a:srgbClr val="969696"/>
              </a:solidFill>
              <a:round/>
              <a:headEnd/>
              <a:tailEnd/>
            </a:ln>
          </p:spPr>
        </p:cxnSp>
        <p:cxnSp>
          <p:nvCxnSpPr>
            <p:cNvPr id="489" name="Straight Connector 108"/>
            <p:cNvCxnSpPr>
              <a:cxnSpLocks noChangeShapeType="1"/>
            </p:cNvCxnSpPr>
            <p:nvPr/>
          </p:nvCxnSpPr>
          <p:spPr bwMode="auto">
            <a:xfrm rot="10800000" flipH="1">
              <a:off x="3741722" y="6345364"/>
              <a:ext cx="314325" cy="93663"/>
            </a:xfrm>
            <a:prstGeom prst="line">
              <a:avLst/>
            </a:prstGeom>
            <a:noFill/>
            <a:ln w="9525" algn="ctr">
              <a:solidFill>
                <a:srgbClr val="969696"/>
              </a:solidFill>
              <a:round/>
              <a:headEnd/>
              <a:tailEnd/>
            </a:ln>
          </p:spPr>
        </p:cxnSp>
        <p:cxnSp>
          <p:nvCxnSpPr>
            <p:cNvPr id="490" name="Straight Connector 110"/>
            <p:cNvCxnSpPr>
              <a:cxnSpLocks noChangeShapeType="1"/>
            </p:cNvCxnSpPr>
            <p:nvPr/>
          </p:nvCxnSpPr>
          <p:spPr bwMode="auto">
            <a:xfrm rot="5400000" flipH="1" flipV="1">
              <a:off x="4098910" y="5705602"/>
              <a:ext cx="682625" cy="469900"/>
            </a:xfrm>
            <a:prstGeom prst="line">
              <a:avLst/>
            </a:prstGeom>
            <a:noFill/>
            <a:ln w="9525" algn="ctr">
              <a:solidFill>
                <a:srgbClr val="969696"/>
              </a:solidFill>
              <a:round/>
              <a:headEnd/>
              <a:tailEnd/>
            </a:ln>
          </p:spPr>
        </p:cxnSp>
        <p:sp>
          <p:nvSpPr>
            <p:cNvPr id="491" name="TextBox 131"/>
            <p:cNvSpPr txBox="1">
              <a:spLocks noChangeArrowheads="1"/>
            </p:cNvSpPr>
            <p:nvPr/>
          </p:nvSpPr>
          <p:spPr bwMode="auto">
            <a:xfrm flipH="1">
              <a:off x="4606894" y="5573875"/>
              <a:ext cx="568325" cy="215900"/>
            </a:xfrm>
            <a:prstGeom prst="rect">
              <a:avLst/>
            </a:prstGeom>
            <a:noFill/>
            <a:ln w="9525">
              <a:noFill/>
              <a:miter lim="800000"/>
              <a:headEnd/>
              <a:tailEnd/>
            </a:ln>
          </p:spPr>
          <p:txBody>
            <a:bodyPr wrap="none">
              <a:spAutoFit/>
            </a:bodyPr>
            <a:lstStyle/>
            <a:p>
              <a:pPr>
                <a:spcBef>
                  <a:spcPct val="50000"/>
                </a:spcBef>
              </a:pPr>
              <a:r>
                <a:rPr lang="en-US" sz="800" b="1" i="0" smtClean="0">
                  <a:latin typeface="Calibri" pitchFamily="34" charset="0"/>
                </a:rPr>
                <a:t>POP MW</a:t>
              </a:r>
              <a:endParaRPr lang="en-US" sz="800" b="1" i="0" dirty="0">
                <a:latin typeface="Calibri" pitchFamily="34" charset="0"/>
              </a:endParaRPr>
            </a:p>
          </p:txBody>
        </p:sp>
        <p:grpSp>
          <p:nvGrpSpPr>
            <p:cNvPr id="201" name="Group 111"/>
            <p:cNvGrpSpPr>
              <a:grpSpLocks/>
            </p:cNvGrpSpPr>
            <p:nvPr/>
          </p:nvGrpSpPr>
          <p:grpSpPr bwMode="auto">
            <a:xfrm>
              <a:off x="4911817" y="4409792"/>
              <a:ext cx="174625" cy="179387"/>
              <a:chOff x="8053381" y="4195958"/>
              <a:chExt cx="228600" cy="228600"/>
            </a:xfrm>
          </p:grpSpPr>
          <p:sp>
            <p:nvSpPr>
              <p:cNvPr id="545" name="Oval 544"/>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46" name="Oval 545"/>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cxnSp>
          <p:nvCxnSpPr>
            <p:cNvPr id="493" name="Straight Connector 114"/>
            <p:cNvCxnSpPr>
              <a:cxnSpLocks noChangeShapeType="1"/>
              <a:endCxn id="452" idx="2"/>
            </p:cNvCxnSpPr>
            <p:nvPr/>
          </p:nvCxnSpPr>
          <p:spPr bwMode="auto">
            <a:xfrm rot="16200000" flipV="1">
              <a:off x="4594102" y="4004764"/>
              <a:ext cx="512758" cy="297298"/>
            </a:xfrm>
            <a:prstGeom prst="line">
              <a:avLst/>
            </a:prstGeom>
            <a:noFill/>
            <a:ln w="9525" algn="ctr">
              <a:solidFill>
                <a:srgbClr val="969696"/>
              </a:solidFill>
              <a:round/>
              <a:headEnd/>
              <a:tailEnd/>
            </a:ln>
          </p:spPr>
        </p:cxnSp>
        <p:grpSp>
          <p:nvGrpSpPr>
            <p:cNvPr id="202" name="Group 111"/>
            <p:cNvGrpSpPr>
              <a:grpSpLocks/>
            </p:cNvGrpSpPr>
            <p:nvPr/>
          </p:nvGrpSpPr>
          <p:grpSpPr bwMode="auto">
            <a:xfrm>
              <a:off x="4422754" y="2984597"/>
              <a:ext cx="174625" cy="179387"/>
              <a:chOff x="8053381" y="4195958"/>
              <a:chExt cx="228600" cy="228600"/>
            </a:xfrm>
          </p:grpSpPr>
          <p:sp>
            <p:nvSpPr>
              <p:cNvPr id="543" name="Oval 542"/>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44" name="Oval 543"/>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203" name="Group 111"/>
            <p:cNvGrpSpPr>
              <a:grpSpLocks/>
            </p:cNvGrpSpPr>
            <p:nvPr/>
          </p:nvGrpSpPr>
          <p:grpSpPr bwMode="auto">
            <a:xfrm>
              <a:off x="4779944" y="3212425"/>
              <a:ext cx="174625" cy="179387"/>
              <a:chOff x="8053381" y="4195958"/>
              <a:chExt cx="228600" cy="228600"/>
            </a:xfrm>
          </p:grpSpPr>
          <p:sp>
            <p:nvSpPr>
              <p:cNvPr id="541" name="Oval 540"/>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42" name="Oval 541"/>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204" name="Group 111"/>
            <p:cNvGrpSpPr>
              <a:grpSpLocks/>
            </p:cNvGrpSpPr>
            <p:nvPr/>
          </p:nvGrpSpPr>
          <p:grpSpPr bwMode="auto">
            <a:xfrm>
              <a:off x="3976658" y="3751370"/>
              <a:ext cx="174625" cy="179387"/>
              <a:chOff x="8053381" y="4195958"/>
              <a:chExt cx="228600" cy="228600"/>
            </a:xfrm>
          </p:grpSpPr>
          <p:sp>
            <p:nvSpPr>
              <p:cNvPr id="539" name="Oval 538"/>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40" name="Oval 539"/>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cxnSp>
          <p:nvCxnSpPr>
            <p:cNvPr id="497" name="Straight Connector 114"/>
            <p:cNvCxnSpPr>
              <a:cxnSpLocks noChangeShapeType="1"/>
              <a:endCxn id="452" idx="0"/>
            </p:cNvCxnSpPr>
            <p:nvPr/>
          </p:nvCxnSpPr>
          <p:spPr bwMode="auto">
            <a:xfrm rot="5400000">
              <a:off x="4585962" y="3481412"/>
              <a:ext cx="335427" cy="103685"/>
            </a:xfrm>
            <a:prstGeom prst="line">
              <a:avLst/>
            </a:prstGeom>
            <a:noFill/>
            <a:ln w="9525" algn="ctr">
              <a:solidFill>
                <a:srgbClr val="969696"/>
              </a:solidFill>
              <a:round/>
              <a:headEnd/>
              <a:tailEnd/>
            </a:ln>
          </p:spPr>
        </p:cxnSp>
        <p:cxnSp>
          <p:nvCxnSpPr>
            <p:cNvPr id="498" name="Straight Connector 114"/>
            <p:cNvCxnSpPr>
              <a:cxnSpLocks noChangeShapeType="1"/>
              <a:endCxn id="452" idx="0"/>
            </p:cNvCxnSpPr>
            <p:nvPr/>
          </p:nvCxnSpPr>
          <p:spPr bwMode="auto">
            <a:xfrm rot="16200000" flipH="1">
              <a:off x="4337457" y="3336593"/>
              <a:ext cx="536984" cy="191765"/>
            </a:xfrm>
            <a:prstGeom prst="line">
              <a:avLst/>
            </a:prstGeom>
            <a:noFill/>
            <a:ln w="9525" algn="ctr">
              <a:solidFill>
                <a:srgbClr val="969696"/>
              </a:solidFill>
              <a:round/>
              <a:headEnd/>
              <a:tailEnd/>
            </a:ln>
          </p:spPr>
        </p:cxnSp>
        <p:cxnSp>
          <p:nvCxnSpPr>
            <p:cNvPr id="499" name="Straight Connector 114"/>
            <p:cNvCxnSpPr>
              <a:cxnSpLocks noChangeShapeType="1"/>
              <a:endCxn id="452" idx="1"/>
            </p:cNvCxnSpPr>
            <p:nvPr/>
          </p:nvCxnSpPr>
          <p:spPr bwMode="auto">
            <a:xfrm flipV="1">
              <a:off x="4151283" y="3799001"/>
              <a:ext cx="440163" cy="42063"/>
            </a:xfrm>
            <a:prstGeom prst="line">
              <a:avLst/>
            </a:prstGeom>
            <a:noFill/>
            <a:ln w="9525" algn="ctr">
              <a:solidFill>
                <a:srgbClr val="969696"/>
              </a:solidFill>
              <a:round/>
              <a:headEnd/>
              <a:tailEnd/>
            </a:ln>
          </p:spPr>
        </p:cxnSp>
        <p:grpSp>
          <p:nvGrpSpPr>
            <p:cNvPr id="205" name="Group 58"/>
            <p:cNvGrpSpPr>
              <a:grpSpLocks/>
            </p:cNvGrpSpPr>
            <p:nvPr/>
          </p:nvGrpSpPr>
          <p:grpSpPr bwMode="auto">
            <a:xfrm>
              <a:off x="7374719" y="5772279"/>
              <a:ext cx="174625" cy="179387"/>
              <a:chOff x="8053381" y="4195958"/>
              <a:chExt cx="228600" cy="228600"/>
            </a:xfrm>
          </p:grpSpPr>
          <p:sp>
            <p:nvSpPr>
              <p:cNvPr id="537" name="Oval 536"/>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38" name="Oval 537"/>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206" name="Group 61"/>
            <p:cNvGrpSpPr>
              <a:grpSpLocks/>
            </p:cNvGrpSpPr>
            <p:nvPr/>
          </p:nvGrpSpPr>
          <p:grpSpPr bwMode="auto">
            <a:xfrm>
              <a:off x="6976256" y="5618291"/>
              <a:ext cx="174625" cy="180975"/>
              <a:chOff x="8053381" y="4195958"/>
              <a:chExt cx="228600" cy="228600"/>
            </a:xfrm>
          </p:grpSpPr>
          <p:sp>
            <p:nvSpPr>
              <p:cNvPr id="535" name="Oval 534"/>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36" name="Oval 535"/>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207" name="Group 64"/>
            <p:cNvGrpSpPr>
              <a:grpSpLocks/>
            </p:cNvGrpSpPr>
            <p:nvPr/>
          </p:nvGrpSpPr>
          <p:grpSpPr bwMode="auto">
            <a:xfrm>
              <a:off x="6587319" y="5599241"/>
              <a:ext cx="176212" cy="179388"/>
              <a:chOff x="8053381" y="4195958"/>
              <a:chExt cx="228600" cy="228600"/>
            </a:xfrm>
          </p:grpSpPr>
          <p:sp>
            <p:nvSpPr>
              <p:cNvPr id="533" name="Oval 532"/>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34" name="Oval 533"/>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208" name="Group 67"/>
            <p:cNvGrpSpPr>
              <a:grpSpLocks/>
            </p:cNvGrpSpPr>
            <p:nvPr/>
          </p:nvGrpSpPr>
          <p:grpSpPr bwMode="auto">
            <a:xfrm>
              <a:off x="6896881" y="5940554"/>
              <a:ext cx="176213" cy="179387"/>
              <a:chOff x="8053381" y="4195958"/>
              <a:chExt cx="228600" cy="228600"/>
            </a:xfrm>
          </p:grpSpPr>
          <p:sp>
            <p:nvSpPr>
              <p:cNvPr id="531" name="Oval 530"/>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32" name="Oval 531"/>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209" name="Group 70"/>
            <p:cNvGrpSpPr>
              <a:grpSpLocks/>
            </p:cNvGrpSpPr>
            <p:nvPr/>
          </p:nvGrpSpPr>
          <p:grpSpPr bwMode="auto">
            <a:xfrm>
              <a:off x="7385831" y="6292979"/>
              <a:ext cx="174625" cy="179387"/>
              <a:chOff x="8053381" y="4195958"/>
              <a:chExt cx="228600" cy="228600"/>
            </a:xfrm>
          </p:grpSpPr>
          <p:sp>
            <p:nvSpPr>
              <p:cNvPr id="529" name="Oval 528"/>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prst="relaxedInset"/>
              </a:sp3d>
            </p:spPr>
            <p:txBody>
              <a:bodyPr wrap="none" lIns="0" tIns="0" rIns="0" bIns="0" anchor="ctr"/>
              <a:lstStyle/>
              <a:p>
                <a:pPr algn="ctr" defTabSz="873125" eaLnBrk="0" hangingPunct="0">
                  <a:defRPr/>
                </a:pPr>
                <a:endParaRPr lang="en-US" dirty="0">
                  <a:cs typeface="Arial" pitchFamily="34" charset="0"/>
                </a:endParaRPr>
              </a:p>
            </p:txBody>
          </p:sp>
          <p:sp>
            <p:nvSpPr>
              <p:cNvPr id="530" name="Oval 529"/>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prst="relaxedInse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210" name="Group 73"/>
            <p:cNvGrpSpPr>
              <a:grpSpLocks/>
            </p:cNvGrpSpPr>
            <p:nvPr/>
          </p:nvGrpSpPr>
          <p:grpSpPr bwMode="auto">
            <a:xfrm>
              <a:off x="6950856" y="6389816"/>
              <a:ext cx="176213" cy="180975"/>
              <a:chOff x="8053381" y="4195958"/>
              <a:chExt cx="228600" cy="228600"/>
            </a:xfrm>
          </p:grpSpPr>
          <p:sp>
            <p:nvSpPr>
              <p:cNvPr id="527" name="Oval 526"/>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28" name="Oval 527"/>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211" name="Group 76"/>
            <p:cNvGrpSpPr>
              <a:grpSpLocks/>
            </p:cNvGrpSpPr>
            <p:nvPr/>
          </p:nvGrpSpPr>
          <p:grpSpPr bwMode="auto">
            <a:xfrm>
              <a:off x="6461906" y="6297741"/>
              <a:ext cx="174625" cy="179388"/>
              <a:chOff x="8053381" y="4195958"/>
              <a:chExt cx="228600" cy="228600"/>
            </a:xfrm>
          </p:grpSpPr>
          <p:sp>
            <p:nvSpPr>
              <p:cNvPr id="525" name="Oval 524"/>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26" name="Oval 525"/>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212" name="Group 79"/>
            <p:cNvGrpSpPr>
              <a:grpSpLocks/>
            </p:cNvGrpSpPr>
            <p:nvPr/>
          </p:nvGrpSpPr>
          <p:grpSpPr bwMode="auto">
            <a:xfrm>
              <a:off x="5930094" y="5461129"/>
              <a:ext cx="176212" cy="179387"/>
              <a:chOff x="8053381" y="4195958"/>
              <a:chExt cx="228600" cy="228600"/>
            </a:xfrm>
          </p:grpSpPr>
          <p:sp>
            <p:nvSpPr>
              <p:cNvPr id="523" name="Oval 522"/>
              <p:cNvSpPr/>
              <p:nvPr/>
            </p:nvSpPr>
            <p:spPr bwMode="auto">
              <a:xfrm>
                <a:off x="8053381" y="4195958"/>
                <a:ext cx="228600" cy="228600"/>
              </a:xfrm>
              <a:prstGeom prst="ellipse">
                <a:avLst/>
              </a:prstGeom>
              <a:solidFill>
                <a:srgbClr val="33CC33"/>
              </a:solidFill>
              <a:ln w="9525" cap="flat" cmpd="sng" algn="ctr">
                <a:solidFill>
                  <a:schemeClr val="tx1">
                    <a:lumMod val="95000"/>
                    <a:lumOff val="5000"/>
                  </a:schemeClr>
                </a:solidFill>
                <a:prstDash val="solid"/>
                <a:round/>
                <a:headEnd type="none" w="med" len="med"/>
                <a:tailEnd type="none" w="med" len="med"/>
              </a:ln>
              <a:effectLst/>
              <a:scene3d>
                <a:camera prst="orthographicFront"/>
                <a:lightRig rig="threePt" dir="t"/>
              </a:scene3d>
              <a:sp3d>
                <a:bevelT w="152400" h="50800" prst="softRound"/>
              </a:sp3d>
            </p:spPr>
            <p:txBody>
              <a:bodyPr wrap="none" lIns="0" tIns="0" rIns="0" bIns="0" anchor="ctr"/>
              <a:lstStyle/>
              <a:p>
                <a:pPr algn="ctr" defTabSz="873125" eaLnBrk="0" hangingPunct="0">
                  <a:defRPr/>
                </a:pPr>
                <a:endParaRPr lang="en-US" dirty="0">
                  <a:cs typeface="Arial" pitchFamily="34" charset="0"/>
                </a:endParaRPr>
              </a:p>
            </p:txBody>
          </p:sp>
          <p:sp>
            <p:nvSpPr>
              <p:cNvPr id="524" name="Oval 523"/>
              <p:cNvSpPr/>
              <p:nvPr/>
            </p:nvSpPr>
            <p:spPr bwMode="auto">
              <a:xfrm>
                <a:off x="8109348" y="4253475"/>
                <a:ext cx="116666" cy="114950"/>
              </a:xfrm>
              <a:prstGeom prst="ellipse">
                <a:avLst/>
              </a:prstGeom>
              <a:solidFill>
                <a:srgbClr val="FF0000"/>
              </a:solidFill>
              <a:ln w="9525" cap="flat" cmpd="sng" algn="ctr">
                <a:solidFill>
                  <a:schemeClr val="tx1">
                    <a:lumMod val="95000"/>
                    <a:lumOff val="5000"/>
                  </a:schemeClr>
                </a:solidFill>
                <a:prstDash val="solid"/>
                <a:round/>
                <a:headEnd type="none" w="med" len="med"/>
                <a:tailEnd type="none" w="med" len="med"/>
              </a:ln>
              <a:effectLst/>
              <a:scene3d>
                <a:camera prst="orthographicFront"/>
                <a:lightRig rig="threePt" dir="t"/>
              </a:scene3d>
              <a:sp3d>
                <a:bevelT w="152400" h="50800" prst="softRound"/>
              </a:sp3d>
            </p:spPr>
            <p:txBody>
              <a:bodyPr wrap="none" lIns="0" tIns="0" rIns="0" bIns="0" anchor="ctr"/>
              <a:lstStyle/>
              <a:p>
                <a:pPr algn="ctr" defTabSz="873125" eaLnBrk="0" hangingPunct="0">
                  <a:defRPr/>
                </a:pPr>
                <a:endParaRPr lang="en-US" dirty="0">
                  <a:cs typeface="Arial" pitchFamily="34" charset="0"/>
                </a:endParaRPr>
              </a:p>
            </p:txBody>
          </p:sp>
        </p:grpSp>
        <p:cxnSp>
          <p:nvCxnSpPr>
            <p:cNvPr id="508" name="Straight Connector 92"/>
            <p:cNvCxnSpPr>
              <a:cxnSpLocks noChangeShapeType="1"/>
            </p:cNvCxnSpPr>
            <p:nvPr/>
          </p:nvCxnSpPr>
          <p:spPr bwMode="auto">
            <a:xfrm rot="10800000">
              <a:off x="6063444" y="5551616"/>
              <a:ext cx="523875" cy="138113"/>
            </a:xfrm>
            <a:prstGeom prst="line">
              <a:avLst/>
            </a:prstGeom>
            <a:noFill/>
            <a:ln w="9525" algn="ctr">
              <a:solidFill>
                <a:srgbClr val="969696"/>
              </a:solidFill>
              <a:round/>
              <a:headEnd/>
              <a:tailEnd/>
            </a:ln>
          </p:spPr>
        </p:cxnSp>
        <p:cxnSp>
          <p:nvCxnSpPr>
            <p:cNvPr id="509" name="Straight Connector 97"/>
            <p:cNvCxnSpPr>
              <a:cxnSpLocks noChangeShapeType="1"/>
            </p:cNvCxnSpPr>
            <p:nvPr/>
          </p:nvCxnSpPr>
          <p:spPr bwMode="auto">
            <a:xfrm rot="16200000" flipV="1">
              <a:off x="7231050" y="5628610"/>
              <a:ext cx="88900" cy="249238"/>
            </a:xfrm>
            <a:prstGeom prst="line">
              <a:avLst/>
            </a:prstGeom>
            <a:noFill/>
            <a:ln w="9525" algn="ctr">
              <a:solidFill>
                <a:srgbClr val="969696"/>
              </a:solidFill>
              <a:round/>
              <a:headEnd/>
              <a:tailEnd/>
            </a:ln>
          </p:spPr>
        </p:cxnSp>
        <p:cxnSp>
          <p:nvCxnSpPr>
            <p:cNvPr id="510" name="Straight Connector 101"/>
            <p:cNvCxnSpPr>
              <a:cxnSpLocks noChangeShapeType="1"/>
            </p:cNvCxnSpPr>
            <p:nvPr/>
          </p:nvCxnSpPr>
          <p:spPr bwMode="auto">
            <a:xfrm rot="10800000">
              <a:off x="6763531" y="5689729"/>
              <a:ext cx="212725" cy="19050"/>
            </a:xfrm>
            <a:prstGeom prst="line">
              <a:avLst/>
            </a:prstGeom>
            <a:noFill/>
            <a:ln w="9525" algn="ctr">
              <a:solidFill>
                <a:srgbClr val="969696"/>
              </a:solidFill>
              <a:round/>
              <a:headEnd/>
              <a:tailEnd/>
            </a:ln>
          </p:spPr>
        </p:cxnSp>
        <p:cxnSp>
          <p:nvCxnSpPr>
            <p:cNvPr id="511" name="Straight Connector 104"/>
            <p:cNvCxnSpPr>
              <a:cxnSpLocks noChangeShapeType="1"/>
            </p:cNvCxnSpPr>
            <p:nvPr/>
          </p:nvCxnSpPr>
          <p:spPr bwMode="auto">
            <a:xfrm rot="16200000" flipV="1">
              <a:off x="6724637" y="5766723"/>
              <a:ext cx="212725" cy="185738"/>
            </a:xfrm>
            <a:prstGeom prst="line">
              <a:avLst/>
            </a:prstGeom>
            <a:noFill/>
            <a:ln w="9525" algn="ctr">
              <a:solidFill>
                <a:srgbClr val="969696"/>
              </a:solidFill>
              <a:round/>
              <a:headEnd/>
              <a:tailEnd/>
            </a:ln>
          </p:spPr>
        </p:cxnSp>
        <p:cxnSp>
          <p:nvCxnSpPr>
            <p:cNvPr id="512" name="Straight Connector 106"/>
            <p:cNvCxnSpPr>
              <a:cxnSpLocks noChangeShapeType="1"/>
            </p:cNvCxnSpPr>
            <p:nvPr/>
          </p:nvCxnSpPr>
          <p:spPr bwMode="auto">
            <a:xfrm rot="10800000" flipV="1">
              <a:off x="7127069" y="6383466"/>
              <a:ext cx="258762" cy="96838"/>
            </a:xfrm>
            <a:prstGeom prst="line">
              <a:avLst/>
            </a:prstGeom>
            <a:noFill/>
            <a:ln w="9525" algn="ctr">
              <a:solidFill>
                <a:srgbClr val="969696"/>
              </a:solidFill>
              <a:round/>
              <a:headEnd/>
              <a:tailEnd/>
            </a:ln>
          </p:spPr>
        </p:cxnSp>
        <p:cxnSp>
          <p:nvCxnSpPr>
            <p:cNvPr id="513" name="Straight Connector 108"/>
            <p:cNvCxnSpPr>
              <a:cxnSpLocks noChangeShapeType="1"/>
            </p:cNvCxnSpPr>
            <p:nvPr/>
          </p:nvCxnSpPr>
          <p:spPr bwMode="auto">
            <a:xfrm rot="10800000">
              <a:off x="6636531" y="6386641"/>
              <a:ext cx="314325" cy="93663"/>
            </a:xfrm>
            <a:prstGeom prst="line">
              <a:avLst/>
            </a:prstGeom>
            <a:noFill/>
            <a:ln w="9525" algn="ctr">
              <a:solidFill>
                <a:srgbClr val="969696"/>
              </a:solidFill>
              <a:round/>
              <a:headEnd/>
              <a:tailEnd/>
            </a:ln>
          </p:spPr>
        </p:cxnSp>
        <p:cxnSp>
          <p:nvCxnSpPr>
            <p:cNvPr id="514" name="Straight Connector 110"/>
            <p:cNvCxnSpPr>
              <a:cxnSpLocks noChangeShapeType="1"/>
            </p:cNvCxnSpPr>
            <p:nvPr/>
          </p:nvCxnSpPr>
          <p:spPr bwMode="auto">
            <a:xfrm rot="16200000" flipV="1">
              <a:off x="5911043" y="5746879"/>
              <a:ext cx="682625" cy="469900"/>
            </a:xfrm>
            <a:prstGeom prst="line">
              <a:avLst/>
            </a:prstGeom>
            <a:noFill/>
            <a:ln w="9525" algn="ctr">
              <a:solidFill>
                <a:srgbClr val="969696"/>
              </a:solidFill>
              <a:round/>
              <a:headEnd/>
              <a:tailEnd/>
            </a:ln>
          </p:spPr>
        </p:cxnSp>
        <p:sp>
          <p:nvSpPr>
            <p:cNvPr id="515" name="TextBox 131"/>
            <p:cNvSpPr txBox="1">
              <a:spLocks noChangeArrowheads="1"/>
            </p:cNvSpPr>
            <p:nvPr/>
          </p:nvSpPr>
          <p:spPr bwMode="auto">
            <a:xfrm>
              <a:off x="5556232" y="5610388"/>
              <a:ext cx="568325" cy="215900"/>
            </a:xfrm>
            <a:prstGeom prst="rect">
              <a:avLst/>
            </a:prstGeom>
            <a:noFill/>
            <a:ln w="9525">
              <a:noFill/>
              <a:miter lim="800000"/>
              <a:headEnd/>
              <a:tailEnd/>
            </a:ln>
          </p:spPr>
          <p:txBody>
            <a:bodyPr wrap="none">
              <a:spAutoFit/>
            </a:bodyPr>
            <a:lstStyle/>
            <a:p>
              <a:pPr>
                <a:spcBef>
                  <a:spcPct val="50000"/>
                </a:spcBef>
              </a:pPr>
              <a:r>
                <a:rPr lang="en-US" sz="800" b="1" i="0" smtClean="0">
                  <a:latin typeface="Calibri" pitchFamily="34" charset="0"/>
                </a:rPr>
                <a:t>POP MW</a:t>
              </a:r>
              <a:endParaRPr lang="en-US" sz="800" b="1" i="0" dirty="0">
                <a:latin typeface="Calibri" pitchFamily="34" charset="0"/>
              </a:endParaRPr>
            </a:p>
          </p:txBody>
        </p:sp>
        <p:sp>
          <p:nvSpPr>
            <p:cNvPr id="516" name="Freeform 515"/>
            <p:cNvSpPr/>
            <p:nvPr/>
          </p:nvSpPr>
          <p:spPr bwMode="auto">
            <a:xfrm>
              <a:off x="3550440" y="3301758"/>
              <a:ext cx="1068506" cy="401242"/>
            </a:xfrm>
            <a:custGeom>
              <a:avLst/>
              <a:gdLst>
                <a:gd name="connsiteX0" fmla="*/ 0 w 1068506"/>
                <a:gd name="connsiteY0" fmla="*/ 0 h 401242"/>
                <a:gd name="connsiteX1" fmla="*/ 370702 w 1068506"/>
                <a:gd name="connsiteY1" fmla="*/ 37071 h 401242"/>
                <a:gd name="connsiteX2" fmla="*/ 494270 w 1068506"/>
                <a:gd name="connsiteY2" fmla="*/ 74141 h 401242"/>
                <a:gd name="connsiteX3" fmla="*/ 531340 w 1068506"/>
                <a:gd name="connsiteY3" fmla="*/ 111211 h 401242"/>
                <a:gd name="connsiteX4" fmla="*/ 568411 w 1068506"/>
                <a:gd name="connsiteY4" fmla="*/ 123568 h 401242"/>
                <a:gd name="connsiteX5" fmla="*/ 605481 w 1068506"/>
                <a:gd name="connsiteY5" fmla="*/ 148281 h 401242"/>
                <a:gd name="connsiteX6" fmla="*/ 679621 w 1068506"/>
                <a:gd name="connsiteY6" fmla="*/ 172995 h 401242"/>
                <a:gd name="connsiteX7" fmla="*/ 716692 w 1068506"/>
                <a:gd name="connsiteY7" fmla="*/ 197708 h 401242"/>
                <a:gd name="connsiteX8" fmla="*/ 827902 w 1068506"/>
                <a:gd name="connsiteY8" fmla="*/ 247135 h 401242"/>
                <a:gd name="connsiteX9" fmla="*/ 864973 w 1068506"/>
                <a:gd name="connsiteY9" fmla="*/ 234779 h 401242"/>
                <a:gd name="connsiteX10" fmla="*/ 939113 w 1068506"/>
                <a:gd name="connsiteY10" fmla="*/ 296563 h 401242"/>
                <a:gd name="connsiteX11" fmla="*/ 1025611 w 1068506"/>
                <a:gd name="connsiteY11" fmla="*/ 383060 h 401242"/>
                <a:gd name="connsiteX12" fmla="*/ 1062681 w 1068506"/>
                <a:gd name="connsiteY12" fmla="*/ 395417 h 401242"/>
                <a:gd name="connsiteX13" fmla="*/ 1037967 w 1068506"/>
                <a:gd name="connsiteY13" fmla="*/ 395417 h 401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68506" h="401242">
                  <a:moveTo>
                    <a:pt x="0" y="0"/>
                  </a:moveTo>
                  <a:cubicBezTo>
                    <a:pt x="75497" y="4194"/>
                    <a:pt x="282087" y="7533"/>
                    <a:pt x="370702" y="37071"/>
                  </a:cubicBezTo>
                  <a:cubicBezTo>
                    <a:pt x="460954" y="67154"/>
                    <a:pt x="419570" y="55466"/>
                    <a:pt x="494270" y="74141"/>
                  </a:cubicBezTo>
                  <a:cubicBezTo>
                    <a:pt x="506627" y="86498"/>
                    <a:pt x="516800" y="101518"/>
                    <a:pt x="531340" y="111211"/>
                  </a:cubicBezTo>
                  <a:cubicBezTo>
                    <a:pt x="542178" y="118436"/>
                    <a:pt x="556761" y="117743"/>
                    <a:pt x="568411" y="123568"/>
                  </a:cubicBezTo>
                  <a:cubicBezTo>
                    <a:pt x="581694" y="130209"/>
                    <a:pt x="591910" y="142249"/>
                    <a:pt x="605481" y="148281"/>
                  </a:cubicBezTo>
                  <a:cubicBezTo>
                    <a:pt x="629286" y="158861"/>
                    <a:pt x="654908" y="164757"/>
                    <a:pt x="679621" y="172995"/>
                  </a:cubicBezTo>
                  <a:cubicBezTo>
                    <a:pt x="693710" y="177691"/>
                    <a:pt x="703121" y="191676"/>
                    <a:pt x="716692" y="197708"/>
                  </a:cubicBezTo>
                  <a:cubicBezTo>
                    <a:pt x="849033" y="256526"/>
                    <a:pt x="744009" y="191207"/>
                    <a:pt x="827902" y="247135"/>
                  </a:cubicBezTo>
                  <a:cubicBezTo>
                    <a:pt x="840259" y="243016"/>
                    <a:pt x="852125" y="232638"/>
                    <a:pt x="864973" y="234779"/>
                  </a:cubicBezTo>
                  <a:cubicBezTo>
                    <a:pt x="885619" y="238220"/>
                    <a:pt x="927979" y="285428"/>
                    <a:pt x="939113" y="296563"/>
                  </a:cubicBezTo>
                  <a:cubicBezTo>
                    <a:pt x="960863" y="361811"/>
                    <a:pt x="940632" y="326408"/>
                    <a:pt x="1025611" y="383060"/>
                  </a:cubicBezTo>
                  <a:cubicBezTo>
                    <a:pt x="1036449" y="390285"/>
                    <a:pt x="1053471" y="386206"/>
                    <a:pt x="1062681" y="395417"/>
                  </a:cubicBezTo>
                  <a:cubicBezTo>
                    <a:pt x="1068506" y="401242"/>
                    <a:pt x="1046205" y="395417"/>
                    <a:pt x="1037967" y="395417"/>
                  </a:cubicBezTo>
                </a:path>
              </a:pathLst>
            </a:custGeom>
            <a:solidFill>
              <a:schemeClr val="bg1"/>
            </a:solidFill>
            <a:ln w="38100" cap="flat" cmpd="sng" algn="ctr">
              <a:solidFill>
                <a:srgbClr val="FFC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517" name="Freeform 516"/>
            <p:cNvSpPr/>
            <p:nvPr/>
          </p:nvSpPr>
          <p:spPr bwMode="auto">
            <a:xfrm>
              <a:off x="4810829" y="3672461"/>
              <a:ext cx="1138054" cy="164025"/>
            </a:xfrm>
            <a:custGeom>
              <a:avLst/>
              <a:gdLst>
                <a:gd name="connsiteX0" fmla="*/ 0 w 1138054"/>
                <a:gd name="connsiteY0" fmla="*/ 86497 h 164025"/>
                <a:gd name="connsiteX1" fmla="*/ 926757 w 1138054"/>
                <a:gd name="connsiteY1" fmla="*/ 49427 h 164025"/>
                <a:gd name="connsiteX2" fmla="*/ 976184 w 1138054"/>
                <a:gd name="connsiteY2" fmla="*/ 37070 h 164025"/>
                <a:gd name="connsiteX3" fmla="*/ 1013254 w 1138054"/>
                <a:gd name="connsiteY3" fmla="*/ 24714 h 164025"/>
                <a:gd name="connsiteX4" fmla="*/ 1136822 w 1138054"/>
                <a:gd name="connsiteY4" fmla="*/ 0 h 164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8054" h="164025">
                  <a:moveTo>
                    <a:pt x="0" y="86497"/>
                  </a:moveTo>
                  <a:cubicBezTo>
                    <a:pt x="878664" y="73764"/>
                    <a:pt x="582967" y="164025"/>
                    <a:pt x="926757" y="49427"/>
                  </a:cubicBezTo>
                  <a:cubicBezTo>
                    <a:pt x="942868" y="44057"/>
                    <a:pt x="959855" y="41735"/>
                    <a:pt x="976184" y="37070"/>
                  </a:cubicBezTo>
                  <a:cubicBezTo>
                    <a:pt x="988708" y="33492"/>
                    <a:pt x="1000406" y="26855"/>
                    <a:pt x="1013254" y="24714"/>
                  </a:cubicBezTo>
                  <a:cubicBezTo>
                    <a:pt x="1138054" y="3914"/>
                    <a:pt x="1096873" y="39949"/>
                    <a:pt x="1136822" y="0"/>
                  </a:cubicBezTo>
                </a:path>
              </a:pathLst>
            </a:custGeom>
            <a:solidFill>
              <a:schemeClr val="bg1"/>
            </a:solidFill>
            <a:ln w="38100" cap="flat" cmpd="sng" algn="ctr">
              <a:solidFill>
                <a:srgbClr val="FFC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518" name="Freeform 517"/>
            <p:cNvSpPr/>
            <p:nvPr/>
          </p:nvSpPr>
          <p:spPr bwMode="auto">
            <a:xfrm>
              <a:off x="5896840" y="3734245"/>
              <a:ext cx="174378" cy="1692876"/>
            </a:xfrm>
            <a:custGeom>
              <a:avLst/>
              <a:gdLst>
                <a:gd name="connsiteX0" fmla="*/ 137308 w 174378"/>
                <a:gd name="connsiteY0" fmla="*/ 0 h 1692876"/>
                <a:gd name="connsiteX1" fmla="*/ 112594 w 174378"/>
                <a:gd name="connsiteY1" fmla="*/ 61784 h 1692876"/>
                <a:gd name="connsiteX2" fmla="*/ 50811 w 174378"/>
                <a:gd name="connsiteY2" fmla="*/ 197708 h 1692876"/>
                <a:gd name="connsiteX3" fmla="*/ 26097 w 174378"/>
                <a:gd name="connsiteY3" fmla="*/ 296562 h 1692876"/>
                <a:gd name="connsiteX4" fmla="*/ 1383 w 174378"/>
                <a:gd name="connsiteY4" fmla="*/ 407773 h 1692876"/>
                <a:gd name="connsiteX5" fmla="*/ 26097 w 174378"/>
                <a:gd name="connsiteY5" fmla="*/ 580767 h 1692876"/>
                <a:gd name="connsiteX6" fmla="*/ 50811 w 174378"/>
                <a:gd name="connsiteY6" fmla="*/ 790832 h 1692876"/>
                <a:gd name="connsiteX7" fmla="*/ 124951 w 174378"/>
                <a:gd name="connsiteY7" fmla="*/ 902043 h 1692876"/>
                <a:gd name="connsiteX8" fmla="*/ 174378 w 174378"/>
                <a:gd name="connsiteY8" fmla="*/ 976184 h 1692876"/>
                <a:gd name="connsiteX9" fmla="*/ 162021 w 174378"/>
                <a:gd name="connsiteY9" fmla="*/ 1507524 h 1692876"/>
                <a:gd name="connsiteX10" fmla="*/ 124951 w 174378"/>
                <a:gd name="connsiteY10" fmla="*/ 1581665 h 1692876"/>
                <a:gd name="connsiteX11" fmla="*/ 112594 w 174378"/>
                <a:gd name="connsiteY11" fmla="*/ 1618735 h 1692876"/>
                <a:gd name="connsiteX12" fmla="*/ 112594 w 174378"/>
                <a:gd name="connsiteY12" fmla="*/ 1692876 h 1692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4378" h="1692876">
                  <a:moveTo>
                    <a:pt x="137308" y="0"/>
                  </a:moveTo>
                  <a:cubicBezTo>
                    <a:pt x="129070" y="20595"/>
                    <a:pt x="121773" y="41591"/>
                    <a:pt x="112594" y="61784"/>
                  </a:cubicBezTo>
                  <a:cubicBezTo>
                    <a:pt x="87771" y="116395"/>
                    <a:pt x="67991" y="141874"/>
                    <a:pt x="50811" y="197708"/>
                  </a:cubicBezTo>
                  <a:cubicBezTo>
                    <a:pt x="40822" y="230172"/>
                    <a:pt x="33214" y="263350"/>
                    <a:pt x="26097" y="296562"/>
                  </a:cubicBezTo>
                  <a:cubicBezTo>
                    <a:pt x="0" y="418346"/>
                    <a:pt x="27693" y="328845"/>
                    <a:pt x="1383" y="407773"/>
                  </a:cubicBezTo>
                  <a:cubicBezTo>
                    <a:pt x="9621" y="465438"/>
                    <a:pt x="19891" y="522848"/>
                    <a:pt x="26097" y="580767"/>
                  </a:cubicBezTo>
                  <a:cubicBezTo>
                    <a:pt x="29293" y="610595"/>
                    <a:pt x="22445" y="734100"/>
                    <a:pt x="50811" y="790832"/>
                  </a:cubicBezTo>
                  <a:cubicBezTo>
                    <a:pt x="80679" y="850568"/>
                    <a:pt x="88732" y="850301"/>
                    <a:pt x="124951" y="902043"/>
                  </a:cubicBezTo>
                  <a:cubicBezTo>
                    <a:pt x="141984" y="926376"/>
                    <a:pt x="174378" y="976184"/>
                    <a:pt x="174378" y="976184"/>
                  </a:cubicBezTo>
                  <a:cubicBezTo>
                    <a:pt x="170259" y="1153297"/>
                    <a:pt x="169716" y="1330530"/>
                    <a:pt x="162021" y="1507524"/>
                  </a:cubicBezTo>
                  <a:cubicBezTo>
                    <a:pt x="160542" y="1541542"/>
                    <a:pt x="139133" y="1553301"/>
                    <a:pt x="124951" y="1581665"/>
                  </a:cubicBezTo>
                  <a:cubicBezTo>
                    <a:pt x="119126" y="1593315"/>
                    <a:pt x="116713" y="1606378"/>
                    <a:pt x="112594" y="1618735"/>
                  </a:cubicBezTo>
                  <a:cubicBezTo>
                    <a:pt x="126093" y="1686231"/>
                    <a:pt x="139802" y="1665668"/>
                    <a:pt x="112594" y="1692876"/>
                  </a:cubicBezTo>
                </a:path>
              </a:pathLst>
            </a:custGeom>
            <a:solidFill>
              <a:schemeClr val="bg1"/>
            </a:solidFill>
            <a:ln w="38100" cap="flat" cmpd="sng" algn="ctr">
              <a:solidFill>
                <a:srgbClr val="FFC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519" name="Freeform 518"/>
            <p:cNvSpPr/>
            <p:nvPr/>
          </p:nvSpPr>
          <p:spPr bwMode="auto">
            <a:xfrm>
              <a:off x="2895532" y="3400612"/>
              <a:ext cx="593124" cy="1594022"/>
            </a:xfrm>
            <a:custGeom>
              <a:avLst/>
              <a:gdLst>
                <a:gd name="connsiteX0" fmla="*/ 593124 w 593124"/>
                <a:gd name="connsiteY0" fmla="*/ 0 h 1594022"/>
                <a:gd name="connsiteX1" fmla="*/ 580767 w 593124"/>
                <a:gd name="connsiteY1" fmla="*/ 395417 h 1594022"/>
                <a:gd name="connsiteX2" fmla="*/ 568410 w 593124"/>
                <a:gd name="connsiteY2" fmla="*/ 432487 h 1594022"/>
                <a:gd name="connsiteX3" fmla="*/ 543697 w 593124"/>
                <a:gd name="connsiteY3" fmla="*/ 469557 h 1594022"/>
                <a:gd name="connsiteX4" fmla="*/ 506627 w 593124"/>
                <a:gd name="connsiteY4" fmla="*/ 556054 h 1594022"/>
                <a:gd name="connsiteX5" fmla="*/ 469556 w 593124"/>
                <a:gd name="connsiteY5" fmla="*/ 568411 h 1594022"/>
                <a:gd name="connsiteX6" fmla="*/ 420129 w 593124"/>
                <a:gd name="connsiteY6" fmla="*/ 679622 h 1594022"/>
                <a:gd name="connsiteX7" fmla="*/ 407773 w 593124"/>
                <a:gd name="connsiteY7" fmla="*/ 716692 h 1594022"/>
                <a:gd name="connsiteX8" fmla="*/ 395416 w 593124"/>
                <a:gd name="connsiteY8" fmla="*/ 840260 h 1594022"/>
                <a:gd name="connsiteX9" fmla="*/ 345989 w 593124"/>
                <a:gd name="connsiteY9" fmla="*/ 914400 h 1594022"/>
                <a:gd name="connsiteX10" fmla="*/ 333632 w 593124"/>
                <a:gd name="connsiteY10" fmla="*/ 951471 h 1594022"/>
                <a:gd name="connsiteX11" fmla="*/ 308919 w 593124"/>
                <a:gd name="connsiteY11" fmla="*/ 988541 h 1594022"/>
                <a:gd name="connsiteX12" fmla="*/ 271848 w 593124"/>
                <a:gd name="connsiteY12" fmla="*/ 1062681 h 1594022"/>
                <a:gd name="connsiteX13" fmla="*/ 234778 w 593124"/>
                <a:gd name="connsiteY13" fmla="*/ 1087395 h 1594022"/>
                <a:gd name="connsiteX14" fmla="*/ 172994 w 593124"/>
                <a:gd name="connsiteY14" fmla="*/ 1161536 h 1594022"/>
                <a:gd name="connsiteX15" fmla="*/ 123567 w 593124"/>
                <a:gd name="connsiteY15" fmla="*/ 1235676 h 1594022"/>
                <a:gd name="connsiteX16" fmla="*/ 111210 w 593124"/>
                <a:gd name="connsiteY16" fmla="*/ 1285103 h 1594022"/>
                <a:gd name="connsiteX17" fmla="*/ 98854 w 593124"/>
                <a:gd name="connsiteY17" fmla="*/ 1322173 h 1594022"/>
                <a:gd name="connsiteX18" fmla="*/ 74140 w 593124"/>
                <a:gd name="connsiteY18" fmla="*/ 1445741 h 1594022"/>
                <a:gd name="connsiteX19" fmla="*/ 24713 w 593124"/>
                <a:gd name="connsiteY19" fmla="*/ 1519881 h 1594022"/>
                <a:gd name="connsiteX20" fmla="*/ 0 w 593124"/>
                <a:gd name="connsiteY20" fmla="*/ 1556952 h 1594022"/>
                <a:gd name="connsiteX21" fmla="*/ 0 w 593124"/>
                <a:gd name="connsiteY21" fmla="*/ 1594022 h 1594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93124" h="1594022">
                  <a:moveTo>
                    <a:pt x="593124" y="0"/>
                  </a:moveTo>
                  <a:cubicBezTo>
                    <a:pt x="589005" y="131806"/>
                    <a:pt x="588290" y="263762"/>
                    <a:pt x="580767" y="395417"/>
                  </a:cubicBezTo>
                  <a:cubicBezTo>
                    <a:pt x="580024" y="408421"/>
                    <a:pt x="574235" y="420837"/>
                    <a:pt x="568410" y="432487"/>
                  </a:cubicBezTo>
                  <a:cubicBezTo>
                    <a:pt x="561769" y="445770"/>
                    <a:pt x="551935" y="457200"/>
                    <a:pt x="543697" y="469557"/>
                  </a:cubicBezTo>
                  <a:cubicBezTo>
                    <a:pt x="536277" y="499236"/>
                    <a:pt x="533293" y="534721"/>
                    <a:pt x="506627" y="556054"/>
                  </a:cubicBezTo>
                  <a:cubicBezTo>
                    <a:pt x="496456" y="564191"/>
                    <a:pt x="481913" y="564292"/>
                    <a:pt x="469556" y="568411"/>
                  </a:cubicBezTo>
                  <a:cubicBezTo>
                    <a:pt x="430394" y="627155"/>
                    <a:pt x="449538" y="591394"/>
                    <a:pt x="420129" y="679622"/>
                  </a:cubicBezTo>
                  <a:lnTo>
                    <a:pt x="407773" y="716692"/>
                  </a:lnTo>
                  <a:cubicBezTo>
                    <a:pt x="403654" y="757881"/>
                    <a:pt x="407763" y="800750"/>
                    <a:pt x="395416" y="840260"/>
                  </a:cubicBezTo>
                  <a:cubicBezTo>
                    <a:pt x="386557" y="868610"/>
                    <a:pt x="362465" y="889687"/>
                    <a:pt x="345989" y="914400"/>
                  </a:cubicBezTo>
                  <a:cubicBezTo>
                    <a:pt x="338764" y="925238"/>
                    <a:pt x="339457" y="939821"/>
                    <a:pt x="333632" y="951471"/>
                  </a:cubicBezTo>
                  <a:cubicBezTo>
                    <a:pt x="326991" y="964754"/>
                    <a:pt x="315560" y="975258"/>
                    <a:pt x="308919" y="988541"/>
                  </a:cubicBezTo>
                  <a:cubicBezTo>
                    <a:pt x="288819" y="1028742"/>
                    <a:pt x="307261" y="1027268"/>
                    <a:pt x="271848" y="1062681"/>
                  </a:cubicBezTo>
                  <a:cubicBezTo>
                    <a:pt x="261347" y="1073182"/>
                    <a:pt x="247135" y="1079157"/>
                    <a:pt x="234778" y="1087395"/>
                  </a:cubicBezTo>
                  <a:cubicBezTo>
                    <a:pt x="146459" y="1219870"/>
                    <a:pt x="284003" y="1018810"/>
                    <a:pt x="172994" y="1161536"/>
                  </a:cubicBezTo>
                  <a:cubicBezTo>
                    <a:pt x="154759" y="1184981"/>
                    <a:pt x="123567" y="1235676"/>
                    <a:pt x="123567" y="1235676"/>
                  </a:cubicBezTo>
                  <a:cubicBezTo>
                    <a:pt x="119448" y="1252152"/>
                    <a:pt x="115875" y="1268774"/>
                    <a:pt x="111210" y="1285103"/>
                  </a:cubicBezTo>
                  <a:cubicBezTo>
                    <a:pt x="107632" y="1297627"/>
                    <a:pt x="101408" y="1309401"/>
                    <a:pt x="98854" y="1322173"/>
                  </a:cubicBezTo>
                  <a:cubicBezTo>
                    <a:pt x="93865" y="1347117"/>
                    <a:pt x="91589" y="1414334"/>
                    <a:pt x="74140" y="1445741"/>
                  </a:cubicBezTo>
                  <a:cubicBezTo>
                    <a:pt x="59715" y="1471705"/>
                    <a:pt x="41188" y="1495168"/>
                    <a:pt x="24713" y="1519881"/>
                  </a:cubicBezTo>
                  <a:cubicBezTo>
                    <a:pt x="16475" y="1532238"/>
                    <a:pt x="0" y="1542101"/>
                    <a:pt x="0" y="1556952"/>
                  </a:cubicBezTo>
                  <a:lnTo>
                    <a:pt x="0" y="1594022"/>
                  </a:lnTo>
                </a:path>
              </a:pathLst>
            </a:custGeom>
            <a:solidFill>
              <a:schemeClr val="bg1"/>
            </a:solidFill>
            <a:ln w="38100" cap="flat" cmpd="sng" algn="ctr">
              <a:solidFill>
                <a:srgbClr val="FFC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520" name="Freeform 519"/>
            <p:cNvSpPr/>
            <p:nvPr/>
          </p:nvSpPr>
          <p:spPr bwMode="auto">
            <a:xfrm>
              <a:off x="2994386" y="5142658"/>
              <a:ext cx="1569308" cy="303673"/>
            </a:xfrm>
            <a:custGeom>
              <a:avLst/>
              <a:gdLst>
                <a:gd name="connsiteX0" fmla="*/ 0 w 1569308"/>
                <a:gd name="connsiteY0" fmla="*/ 257 h 303673"/>
                <a:gd name="connsiteX1" fmla="*/ 370702 w 1569308"/>
                <a:gd name="connsiteY1" fmla="*/ 12614 h 303673"/>
                <a:gd name="connsiteX2" fmla="*/ 531340 w 1569308"/>
                <a:gd name="connsiteY2" fmla="*/ 74398 h 303673"/>
                <a:gd name="connsiteX3" fmla="*/ 605481 w 1569308"/>
                <a:gd name="connsiteY3" fmla="*/ 111468 h 303673"/>
                <a:gd name="connsiteX4" fmla="*/ 654908 w 1569308"/>
                <a:gd name="connsiteY4" fmla="*/ 123825 h 303673"/>
                <a:gd name="connsiteX5" fmla="*/ 1025610 w 1569308"/>
                <a:gd name="connsiteY5" fmla="*/ 160895 h 303673"/>
                <a:gd name="connsiteX6" fmla="*/ 1087394 w 1569308"/>
                <a:gd name="connsiteY6" fmla="*/ 185608 h 303673"/>
                <a:gd name="connsiteX7" fmla="*/ 1149178 w 1569308"/>
                <a:gd name="connsiteY7" fmla="*/ 197965 h 303673"/>
                <a:gd name="connsiteX8" fmla="*/ 1371600 w 1569308"/>
                <a:gd name="connsiteY8" fmla="*/ 222679 h 303673"/>
                <a:gd name="connsiteX9" fmla="*/ 1421027 w 1569308"/>
                <a:gd name="connsiteY9" fmla="*/ 235035 h 303673"/>
                <a:gd name="connsiteX10" fmla="*/ 1458097 w 1569308"/>
                <a:gd name="connsiteY10" fmla="*/ 247392 h 303673"/>
                <a:gd name="connsiteX11" fmla="*/ 1519881 w 1569308"/>
                <a:gd name="connsiteY11" fmla="*/ 259749 h 303673"/>
                <a:gd name="connsiteX12" fmla="*/ 1569308 w 1569308"/>
                <a:gd name="connsiteY12" fmla="*/ 296819 h 303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69308" h="303673">
                  <a:moveTo>
                    <a:pt x="0" y="257"/>
                  </a:moveTo>
                  <a:cubicBezTo>
                    <a:pt x="123567" y="4376"/>
                    <a:pt x="247711" y="0"/>
                    <a:pt x="370702" y="12614"/>
                  </a:cubicBezTo>
                  <a:cubicBezTo>
                    <a:pt x="408787" y="16520"/>
                    <a:pt x="489673" y="50588"/>
                    <a:pt x="531340" y="74398"/>
                  </a:cubicBezTo>
                  <a:cubicBezTo>
                    <a:pt x="585495" y="105344"/>
                    <a:pt x="548842" y="95285"/>
                    <a:pt x="605481" y="111468"/>
                  </a:cubicBezTo>
                  <a:cubicBezTo>
                    <a:pt x="621810" y="116134"/>
                    <a:pt x="638641" y="118945"/>
                    <a:pt x="654908" y="123825"/>
                  </a:cubicBezTo>
                  <a:cubicBezTo>
                    <a:pt x="844586" y="180728"/>
                    <a:pt x="620696" y="144023"/>
                    <a:pt x="1025610" y="160895"/>
                  </a:cubicBezTo>
                  <a:cubicBezTo>
                    <a:pt x="1046205" y="169133"/>
                    <a:pt x="1066148" y="179234"/>
                    <a:pt x="1087394" y="185608"/>
                  </a:cubicBezTo>
                  <a:cubicBezTo>
                    <a:pt x="1107511" y="191643"/>
                    <a:pt x="1128514" y="194208"/>
                    <a:pt x="1149178" y="197965"/>
                  </a:cubicBezTo>
                  <a:cubicBezTo>
                    <a:pt x="1253309" y="216898"/>
                    <a:pt x="1235832" y="211365"/>
                    <a:pt x="1371600" y="222679"/>
                  </a:cubicBezTo>
                  <a:cubicBezTo>
                    <a:pt x="1388076" y="226798"/>
                    <a:pt x="1404698" y="230370"/>
                    <a:pt x="1421027" y="235035"/>
                  </a:cubicBezTo>
                  <a:cubicBezTo>
                    <a:pt x="1433551" y="238613"/>
                    <a:pt x="1445461" y="244233"/>
                    <a:pt x="1458097" y="247392"/>
                  </a:cubicBezTo>
                  <a:cubicBezTo>
                    <a:pt x="1478472" y="252486"/>
                    <a:pt x="1499286" y="255630"/>
                    <a:pt x="1519881" y="259749"/>
                  </a:cubicBezTo>
                  <a:cubicBezTo>
                    <a:pt x="1549164" y="303673"/>
                    <a:pt x="1529743" y="296819"/>
                    <a:pt x="1569308" y="296819"/>
                  </a:cubicBezTo>
                </a:path>
              </a:pathLst>
            </a:custGeom>
            <a:solidFill>
              <a:schemeClr val="bg1"/>
            </a:solidFill>
            <a:ln w="38100" cap="flat" cmpd="sng" algn="ctr">
              <a:solidFill>
                <a:srgbClr val="FFC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521" name="Freeform 520"/>
            <p:cNvSpPr/>
            <p:nvPr/>
          </p:nvSpPr>
          <p:spPr bwMode="auto">
            <a:xfrm>
              <a:off x="4749045" y="5473407"/>
              <a:ext cx="1161535" cy="81079"/>
            </a:xfrm>
            <a:custGeom>
              <a:avLst/>
              <a:gdLst>
                <a:gd name="connsiteX0" fmla="*/ 0 w 1161535"/>
                <a:gd name="connsiteY0" fmla="*/ 40211 h 81079"/>
                <a:gd name="connsiteX1" fmla="*/ 86497 w 1161535"/>
                <a:gd name="connsiteY1" fmla="*/ 27854 h 81079"/>
                <a:gd name="connsiteX2" fmla="*/ 148281 w 1161535"/>
                <a:gd name="connsiteY2" fmla="*/ 3141 h 81079"/>
                <a:gd name="connsiteX3" fmla="*/ 345989 w 1161535"/>
                <a:gd name="connsiteY3" fmla="*/ 15497 h 81079"/>
                <a:gd name="connsiteX4" fmla="*/ 605481 w 1161535"/>
                <a:gd name="connsiteY4" fmla="*/ 27854 h 81079"/>
                <a:gd name="connsiteX5" fmla="*/ 815546 w 1161535"/>
                <a:gd name="connsiteY5" fmla="*/ 40211 h 81079"/>
                <a:gd name="connsiteX6" fmla="*/ 852616 w 1161535"/>
                <a:gd name="connsiteY6" fmla="*/ 52568 h 81079"/>
                <a:gd name="connsiteX7" fmla="*/ 1161535 w 1161535"/>
                <a:gd name="connsiteY7" fmla="*/ 64924 h 81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1535" h="81079">
                  <a:moveTo>
                    <a:pt x="0" y="40211"/>
                  </a:moveTo>
                  <a:cubicBezTo>
                    <a:pt x="28832" y="36092"/>
                    <a:pt x="58242" y="34918"/>
                    <a:pt x="86497" y="27854"/>
                  </a:cubicBezTo>
                  <a:cubicBezTo>
                    <a:pt x="108016" y="22474"/>
                    <a:pt x="126125" y="4196"/>
                    <a:pt x="148281" y="3141"/>
                  </a:cubicBezTo>
                  <a:cubicBezTo>
                    <a:pt x="214238" y="0"/>
                    <a:pt x="280054" y="11933"/>
                    <a:pt x="345989" y="15497"/>
                  </a:cubicBezTo>
                  <a:lnTo>
                    <a:pt x="605481" y="27854"/>
                  </a:lnTo>
                  <a:lnTo>
                    <a:pt x="815546" y="40211"/>
                  </a:lnTo>
                  <a:cubicBezTo>
                    <a:pt x="827903" y="44330"/>
                    <a:pt x="839980" y="49409"/>
                    <a:pt x="852616" y="52568"/>
                  </a:cubicBezTo>
                  <a:cubicBezTo>
                    <a:pt x="966661" y="81079"/>
                    <a:pt x="1005253" y="64924"/>
                    <a:pt x="1161535" y="64924"/>
                  </a:cubicBezTo>
                </a:path>
              </a:pathLst>
            </a:custGeom>
            <a:solidFill>
              <a:schemeClr val="bg1"/>
            </a:solidFill>
            <a:ln w="38100" cap="flat" cmpd="sng" algn="ctr">
              <a:solidFill>
                <a:srgbClr val="FFC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522" name="TextBox 131"/>
            <p:cNvSpPr txBox="1">
              <a:spLocks noChangeArrowheads="1"/>
            </p:cNvSpPr>
            <p:nvPr/>
          </p:nvSpPr>
          <p:spPr bwMode="auto">
            <a:xfrm>
              <a:off x="2927296" y="4905495"/>
              <a:ext cx="568325" cy="215900"/>
            </a:xfrm>
            <a:prstGeom prst="rect">
              <a:avLst/>
            </a:prstGeom>
            <a:noFill/>
            <a:ln w="9525">
              <a:noFill/>
              <a:miter lim="800000"/>
              <a:headEnd/>
              <a:tailEnd/>
            </a:ln>
          </p:spPr>
          <p:txBody>
            <a:bodyPr wrap="none">
              <a:spAutoFit/>
            </a:bodyPr>
            <a:lstStyle/>
            <a:p>
              <a:pPr>
                <a:spcBef>
                  <a:spcPct val="50000"/>
                </a:spcBef>
              </a:pPr>
              <a:r>
                <a:rPr lang="en-US" sz="800" b="1" i="0" smtClean="0">
                  <a:latin typeface="Calibri" pitchFamily="34" charset="0"/>
                </a:rPr>
                <a:t>POP MW</a:t>
              </a:r>
              <a:endParaRPr lang="en-US" sz="800" b="1" i="0" dirty="0">
                <a:latin typeface="Calibri" pitchFamily="34" charset="0"/>
              </a:endParaRPr>
            </a:p>
          </p:txBody>
        </p:sp>
      </p:grpSp>
      <p:sp>
        <p:nvSpPr>
          <p:cNvPr id="1072" name="Rectangle 12"/>
          <p:cNvSpPr>
            <a:spLocks noChangeArrowheads="1"/>
          </p:cNvSpPr>
          <p:nvPr/>
        </p:nvSpPr>
        <p:spPr bwMode="auto">
          <a:xfrm>
            <a:off x="4972050" y="980728"/>
            <a:ext cx="4767263" cy="2026615"/>
          </a:xfrm>
          <a:prstGeom prst="rect">
            <a:avLst/>
          </a:prstGeom>
          <a:solidFill>
            <a:srgbClr val="FFFFFF"/>
          </a:solidFill>
          <a:ln w="9525">
            <a:solidFill>
              <a:srgbClr val="97B3D1"/>
            </a:solidFill>
            <a:miter lim="800000"/>
            <a:headEnd/>
            <a:tailEnd/>
          </a:ln>
        </p:spPr>
        <p:txBody>
          <a:bodyPr tIns="82800" bIns="82800"/>
          <a:lstStyle/>
          <a:p>
            <a:pPr marL="185738" indent="-185738">
              <a:buFontTx/>
              <a:buChar char="•"/>
            </a:pPr>
            <a:endParaRPr lang="pt-BR" sz="1050" b="0" dirty="0" smtClean="0">
              <a:latin typeface="Calibri" pitchFamily="34" charset="0"/>
            </a:endParaRPr>
          </a:p>
          <a:p>
            <a:pPr marL="185738" indent="-185738">
              <a:buFontTx/>
              <a:buChar char="•"/>
            </a:pPr>
            <a:r>
              <a:rPr lang="pt-BR" sz="1050" b="0" dirty="0" smtClean="0">
                <a:latin typeface="Calibri" pitchFamily="34" charset="0"/>
              </a:rPr>
              <a:t>PTN Technology</a:t>
            </a:r>
          </a:p>
          <a:p>
            <a:pPr marL="185738" indent="-185738">
              <a:buFontTx/>
              <a:buChar char="•"/>
            </a:pPr>
            <a:r>
              <a:rPr lang="en-US" sz="1050" b="0" dirty="0" smtClean="0">
                <a:latin typeface="Calibri" pitchFamily="34" charset="0"/>
              </a:rPr>
              <a:t>Quality </a:t>
            </a:r>
          </a:p>
          <a:p>
            <a:pPr marL="642938" lvl="1" indent="-185738">
              <a:buFont typeface="Arial" pitchFamily="34" charset="0"/>
              <a:buChar char="•"/>
            </a:pPr>
            <a:r>
              <a:rPr lang="pt-BR" sz="1000" b="0" dirty="0" smtClean="0">
                <a:latin typeface="Calibri" pitchFamily="34" charset="0"/>
              </a:rPr>
              <a:t>MESH CORE DWDM</a:t>
            </a:r>
          </a:p>
          <a:p>
            <a:pPr marL="642938" lvl="1" indent="-185738">
              <a:buFont typeface="Arial" pitchFamily="34" charset="0"/>
              <a:buChar char="•"/>
            </a:pPr>
            <a:r>
              <a:rPr lang="pt-BR" sz="1000" b="0" dirty="0" smtClean="0">
                <a:latin typeface="Calibri" pitchFamily="34" charset="0"/>
              </a:rPr>
              <a:t>Network (optimized aereal/underground deployment, guarantying resiliency) </a:t>
            </a:r>
          </a:p>
          <a:p>
            <a:pPr marL="185738" indent="-185738">
              <a:buFontTx/>
              <a:buChar char="•"/>
            </a:pPr>
            <a:r>
              <a:rPr lang="en-US" sz="1050" b="0" dirty="0" smtClean="0">
                <a:latin typeface="Calibri" pitchFamily="34" charset="0"/>
              </a:rPr>
              <a:t>Innovation</a:t>
            </a:r>
          </a:p>
          <a:p>
            <a:pPr marL="642938" lvl="1" indent="-185738">
              <a:buFont typeface="Arial" pitchFamily="34" charset="0"/>
              <a:buChar char="•"/>
            </a:pPr>
            <a:r>
              <a:rPr lang="pt-BR" sz="1000" dirty="0" smtClean="0">
                <a:latin typeface="Calibri" pitchFamily="34" charset="0"/>
              </a:rPr>
              <a:t>PTN </a:t>
            </a:r>
            <a:r>
              <a:rPr lang="pt-BR" sz="1000" dirty="0">
                <a:latin typeface="Calibri" pitchFamily="34" charset="0"/>
              </a:rPr>
              <a:t>with </a:t>
            </a:r>
            <a:r>
              <a:rPr lang="pt-BR" sz="1000" dirty="0" smtClean="0">
                <a:latin typeface="Calibri" pitchFamily="34" charset="0"/>
              </a:rPr>
              <a:t>MPLS-TP (first introduction in Latin America &amp; in Telecom Italia group)</a:t>
            </a:r>
          </a:p>
          <a:p>
            <a:pPr marL="642938" lvl="1" indent="-185738">
              <a:buFont typeface="Arial" pitchFamily="34" charset="0"/>
              <a:buChar char="•"/>
            </a:pPr>
            <a:r>
              <a:rPr lang="pt-BR" sz="1000" b="0" dirty="0" err="1" smtClean="0">
                <a:latin typeface="Calibri" pitchFamily="34" charset="0"/>
              </a:rPr>
              <a:t>Integration</a:t>
            </a:r>
            <a:r>
              <a:rPr lang="pt-BR" sz="1000" b="0" dirty="0" smtClean="0">
                <a:latin typeface="Calibri" pitchFamily="34" charset="0"/>
              </a:rPr>
              <a:t> </a:t>
            </a:r>
            <a:r>
              <a:rPr lang="pt-BR" sz="1000" b="0" dirty="0" err="1" smtClean="0">
                <a:latin typeface="Calibri" pitchFamily="34" charset="0"/>
              </a:rPr>
              <a:t>with</a:t>
            </a:r>
            <a:r>
              <a:rPr lang="pt-BR" sz="1000" b="0" dirty="0" smtClean="0">
                <a:latin typeface="Calibri" pitchFamily="34" charset="0"/>
              </a:rPr>
              <a:t> </a:t>
            </a:r>
            <a:r>
              <a:rPr lang="pt-BR" sz="1000" b="0" dirty="0" err="1" smtClean="0">
                <a:latin typeface="Calibri" pitchFamily="34" charset="0"/>
              </a:rPr>
              <a:t>Microwave</a:t>
            </a:r>
            <a:r>
              <a:rPr lang="pt-BR" sz="1000" b="0" dirty="0" smtClean="0">
                <a:latin typeface="Calibri" pitchFamily="34" charset="0"/>
              </a:rPr>
              <a:t> Network.</a:t>
            </a:r>
            <a:endParaRPr lang="pt-BR" sz="1000" b="0" dirty="0">
              <a:latin typeface="Calibri" pitchFamily="34" charset="0"/>
            </a:endParaRPr>
          </a:p>
          <a:p>
            <a:pPr marL="642938" lvl="1" indent="-185738">
              <a:buFont typeface="Wingdings" pitchFamily="2" charset="2"/>
              <a:buChar char="ü"/>
            </a:pPr>
            <a:endParaRPr lang="it-IT" sz="1050" b="0" dirty="0">
              <a:latin typeface="Calibri" pitchFamily="34" charset="0"/>
            </a:endParaRPr>
          </a:p>
        </p:txBody>
      </p:sp>
      <p:sp>
        <p:nvSpPr>
          <p:cNvPr id="1073" name="Rectangle 12"/>
          <p:cNvSpPr>
            <a:spLocks noChangeArrowheads="1"/>
          </p:cNvSpPr>
          <p:nvPr/>
        </p:nvSpPr>
        <p:spPr bwMode="auto">
          <a:xfrm>
            <a:off x="145906" y="970337"/>
            <a:ext cx="4663077" cy="2037006"/>
          </a:xfrm>
          <a:prstGeom prst="rect">
            <a:avLst/>
          </a:prstGeom>
          <a:solidFill>
            <a:srgbClr val="FFFFFF"/>
          </a:solidFill>
          <a:ln w="9525">
            <a:solidFill>
              <a:srgbClr val="97B3D1"/>
            </a:solidFill>
            <a:miter lim="800000"/>
            <a:headEnd/>
            <a:tailEnd/>
          </a:ln>
        </p:spPr>
        <p:txBody>
          <a:bodyPr tIns="82800" bIns="82800"/>
          <a:lstStyle/>
          <a:p>
            <a:pPr marL="169863" indent="-169863" eaLnBrk="0" hangingPunct="0">
              <a:lnSpc>
                <a:spcPct val="110000"/>
              </a:lnSpc>
              <a:spcBef>
                <a:spcPct val="20000"/>
              </a:spcBef>
              <a:spcAft>
                <a:spcPct val="10000"/>
              </a:spcAft>
              <a:buClr>
                <a:schemeClr val="accent1"/>
              </a:buClr>
              <a:buFont typeface="Webdings" pitchFamily="18" charset="2"/>
              <a:buChar char="4"/>
            </a:pPr>
            <a:endParaRPr lang="en-US" sz="1050" b="0" dirty="0" smtClean="0">
              <a:latin typeface="Calibri" pitchFamily="34" charset="0"/>
            </a:endParaRPr>
          </a:p>
          <a:p>
            <a:pPr marL="169863" indent="-169863" eaLnBrk="0" hangingPunct="0">
              <a:lnSpc>
                <a:spcPct val="110000"/>
              </a:lnSpc>
              <a:spcBef>
                <a:spcPct val="20000"/>
              </a:spcBef>
              <a:spcAft>
                <a:spcPct val="10000"/>
              </a:spcAft>
              <a:buClr>
                <a:schemeClr val="accent1"/>
              </a:buClr>
              <a:buFont typeface="Webdings" pitchFamily="18" charset="2"/>
              <a:buChar char="4"/>
            </a:pPr>
            <a:r>
              <a:rPr lang="en-US" sz="1050" b="0" dirty="0" smtClean="0">
                <a:latin typeface="Calibri" pitchFamily="34" charset="0"/>
              </a:rPr>
              <a:t>Main HUB Sites in Cities  </a:t>
            </a:r>
            <a:r>
              <a:rPr lang="en-US" sz="1050" b="0" dirty="0">
                <a:latin typeface="Calibri" pitchFamily="34" charset="0"/>
              </a:rPr>
              <a:t>connectivity with FO, supporting MBB e UBB services (UMTS/HSPA/LTE)</a:t>
            </a:r>
          </a:p>
          <a:p>
            <a:pPr marL="169863" indent="-169863" eaLnBrk="0" hangingPunct="0">
              <a:lnSpc>
                <a:spcPct val="110000"/>
              </a:lnSpc>
              <a:spcBef>
                <a:spcPct val="20000"/>
              </a:spcBef>
              <a:spcAft>
                <a:spcPct val="10000"/>
              </a:spcAft>
              <a:buClr>
                <a:schemeClr val="accent1"/>
              </a:buClr>
              <a:buFont typeface="Webdings" pitchFamily="18" charset="2"/>
              <a:buChar char="4"/>
            </a:pPr>
            <a:r>
              <a:rPr lang="en-US" sz="1050" b="0" dirty="0" smtClean="0">
                <a:latin typeface="Calibri" pitchFamily="34" charset="0"/>
              </a:rPr>
              <a:t>"</a:t>
            </a:r>
            <a:r>
              <a:rPr lang="en-US" sz="1050" b="0" dirty="0">
                <a:latin typeface="Calibri" pitchFamily="34" charset="0"/>
              </a:rPr>
              <a:t>Wave </a:t>
            </a:r>
            <a:r>
              <a:rPr lang="en-US" sz="1050" b="0" dirty="0" smtClean="0">
                <a:latin typeface="Calibri" pitchFamily="34" charset="0"/>
              </a:rPr>
              <a:t>2" </a:t>
            </a:r>
            <a:r>
              <a:rPr lang="en-US" sz="1050" b="0" dirty="0">
                <a:latin typeface="Calibri" pitchFamily="34" charset="0"/>
              </a:rPr>
              <a:t>of network </a:t>
            </a:r>
            <a:r>
              <a:rPr lang="en-US" sz="1050" b="0" dirty="0" smtClean="0">
                <a:latin typeface="Calibri" pitchFamily="34" charset="0"/>
              </a:rPr>
              <a:t>growth in main cities</a:t>
            </a:r>
            <a:endParaRPr lang="en-US" sz="1050" b="0" dirty="0">
              <a:latin typeface="Calibri" pitchFamily="34" charset="0"/>
            </a:endParaRPr>
          </a:p>
          <a:p>
            <a:pPr marL="169863" indent="-169863" eaLnBrk="0" hangingPunct="0">
              <a:lnSpc>
                <a:spcPct val="110000"/>
              </a:lnSpc>
              <a:spcBef>
                <a:spcPct val="20000"/>
              </a:spcBef>
              <a:spcAft>
                <a:spcPct val="10000"/>
              </a:spcAft>
              <a:buClr>
                <a:schemeClr val="accent1"/>
              </a:buClr>
              <a:buFont typeface="Webdings" pitchFamily="18" charset="2"/>
              <a:buChar char="4"/>
            </a:pPr>
            <a:r>
              <a:rPr lang="en-US" sz="1050" b="0" dirty="0" smtClean="0">
                <a:latin typeface="Calibri" pitchFamily="34" charset="0"/>
              </a:rPr>
              <a:t>Serving </a:t>
            </a:r>
            <a:r>
              <a:rPr lang="en-US" sz="1050" b="0" dirty="0">
                <a:latin typeface="Calibri" pitchFamily="34" charset="0"/>
              </a:rPr>
              <a:t>the growing demand for mobile UBB</a:t>
            </a:r>
          </a:p>
          <a:p>
            <a:pPr marL="169863" indent="-169863" eaLnBrk="0" hangingPunct="0">
              <a:lnSpc>
                <a:spcPct val="110000"/>
              </a:lnSpc>
              <a:spcBef>
                <a:spcPct val="20000"/>
              </a:spcBef>
              <a:spcAft>
                <a:spcPct val="10000"/>
              </a:spcAft>
              <a:buClr>
                <a:schemeClr val="accent1"/>
              </a:buClr>
              <a:buFont typeface="Webdings" pitchFamily="18" charset="2"/>
              <a:buChar char="4"/>
            </a:pPr>
            <a:r>
              <a:rPr lang="en-US" sz="1050" b="0" dirty="0" smtClean="0">
                <a:latin typeface="Calibri" pitchFamily="34" charset="0"/>
              </a:rPr>
              <a:t>Increased </a:t>
            </a:r>
            <a:r>
              <a:rPr lang="en-US" sz="1050" b="0" dirty="0">
                <a:latin typeface="Calibri" pitchFamily="34" charset="0"/>
              </a:rPr>
              <a:t>presence optics enabling new business corporate</a:t>
            </a:r>
          </a:p>
          <a:p>
            <a:pPr marL="169863" indent="-169863" eaLnBrk="0" hangingPunct="0">
              <a:lnSpc>
                <a:spcPct val="110000"/>
              </a:lnSpc>
              <a:spcBef>
                <a:spcPct val="20000"/>
              </a:spcBef>
              <a:spcAft>
                <a:spcPct val="10000"/>
              </a:spcAft>
              <a:buClr>
                <a:schemeClr val="accent1"/>
              </a:buClr>
              <a:buFont typeface="Webdings" pitchFamily="18" charset="2"/>
              <a:buChar char="4"/>
            </a:pPr>
            <a:r>
              <a:rPr lang="en-US" sz="1050" b="0" dirty="0" smtClean="0">
                <a:latin typeface="Calibri" pitchFamily="34" charset="0"/>
              </a:rPr>
              <a:t>Increased </a:t>
            </a:r>
            <a:r>
              <a:rPr lang="en-US" sz="1050" b="0" dirty="0">
                <a:latin typeface="Calibri" pitchFamily="34" charset="0"/>
              </a:rPr>
              <a:t>capillary network growth enabling Fixed </a:t>
            </a:r>
            <a:r>
              <a:rPr lang="en-US" sz="1050" b="0" dirty="0" smtClean="0">
                <a:latin typeface="Calibri" pitchFamily="34" charset="0"/>
              </a:rPr>
              <a:t>UBB</a:t>
            </a:r>
          </a:p>
          <a:p>
            <a:pPr marL="169863" indent="-169863" eaLnBrk="0" hangingPunct="0">
              <a:lnSpc>
                <a:spcPct val="110000"/>
              </a:lnSpc>
              <a:spcBef>
                <a:spcPct val="20000"/>
              </a:spcBef>
              <a:spcAft>
                <a:spcPct val="10000"/>
              </a:spcAft>
              <a:buClr>
                <a:schemeClr val="accent1"/>
              </a:buClr>
              <a:buFont typeface="Webdings" pitchFamily="18" charset="2"/>
              <a:buChar char="4"/>
            </a:pPr>
            <a:r>
              <a:rPr lang="en-US" sz="1050" b="0" dirty="0" smtClean="0">
                <a:latin typeface="Calibri" pitchFamily="34" charset="0"/>
              </a:rPr>
              <a:t>Integration and expansion of </a:t>
            </a:r>
            <a:r>
              <a:rPr lang="en-US" sz="1050" b="0" dirty="0" err="1" smtClean="0">
                <a:latin typeface="Calibri" pitchFamily="34" charset="0"/>
              </a:rPr>
              <a:t>Intelig</a:t>
            </a:r>
            <a:r>
              <a:rPr lang="en-US" sz="1050" b="0" dirty="0" smtClean="0">
                <a:latin typeface="Calibri" pitchFamily="34" charset="0"/>
              </a:rPr>
              <a:t> MAN original</a:t>
            </a:r>
            <a:endParaRPr lang="en-US" sz="1050" b="0" dirty="0">
              <a:latin typeface="Calibri" pitchFamily="34" charset="0"/>
            </a:endParaRPr>
          </a:p>
        </p:txBody>
      </p:sp>
      <p:sp>
        <p:nvSpPr>
          <p:cNvPr id="1079" name="CaixaDeTexto 260"/>
          <p:cNvSpPr txBox="1"/>
          <p:nvPr/>
        </p:nvSpPr>
        <p:spPr>
          <a:xfrm>
            <a:off x="145906" y="3124335"/>
            <a:ext cx="9585326" cy="261610"/>
          </a:xfrm>
          <a:prstGeom prst="rect">
            <a:avLst/>
          </a:prstGeom>
          <a:solidFill>
            <a:schemeClr val="tx1"/>
          </a:solidFill>
          <a:ln w="9525" algn="ctr">
            <a:noFill/>
            <a:miter lim="800000"/>
            <a:headEnd/>
            <a:tailEnd/>
          </a:ln>
        </p:spPr>
        <p:txBody>
          <a:bodyPr lIns="72000" tIns="72000" rIns="72000" bIns="72000" anchor="ctr"/>
          <a:lstStyle>
            <a:defPPr>
              <a:defRPr lang="en-US"/>
            </a:defPPr>
            <a:lvl1pPr eaLnBrk="0" fontAlgn="auto" hangingPunct="0">
              <a:spcBef>
                <a:spcPts val="0"/>
              </a:spcBef>
              <a:spcAft>
                <a:spcPts val="0"/>
              </a:spcAft>
              <a:defRPr sz="1100" kern="0">
                <a:solidFill>
                  <a:srgbClr val="FFFFFF"/>
                </a:solidFill>
                <a:latin typeface="Calibri" pitchFamily="34" charset="0"/>
              </a:defRPr>
            </a:lvl1pPr>
          </a:lstStyle>
          <a:p>
            <a:r>
              <a:rPr lang="pt-BR" sz="1050" dirty="0" smtClean="0"/>
              <a:t>METRO </a:t>
            </a:r>
            <a:r>
              <a:rPr lang="pt-BR" sz="1050" dirty="0" err="1" smtClean="0"/>
              <a:t>Evolution</a:t>
            </a:r>
            <a:endParaRPr lang="pt-BR" sz="1050" dirty="0"/>
          </a:p>
        </p:txBody>
      </p:sp>
      <p:sp>
        <p:nvSpPr>
          <p:cNvPr id="1070" name="AutoShape 6"/>
          <p:cNvSpPr>
            <a:spLocks noChangeArrowheads="1"/>
          </p:cNvSpPr>
          <p:nvPr/>
        </p:nvSpPr>
        <p:spPr bwMode="auto">
          <a:xfrm>
            <a:off x="145907" y="970335"/>
            <a:ext cx="4663076" cy="216001"/>
          </a:xfrm>
          <a:prstGeom prst="homePlate">
            <a:avLst>
              <a:gd name="adj" fmla="val 0"/>
            </a:avLst>
          </a:prstGeom>
          <a:solidFill>
            <a:schemeClr val="tx1"/>
          </a:solidFill>
          <a:ln w="9525" algn="ctr">
            <a:noFill/>
            <a:miter lim="800000"/>
            <a:headEnd/>
            <a:tailEnd/>
          </a:ln>
        </p:spPr>
        <p:txBody>
          <a:bodyPr lIns="72000" tIns="72000" rIns="72000" bIns="72000" anchor="ctr"/>
          <a:lstStyle/>
          <a:p>
            <a:pPr eaLnBrk="0" fontAlgn="auto" hangingPunct="0">
              <a:spcBef>
                <a:spcPts val="0"/>
              </a:spcBef>
              <a:spcAft>
                <a:spcPts val="0"/>
              </a:spcAft>
              <a:defRPr/>
            </a:pPr>
            <a:r>
              <a:rPr lang="it-IT" sz="1050" kern="0" dirty="0">
                <a:solidFill>
                  <a:srgbClr val="FFFFFF"/>
                </a:solidFill>
                <a:latin typeface="Calibri" pitchFamily="34" charset="0"/>
                <a:cs typeface="Arial" charset="0"/>
              </a:rPr>
              <a:t>Drivers</a:t>
            </a:r>
          </a:p>
        </p:txBody>
      </p:sp>
      <p:sp>
        <p:nvSpPr>
          <p:cNvPr id="1071" name="AutoShape 11"/>
          <p:cNvSpPr>
            <a:spLocks noChangeArrowheads="1"/>
          </p:cNvSpPr>
          <p:nvPr/>
        </p:nvSpPr>
        <p:spPr bwMode="auto">
          <a:xfrm>
            <a:off x="4965557" y="970336"/>
            <a:ext cx="4765675" cy="216000"/>
          </a:xfrm>
          <a:prstGeom prst="homePlate">
            <a:avLst>
              <a:gd name="adj" fmla="val 0"/>
            </a:avLst>
          </a:prstGeom>
          <a:solidFill>
            <a:schemeClr val="tx1"/>
          </a:solidFill>
          <a:ln w="9525" algn="ctr">
            <a:noFill/>
            <a:miter lim="800000"/>
            <a:headEnd/>
            <a:tailEnd/>
          </a:ln>
        </p:spPr>
        <p:txBody>
          <a:bodyPr lIns="72000" tIns="72000" rIns="72000" bIns="72000" anchor="ctr"/>
          <a:lstStyle/>
          <a:p>
            <a:pPr eaLnBrk="0" fontAlgn="auto" hangingPunct="0">
              <a:spcBef>
                <a:spcPts val="0"/>
              </a:spcBef>
              <a:spcAft>
                <a:spcPts val="0"/>
              </a:spcAft>
              <a:defRPr/>
            </a:pPr>
            <a:r>
              <a:rPr lang="it-IT" sz="1050" kern="0">
                <a:solidFill>
                  <a:srgbClr val="FFFFFF"/>
                </a:solidFill>
                <a:latin typeface="Calibri" pitchFamily="34" charset="0"/>
                <a:cs typeface="Arial" charset="0"/>
              </a:rPr>
              <a:t>Guidelines</a:t>
            </a:r>
          </a:p>
        </p:txBody>
      </p:sp>
      <p:grpSp>
        <p:nvGrpSpPr>
          <p:cNvPr id="213" name="Group 624"/>
          <p:cNvGrpSpPr/>
          <p:nvPr/>
        </p:nvGrpSpPr>
        <p:grpSpPr>
          <a:xfrm>
            <a:off x="415623" y="3574741"/>
            <a:ext cx="4648129" cy="2647109"/>
            <a:chOff x="1065133" y="2251192"/>
            <a:chExt cx="7959833" cy="4463956"/>
          </a:xfrm>
        </p:grpSpPr>
        <p:sp>
          <p:nvSpPr>
            <p:cNvPr id="216" name="Rounded Rectangle 215"/>
            <p:cNvSpPr/>
            <p:nvPr/>
          </p:nvSpPr>
          <p:spPr bwMode="auto">
            <a:xfrm>
              <a:off x="1065133" y="2251192"/>
              <a:ext cx="7959833" cy="4463956"/>
            </a:xfrm>
            <a:prstGeom prst="roundRect">
              <a:avLst>
                <a:gd name="adj" fmla="val 4957"/>
              </a:avLst>
            </a:prstGeom>
            <a:solidFill>
              <a:schemeClr val="bg1"/>
            </a:solidFill>
            <a:ln w="9525" cap="flat" cmpd="sng" algn="ctr">
              <a:solidFill>
                <a:srgbClr val="969696"/>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grpSp>
          <p:nvGrpSpPr>
            <p:cNvPr id="214" name="Group 48"/>
            <p:cNvGrpSpPr>
              <a:grpSpLocks/>
            </p:cNvGrpSpPr>
            <p:nvPr/>
          </p:nvGrpSpPr>
          <p:grpSpPr bwMode="auto">
            <a:xfrm>
              <a:off x="7300900" y="2776254"/>
              <a:ext cx="174625" cy="180975"/>
              <a:chOff x="8053381" y="4195958"/>
              <a:chExt cx="228600" cy="228600"/>
            </a:xfrm>
          </p:grpSpPr>
          <p:sp>
            <p:nvSpPr>
              <p:cNvPr id="420" name="Oval 419"/>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421" name="Oval 420"/>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215" name="Group 49"/>
            <p:cNvGrpSpPr>
              <a:grpSpLocks/>
            </p:cNvGrpSpPr>
            <p:nvPr/>
          </p:nvGrpSpPr>
          <p:grpSpPr bwMode="auto">
            <a:xfrm>
              <a:off x="7399325" y="3106454"/>
              <a:ext cx="174625" cy="180975"/>
              <a:chOff x="8053381" y="4195958"/>
              <a:chExt cx="228600" cy="228600"/>
            </a:xfrm>
          </p:grpSpPr>
          <p:sp>
            <p:nvSpPr>
              <p:cNvPr id="418" name="Oval 417"/>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419" name="Oval 418"/>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217" name="Group 52"/>
            <p:cNvGrpSpPr>
              <a:grpSpLocks/>
            </p:cNvGrpSpPr>
            <p:nvPr/>
          </p:nvGrpSpPr>
          <p:grpSpPr bwMode="auto">
            <a:xfrm>
              <a:off x="7291375" y="3463641"/>
              <a:ext cx="176213" cy="180975"/>
              <a:chOff x="8053381" y="4195958"/>
              <a:chExt cx="228600" cy="228600"/>
            </a:xfrm>
          </p:grpSpPr>
          <p:sp>
            <p:nvSpPr>
              <p:cNvPr id="416" name="Oval 415"/>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417" name="Oval 416"/>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218" name="Group 55"/>
            <p:cNvGrpSpPr>
              <a:grpSpLocks/>
            </p:cNvGrpSpPr>
            <p:nvPr/>
          </p:nvGrpSpPr>
          <p:grpSpPr bwMode="auto">
            <a:xfrm>
              <a:off x="6870688" y="3096929"/>
              <a:ext cx="176212" cy="180975"/>
              <a:chOff x="8053381" y="4195958"/>
              <a:chExt cx="228600" cy="228600"/>
            </a:xfrm>
          </p:grpSpPr>
          <p:sp>
            <p:nvSpPr>
              <p:cNvPr id="414" name="Oval 413"/>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415" name="Oval 414"/>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219" name="Group 58"/>
            <p:cNvGrpSpPr>
              <a:grpSpLocks/>
            </p:cNvGrpSpPr>
            <p:nvPr/>
          </p:nvGrpSpPr>
          <p:grpSpPr bwMode="auto">
            <a:xfrm>
              <a:off x="7432663" y="3881154"/>
              <a:ext cx="174625" cy="179387"/>
              <a:chOff x="8053381" y="4195958"/>
              <a:chExt cx="228600" cy="228600"/>
            </a:xfrm>
          </p:grpSpPr>
          <p:sp>
            <p:nvSpPr>
              <p:cNvPr id="412" name="Oval 411"/>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413" name="Oval 412"/>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220" name="Group 61"/>
            <p:cNvGrpSpPr>
              <a:grpSpLocks/>
            </p:cNvGrpSpPr>
            <p:nvPr/>
          </p:nvGrpSpPr>
          <p:grpSpPr bwMode="auto">
            <a:xfrm>
              <a:off x="7034200" y="3727166"/>
              <a:ext cx="174625" cy="180975"/>
              <a:chOff x="8053381" y="4195958"/>
              <a:chExt cx="228600" cy="228600"/>
            </a:xfrm>
          </p:grpSpPr>
          <p:sp>
            <p:nvSpPr>
              <p:cNvPr id="410" name="Oval 409"/>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411" name="Oval 410"/>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221" name="Group 64"/>
            <p:cNvGrpSpPr>
              <a:grpSpLocks/>
            </p:cNvGrpSpPr>
            <p:nvPr/>
          </p:nvGrpSpPr>
          <p:grpSpPr bwMode="auto">
            <a:xfrm>
              <a:off x="6645263" y="3708116"/>
              <a:ext cx="176212" cy="179388"/>
              <a:chOff x="8053381" y="4195958"/>
              <a:chExt cx="228600" cy="228600"/>
            </a:xfrm>
          </p:grpSpPr>
          <p:sp>
            <p:nvSpPr>
              <p:cNvPr id="408" name="Oval 407"/>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409" name="Oval 408"/>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222" name="Group 67"/>
            <p:cNvGrpSpPr>
              <a:grpSpLocks/>
            </p:cNvGrpSpPr>
            <p:nvPr/>
          </p:nvGrpSpPr>
          <p:grpSpPr bwMode="auto">
            <a:xfrm>
              <a:off x="6954825" y="4049429"/>
              <a:ext cx="176213" cy="179387"/>
              <a:chOff x="8053381" y="4195958"/>
              <a:chExt cx="228600" cy="228600"/>
            </a:xfrm>
          </p:grpSpPr>
          <p:sp>
            <p:nvSpPr>
              <p:cNvPr id="406" name="Oval 405"/>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407" name="Oval 406"/>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223" name="Group 70"/>
            <p:cNvGrpSpPr>
              <a:grpSpLocks/>
            </p:cNvGrpSpPr>
            <p:nvPr/>
          </p:nvGrpSpPr>
          <p:grpSpPr bwMode="auto">
            <a:xfrm>
              <a:off x="7443775" y="4401854"/>
              <a:ext cx="174625" cy="179387"/>
              <a:chOff x="8053381" y="4195958"/>
              <a:chExt cx="228600" cy="228600"/>
            </a:xfrm>
          </p:grpSpPr>
          <p:sp>
            <p:nvSpPr>
              <p:cNvPr id="404" name="Oval 403"/>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prst="relaxedInset"/>
              </a:sp3d>
            </p:spPr>
            <p:txBody>
              <a:bodyPr wrap="none" lIns="0" tIns="0" rIns="0" bIns="0" anchor="ctr"/>
              <a:lstStyle/>
              <a:p>
                <a:pPr algn="ctr" defTabSz="873125" eaLnBrk="0" hangingPunct="0">
                  <a:defRPr/>
                </a:pPr>
                <a:endParaRPr lang="en-US" dirty="0">
                  <a:cs typeface="Arial" pitchFamily="34" charset="0"/>
                </a:endParaRPr>
              </a:p>
            </p:txBody>
          </p:sp>
          <p:sp>
            <p:nvSpPr>
              <p:cNvPr id="405" name="Oval 404"/>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prst="relaxedInse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224" name="Group 73"/>
            <p:cNvGrpSpPr>
              <a:grpSpLocks/>
            </p:cNvGrpSpPr>
            <p:nvPr/>
          </p:nvGrpSpPr>
          <p:grpSpPr bwMode="auto">
            <a:xfrm>
              <a:off x="7008800" y="4498691"/>
              <a:ext cx="176213" cy="180975"/>
              <a:chOff x="8053381" y="4195958"/>
              <a:chExt cx="228600" cy="228600"/>
            </a:xfrm>
          </p:grpSpPr>
          <p:sp>
            <p:nvSpPr>
              <p:cNvPr id="402" name="Oval 401"/>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403" name="Oval 402"/>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225" name="Group 76"/>
            <p:cNvGrpSpPr>
              <a:grpSpLocks/>
            </p:cNvGrpSpPr>
            <p:nvPr/>
          </p:nvGrpSpPr>
          <p:grpSpPr bwMode="auto">
            <a:xfrm>
              <a:off x="6519850" y="4406616"/>
              <a:ext cx="174625" cy="179388"/>
              <a:chOff x="8053381" y="4195958"/>
              <a:chExt cx="228600" cy="228600"/>
            </a:xfrm>
          </p:grpSpPr>
          <p:sp>
            <p:nvSpPr>
              <p:cNvPr id="400" name="Oval 399"/>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401" name="Oval 400"/>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226" name="Group 79"/>
            <p:cNvGrpSpPr>
              <a:grpSpLocks/>
            </p:cNvGrpSpPr>
            <p:nvPr/>
          </p:nvGrpSpPr>
          <p:grpSpPr bwMode="auto">
            <a:xfrm>
              <a:off x="5988038" y="3570004"/>
              <a:ext cx="176212" cy="179387"/>
              <a:chOff x="8053381" y="4195958"/>
              <a:chExt cx="228600" cy="228600"/>
            </a:xfrm>
          </p:grpSpPr>
          <p:sp>
            <p:nvSpPr>
              <p:cNvPr id="398" name="Oval 397"/>
              <p:cNvSpPr/>
              <p:nvPr/>
            </p:nvSpPr>
            <p:spPr bwMode="auto">
              <a:xfrm>
                <a:off x="8053381" y="4195958"/>
                <a:ext cx="228600" cy="228600"/>
              </a:xfrm>
              <a:prstGeom prst="ellipse">
                <a:avLst/>
              </a:prstGeom>
              <a:solidFill>
                <a:srgbClr val="33CC33"/>
              </a:solidFill>
              <a:ln w="9525" cap="flat" cmpd="sng" algn="ctr">
                <a:solidFill>
                  <a:schemeClr val="tx1">
                    <a:lumMod val="95000"/>
                    <a:lumOff val="5000"/>
                  </a:schemeClr>
                </a:solidFill>
                <a:prstDash val="solid"/>
                <a:round/>
                <a:headEnd type="none" w="med" len="med"/>
                <a:tailEnd type="none" w="med" len="med"/>
              </a:ln>
              <a:effectLst/>
              <a:scene3d>
                <a:camera prst="orthographicFront"/>
                <a:lightRig rig="threePt" dir="t"/>
              </a:scene3d>
              <a:sp3d>
                <a:bevelT w="152400" h="50800" prst="softRound"/>
              </a:sp3d>
            </p:spPr>
            <p:txBody>
              <a:bodyPr wrap="none" lIns="0" tIns="0" rIns="0" bIns="0" anchor="ctr"/>
              <a:lstStyle/>
              <a:p>
                <a:pPr algn="ctr" defTabSz="873125" eaLnBrk="0" hangingPunct="0">
                  <a:defRPr/>
                </a:pPr>
                <a:endParaRPr lang="en-US" dirty="0">
                  <a:cs typeface="Arial" pitchFamily="34" charset="0"/>
                </a:endParaRPr>
              </a:p>
            </p:txBody>
          </p:sp>
          <p:sp>
            <p:nvSpPr>
              <p:cNvPr id="399" name="Oval 398"/>
              <p:cNvSpPr/>
              <p:nvPr/>
            </p:nvSpPr>
            <p:spPr bwMode="auto">
              <a:xfrm>
                <a:off x="8109348" y="4253475"/>
                <a:ext cx="116666" cy="114950"/>
              </a:xfrm>
              <a:prstGeom prst="ellipse">
                <a:avLst/>
              </a:prstGeom>
              <a:solidFill>
                <a:srgbClr val="FF0000"/>
              </a:solidFill>
              <a:ln w="9525" cap="flat" cmpd="sng" algn="ctr">
                <a:solidFill>
                  <a:schemeClr val="tx1">
                    <a:lumMod val="95000"/>
                    <a:lumOff val="5000"/>
                  </a:schemeClr>
                </a:solidFill>
                <a:prstDash val="solid"/>
                <a:round/>
                <a:headEnd type="none" w="med" len="med"/>
                <a:tailEnd type="none" w="med" len="med"/>
              </a:ln>
              <a:effectLst/>
              <a:scene3d>
                <a:camera prst="orthographicFront"/>
                <a:lightRig rig="threePt" dir="t"/>
              </a:scene3d>
              <a:sp3d>
                <a:bevelT w="152400" h="50800" prst="softRound"/>
              </a:sp3d>
            </p:spPr>
            <p:txBody>
              <a:bodyPr wrap="none" lIns="0" tIns="0" rIns="0" bIns="0" anchor="ctr"/>
              <a:lstStyle/>
              <a:p>
                <a:pPr algn="ctr" defTabSz="873125" eaLnBrk="0" hangingPunct="0">
                  <a:defRPr/>
                </a:pPr>
                <a:endParaRPr lang="en-US" dirty="0">
                  <a:cs typeface="Arial" pitchFamily="34" charset="0"/>
                </a:endParaRPr>
              </a:p>
            </p:txBody>
          </p:sp>
        </p:grpSp>
        <p:sp>
          <p:nvSpPr>
            <p:cNvPr id="229" name="Rounded Rectangle 228"/>
            <p:cNvSpPr/>
            <p:nvPr/>
          </p:nvSpPr>
          <p:spPr bwMode="auto">
            <a:xfrm>
              <a:off x="4591446" y="3700968"/>
              <a:ext cx="220772" cy="196066"/>
            </a:xfrm>
            <a:prstGeom prst="roundRect">
              <a:avLst/>
            </a:prstGeom>
            <a:solidFill>
              <a:srgbClr val="FFC000"/>
            </a:solidFill>
            <a:ln w="9525" cap="flat" cmpd="sng" algn="ctr">
              <a:solidFill>
                <a:srgbClr val="969696"/>
              </a:solidFill>
              <a:prstDash val="solid"/>
              <a:round/>
              <a:headEnd type="none" w="med" len="med"/>
              <a:tailEnd type="none" w="med" len="med"/>
            </a:ln>
            <a:effectLst/>
            <a:scene3d>
              <a:camera prst="orthographicFront"/>
              <a:lightRig rig="threePt" dir="t"/>
            </a:scene3d>
            <a:sp3d>
              <a:bevelT prst="relaxedInset"/>
            </a:sp3d>
          </p:spPr>
          <p:txBody>
            <a:bodyPr wrap="none" lIns="0" tIns="0" rIns="0" bIns="0" anchor="ctr"/>
            <a:lstStyle/>
            <a:p>
              <a:pPr algn="ctr" defTabSz="873125" eaLnBrk="0" hangingPunct="0">
                <a:defRPr/>
              </a:pPr>
              <a:endParaRPr lang="en-US" dirty="0">
                <a:cs typeface="Arial" pitchFamily="34" charset="0"/>
              </a:endParaRPr>
            </a:p>
          </p:txBody>
        </p:sp>
        <p:cxnSp>
          <p:nvCxnSpPr>
            <p:cNvPr id="230" name="Straight Connector 84"/>
            <p:cNvCxnSpPr>
              <a:cxnSpLocks noChangeShapeType="1"/>
            </p:cNvCxnSpPr>
            <p:nvPr/>
          </p:nvCxnSpPr>
          <p:spPr bwMode="auto">
            <a:xfrm rot="5400000">
              <a:off x="7076269" y="2873885"/>
              <a:ext cx="193675" cy="306387"/>
            </a:xfrm>
            <a:prstGeom prst="line">
              <a:avLst/>
            </a:prstGeom>
            <a:noFill/>
            <a:ln w="9525" algn="ctr">
              <a:solidFill>
                <a:srgbClr val="969696"/>
              </a:solidFill>
              <a:round/>
              <a:headEnd/>
              <a:tailEnd/>
            </a:ln>
          </p:spPr>
        </p:cxnSp>
        <p:cxnSp>
          <p:nvCxnSpPr>
            <p:cNvPr id="231" name="Straight Connector 86"/>
            <p:cNvCxnSpPr>
              <a:cxnSpLocks noChangeShapeType="1"/>
            </p:cNvCxnSpPr>
            <p:nvPr/>
          </p:nvCxnSpPr>
          <p:spPr bwMode="auto">
            <a:xfrm rot="10800000">
              <a:off x="7046900" y="3187416"/>
              <a:ext cx="352425" cy="9525"/>
            </a:xfrm>
            <a:prstGeom prst="line">
              <a:avLst/>
            </a:prstGeom>
            <a:noFill/>
            <a:ln w="9525" algn="ctr">
              <a:solidFill>
                <a:srgbClr val="969696"/>
              </a:solidFill>
              <a:round/>
              <a:headEnd/>
              <a:tailEnd/>
            </a:ln>
          </p:spPr>
        </p:cxnSp>
        <p:cxnSp>
          <p:nvCxnSpPr>
            <p:cNvPr id="232" name="Straight Connector 88"/>
            <p:cNvCxnSpPr>
              <a:cxnSpLocks noChangeShapeType="1"/>
            </p:cNvCxnSpPr>
            <p:nvPr/>
          </p:nvCxnSpPr>
          <p:spPr bwMode="auto">
            <a:xfrm rot="10800000">
              <a:off x="7019913" y="3250916"/>
              <a:ext cx="271462" cy="303213"/>
            </a:xfrm>
            <a:prstGeom prst="line">
              <a:avLst/>
            </a:prstGeom>
            <a:noFill/>
            <a:ln w="9525" algn="ctr">
              <a:solidFill>
                <a:srgbClr val="969696"/>
              </a:solidFill>
              <a:round/>
              <a:headEnd/>
              <a:tailEnd/>
            </a:ln>
          </p:spPr>
        </p:cxnSp>
        <p:cxnSp>
          <p:nvCxnSpPr>
            <p:cNvPr id="233" name="Straight Connector 90"/>
            <p:cNvCxnSpPr>
              <a:cxnSpLocks noChangeShapeType="1"/>
            </p:cNvCxnSpPr>
            <p:nvPr/>
          </p:nvCxnSpPr>
          <p:spPr bwMode="auto">
            <a:xfrm rot="10800000" flipV="1">
              <a:off x="6137263" y="3187416"/>
              <a:ext cx="733425" cy="407988"/>
            </a:xfrm>
            <a:prstGeom prst="line">
              <a:avLst/>
            </a:prstGeom>
            <a:noFill/>
            <a:ln w="9525" algn="ctr">
              <a:solidFill>
                <a:srgbClr val="969696"/>
              </a:solidFill>
              <a:round/>
              <a:headEnd/>
              <a:tailEnd/>
            </a:ln>
          </p:spPr>
        </p:cxnSp>
        <p:cxnSp>
          <p:nvCxnSpPr>
            <p:cNvPr id="234" name="Straight Connector 92"/>
            <p:cNvCxnSpPr>
              <a:cxnSpLocks noChangeShapeType="1"/>
            </p:cNvCxnSpPr>
            <p:nvPr/>
          </p:nvCxnSpPr>
          <p:spPr bwMode="auto">
            <a:xfrm rot="10800000">
              <a:off x="6121388" y="3660491"/>
              <a:ext cx="523875" cy="138113"/>
            </a:xfrm>
            <a:prstGeom prst="line">
              <a:avLst/>
            </a:prstGeom>
            <a:noFill/>
            <a:ln w="9525" algn="ctr">
              <a:solidFill>
                <a:srgbClr val="969696"/>
              </a:solidFill>
              <a:round/>
              <a:headEnd/>
              <a:tailEnd/>
            </a:ln>
          </p:spPr>
        </p:cxnSp>
        <p:cxnSp>
          <p:nvCxnSpPr>
            <p:cNvPr id="235" name="Straight Connector 97"/>
            <p:cNvCxnSpPr>
              <a:cxnSpLocks noChangeShapeType="1"/>
            </p:cNvCxnSpPr>
            <p:nvPr/>
          </p:nvCxnSpPr>
          <p:spPr bwMode="auto">
            <a:xfrm rot="16200000" flipV="1">
              <a:off x="7288994" y="3737485"/>
              <a:ext cx="88900" cy="249238"/>
            </a:xfrm>
            <a:prstGeom prst="line">
              <a:avLst/>
            </a:prstGeom>
            <a:noFill/>
            <a:ln w="9525" algn="ctr">
              <a:solidFill>
                <a:srgbClr val="969696"/>
              </a:solidFill>
              <a:round/>
              <a:headEnd/>
              <a:tailEnd/>
            </a:ln>
          </p:spPr>
        </p:cxnSp>
        <p:cxnSp>
          <p:nvCxnSpPr>
            <p:cNvPr id="236" name="Straight Connector 101"/>
            <p:cNvCxnSpPr>
              <a:cxnSpLocks noChangeShapeType="1"/>
            </p:cNvCxnSpPr>
            <p:nvPr/>
          </p:nvCxnSpPr>
          <p:spPr bwMode="auto">
            <a:xfrm rot="10800000">
              <a:off x="6821475" y="3798604"/>
              <a:ext cx="212725" cy="19050"/>
            </a:xfrm>
            <a:prstGeom prst="line">
              <a:avLst/>
            </a:prstGeom>
            <a:noFill/>
            <a:ln w="9525" algn="ctr">
              <a:solidFill>
                <a:srgbClr val="969696"/>
              </a:solidFill>
              <a:round/>
              <a:headEnd/>
              <a:tailEnd/>
            </a:ln>
          </p:spPr>
        </p:cxnSp>
        <p:cxnSp>
          <p:nvCxnSpPr>
            <p:cNvPr id="237" name="Straight Connector 104"/>
            <p:cNvCxnSpPr>
              <a:cxnSpLocks noChangeShapeType="1"/>
            </p:cNvCxnSpPr>
            <p:nvPr/>
          </p:nvCxnSpPr>
          <p:spPr bwMode="auto">
            <a:xfrm rot="16200000" flipV="1">
              <a:off x="6782581" y="3875598"/>
              <a:ext cx="212725" cy="185738"/>
            </a:xfrm>
            <a:prstGeom prst="line">
              <a:avLst/>
            </a:prstGeom>
            <a:noFill/>
            <a:ln w="9525" algn="ctr">
              <a:solidFill>
                <a:srgbClr val="969696"/>
              </a:solidFill>
              <a:round/>
              <a:headEnd/>
              <a:tailEnd/>
            </a:ln>
          </p:spPr>
        </p:cxnSp>
        <p:cxnSp>
          <p:nvCxnSpPr>
            <p:cNvPr id="238" name="Straight Connector 106"/>
            <p:cNvCxnSpPr>
              <a:cxnSpLocks noChangeShapeType="1"/>
            </p:cNvCxnSpPr>
            <p:nvPr/>
          </p:nvCxnSpPr>
          <p:spPr bwMode="auto">
            <a:xfrm rot="10800000" flipV="1">
              <a:off x="7185013" y="4492341"/>
              <a:ext cx="258762" cy="96838"/>
            </a:xfrm>
            <a:prstGeom prst="line">
              <a:avLst/>
            </a:prstGeom>
            <a:noFill/>
            <a:ln w="9525" algn="ctr">
              <a:solidFill>
                <a:srgbClr val="969696"/>
              </a:solidFill>
              <a:round/>
              <a:headEnd/>
              <a:tailEnd/>
            </a:ln>
          </p:spPr>
        </p:cxnSp>
        <p:cxnSp>
          <p:nvCxnSpPr>
            <p:cNvPr id="239" name="Straight Connector 108"/>
            <p:cNvCxnSpPr>
              <a:cxnSpLocks noChangeShapeType="1"/>
            </p:cNvCxnSpPr>
            <p:nvPr/>
          </p:nvCxnSpPr>
          <p:spPr bwMode="auto">
            <a:xfrm rot="10800000">
              <a:off x="6694475" y="4495516"/>
              <a:ext cx="314325" cy="93663"/>
            </a:xfrm>
            <a:prstGeom prst="line">
              <a:avLst/>
            </a:prstGeom>
            <a:noFill/>
            <a:ln w="9525" algn="ctr">
              <a:solidFill>
                <a:srgbClr val="969696"/>
              </a:solidFill>
              <a:round/>
              <a:headEnd/>
              <a:tailEnd/>
            </a:ln>
          </p:spPr>
        </p:cxnSp>
        <p:cxnSp>
          <p:nvCxnSpPr>
            <p:cNvPr id="240" name="Straight Connector 110"/>
            <p:cNvCxnSpPr>
              <a:cxnSpLocks noChangeShapeType="1"/>
            </p:cNvCxnSpPr>
            <p:nvPr/>
          </p:nvCxnSpPr>
          <p:spPr bwMode="auto">
            <a:xfrm rot="16200000" flipV="1">
              <a:off x="5968987" y="3855754"/>
              <a:ext cx="682625" cy="469900"/>
            </a:xfrm>
            <a:prstGeom prst="line">
              <a:avLst/>
            </a:prstGeom>
            <a:noFill/>
            <a:ln w="9525" algn="ctr">
              <a:solidFill>
                <a:srgbClr val="969696"/>
              </a:solidFill>
              <a:round/>
              <a:headEnd/>
              <a:tailEnd/>
            </a:ln>
          </p:spPr>
        </p:cxnSp>
        <p:grpSp>
          <p:nvGrpSpPr>
            <p:cNvPr id="227" name="Group 111"/>
            <p:cNvGrpSpPr>
              <a:grpSpLocks/>
            </p:cNvGrpSpPr>
            <p:nvPr/>
          </p:nvGrpSpPr>
          <p:grpSpPr bwMode="auto">
            <a:xfrm>
              <a:off x="4416821" y="4285966"/>
              <a:ext cx="174625" cy="179387"/>
              <a:chOff x="8053381" y="4195958"/>
              <a:chExt cx="228600" cy="228600"/>
            </a:xfrm>
          </p:grpSpPr>
          <p:sp>
            <p:nvSpPr>
              <p:cNvPr id="396" name="Oval 395"/>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397" name="Oval 396"/>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cxnSp>
          <p:nvCxnSpPr>
            <p:cNvPr id="242" name="Straight Connector 114"/>
            <p:cNvCxnSpPr>
              <a:cxnSpLocks noChangeShapeType="1"/>
              <a:endCxn id="229" idx="2"/>
            </p:cNvCxnSpPr>
            <p:nvPr/>
          </p:nvCxnSpPr>
          <p:spPr bwMode="auto">
            <a:xfrm rot="5400000" flipH="1" flipV="1">
              <a:off x="4408517" y="3992651"/>
              <a:ext cx="388932" cy="197698"/>
            </a:xfrm>
            <a:prstGeom prst="line">
              <a:avLst/>
            </a:prstGeom>
            <a:noFill/>
            <a:ln w="9525" algn="ctr">
              <a:solidFill>
                <a:srgbClr val="969696"/>
              </a:solidFill>
              <a:round/>
              <a:headEnd/>
              <a:tailEnd/>
            </a:ln>
          </p:spPr>
        </p:cxnSp>
        <p:sp>
          <p:nvSpPr>
            <p:cNvPr id="243" name="TextBox 127"/>
            <p:cNvSpPr txBox="1">
              <a:spLocks noChangeArrowheads="1"/>
            </p:cNvSpPr>
            <p:nvPr/>
          </p:nvSpPr>
          <p:spPr bwMode="auto">
            <a:xfrm>
              <a:off x="4696069" y="3462591"/>
              <a:ext cx="953104" cy="363314"/>
            </a:xfrm>
            <a:prstGeom prst="rect">
              <a:avLst/>
            </a:prstGeom>
            <a:noFill/>
            <a:ln w="9525">
              <a:noFill/>
              <a:miter lim="800000"/>
              <a:headEnd/>
              <a:tailEnd/>
            </a:ln>
          </p:spPr>
          <p:txBody>
            <a:bodyPr wrap="none">
              <a:spAutoFit/>
            </a:bodyPr>
            <a:lstStyle/>
            <a:p>
              <a:pPr>
                <a:spcBef>
                  <a:spcPct val="50000"/>
                </a:spcBef>
              </a:pPr>
              <a:r>
                <a:rPr lang="en-US" sz="800" b="1" i="0" dirty="0" smtClean="0">
                  <a:latin typeface="Calibri" pitchFamily="34" charset="0"/>
                </a:rPr>
                <a:t>BSC-RNC</a:t>
              </a:r>
              <a:endParaRPr lang="en-US" sz="800" b="1" i="0" dirty="0">
                <a:latin typeface="Calibri" pitchFamily="34" charset="0"/>
              </a:endParaRPr>
            </a:p>
          </p:txBody>
        </p:sp>
        <p:sp>
          <p:nvSpPr>
            <p:cNvPr id="244" name="TextBox 131"/>
            <p:cNvSpPr txBox="1">
              <a:spLocks noChangeArrowheads="1"/>
            </p:cNvSpPr>
            <p:nvPr/>
          </p:nvSpPr>
          <p:spPr bwMode="auto">
            <a:xfrm>
              <a:off x="5788013" y="3325529"/>
              <a:ext cx="568325" cy="215900"/>
            </a:xfrm>
            <a:prstGeom prst="rect">
              <a:avLst/>
            </a:prstGeom>
            <a:noFill/>
            <a:ln w="9525">
              <a:noFill/>
              <a:miter lim="800000"/>
              <a:headEnd/>
              <a:tailEnd/>
            </a:ln>
          </p:spPr>
          <p:txBody>
            <a:bodyPr wrap="none">
              <a:spAutoFit/>
            </a:bodyPr>
            <a:lstStyle/>
            <a:p>
              <a:pPr>
                <a:spcBef>
                  <a:spcPct val="50000"/>
                </a:spcBef>
              </a:pPr>
              <a:r>
                <a:rPr lang="en-US" sz="800" b="1" i="0" smtClean="0">
                  <a:latin typeface="Calibri" pitchFamily="34" charset="0"/>
                </a:rPr>
                <a:t>POP MW</a:t>
              </a:r>
              <a:endParaRPr lang="en-US" sz="800" b="1" i="0" dirty="0">
                <a:latin typeface="Calibri" pitchFamily="34" charset="0"/>
              </a:endParaRPr>
            </a:p>
          </p:txBody>
        </p:sp>
        <p:grpSp>
          <p:nvGrpSpPr>
            <p:cNvPr id="228" name="Group 188"/>
            <p:cNvGrpSpPr/>
            <p:nvPr/>
          </p:nvGrpSpPr>
          <p:grpSpPr>
            <a:xfrm flipH="1">
              <a:off x="1919944" y="2433757"/>
              <a:ext cx="1830387" cy="1903412"/>
              <a:chOff x="952455" y="2736052"/>
              <a:chExt cx="1830387" cy="1903412"/>
            </a:xfrm>
          </p:grpSpPr>
          <p:grpSp>
            <p:nvGrpSpPr>
              <p:cNvPr id="241" name="Group 48"/>
              <p:cNvGrpSpPr>
                <a:grpSpLocks/>
              </p:cNvGrpSpPr>
              <p:nvPr/>
            </p:nvGrpSpPr>
            <p:grpSpPr bwMode="auto">
              <a:xfrm>
                <a:off x="2465342" y="2736052"/>
                <a:ext cx="174625" cy="180975"/>
                <a:chOff x="8053381" y="4195958"/>
                <a:chExt cx="228600" cy="228600"/>
              </a:xfrm>
            </p:grpSpPr>
            <p:sp>
              <p:nvSpPr>
                <p:cNvPr id="394" name="Oval 393"/>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395" name="Oval 394"/>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245" name="Group 49"/>
              <p:cNvGrpSpPr>
                <a:grpSpLocks/>
              </p:cNvGrpSpPr>
              <p:nvPr/>
            </p:nvGrpSpPr>
            <p:grpSpPr bwMode="auto">
              <a:xfrm>
                <a:off x="2563767" y="3066252"/>
                <a:ext cx="174625" cy="180975"/>
                <a:chOff x="8053381" y="4195958"/>
                <a:chExt cx="228600" cy="228600"/>
              </a:xfrm>
            </p:grpSpPr>
            <p:sp>
              <p:nvSpPr>
                <p:cNvPr id="392" name="Oval 391"/>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393" name="Oval 392"/>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246" name="Group 52"/>
              <p:cNvGrpSpPr>
                <a:grpSpLocks/>
              </p:cNvGrpSpPr>
              <p:nvPr/>
            </p:nvGrpSpPr>
            <p:grpSpPr bwMode="auto">
              <a:xfrm>
                <a:off x="2455817" y="3423439"/>
                <a:ext cx="176213" cy="180975"/>
                <a:chOff x="8053381" y="4195958"/>
                <a:chExt cx="228600" cy="228600"/>
              </a:xfrm>
            </p:grpSpPr>
            <p:sp>
              <p:nvSpPr>
                <p:cNvPr id="390" name="Oval 389"/>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391" name="Oval 390"/>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247" name="Group 55"/>
              <p:cNvGrpSpPr>
                <a:grpSpLocks/>
              </p:cNvGrpSpPr>
              <p:nvPr/>
            </p:nvGrpSpPr>
            <p:grpSpPr bwMode="auto">
              <a:xfrm>
                <a:off x="2035130" y="3056727"/>
                <a:ext cx="176212" cy="180975"/>
                <a:chOff x="8053381" y="4195958"/>
                <a:chExt cx="228600" cy="228600"/>
              </a:xfrm>
            </p:grpSpPr>
            <p:sp>
              <p:nvSpPr>
                <p:cNvPr id="388" name="Oval 387"/>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389" name="Oval 388"/>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248" name="Group 58"/>
              <p:cNvGrpSpPr>
                <a:grpSpLocks/>
              </p:cNvGrpSpPr>
              <p:nvPr/>
            </p:nvGrpSpPr>
            <p:grpSpPr bwMode="auto">
              <a:xfrm>
                <a:off x="2597105" y="3840952"/>
                <a:ext cx="174625" cy="179387"/>
                <a:chOff x="8053381" y="4195958"/>
                <a:chExt cx="228600" cy="228600"/>
              </a:xfrm>
            </p:grpSpPr>
            <p:sp>
              <p:nvSpPr>
                <p:cNvPr id="386" name="Oval 385"/>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387" name="Oval 386"/>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249" name="Group 61"/>
              <p:cNvGrpSpPr>
                <a:grpSpLocks/>
              </p:cNvGrpSpPr>
              <p:nvPr/>
            </p:nvGrpSpPr>
            <p:grpSpPr bwMode="auto">
              <a:xfrm>
                <a:off x="2198642" y="3686964"/>
                <a:ext cx="174625" cy="180975"/>
                <a:chOff x="8053381" y="4195958"/>
                <a:chExt cx="228600" cy="228600"/>
              </a:xfrm>
            </p:grpSpPr>
            <p:sp>
              <p:nvSpPr>
                <p:cNvPr id="384" name="Oval 383"/>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385" name="Oval 384"/>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250" name="Group 64"/>
              <p:cNvGrpSpPr>
                <a:grpSpLocks/>
              </p:cNvGrpSpPr>
              <p:nvPr/>
            </p:nvGrpSpPr>
            <p:grpSpPr bwMode="auto">
              <a:xfrm>
                <a:off x="1809705" y="3667914"/>
                <a:ext cx="176212" cy="179388"/>
                <a:chOff x="8053381" y="4195958"/>
                <a:chExt cx="228600" cy="228600"/>
              </a:xfrm>
            </p:grpSpPr>
            <p:sp>
              <p:nvSpPr>
                <p:cNvPr id="382" name="Oval 381"/>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383" name="Oval 382"/>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251" name="Group 67"/>
              <p:cNvGrpSpPr>
                <a:grpSpLocks/>
              </p:cNvGrpSpPr>
              <p:nvPr/>
            </p:nvGrpSpPr>
            <p:grpSpPr bwMode="auto">
              <a:xfrm>
                <a:off x="2119267" y="4009227"/>
                <a:ext cx="176213" cy="179387"/>
                <a:chOff x="8053381" y="4195958"/>
                <a:chExt cx="228600" cy="228600"/>
              </a:xfrm>
            </p:grpSpPr>
            <p:sp>
              <p:nvSpPr>
                <p:cNvPr id="380" name="Oval 379"/>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381" name="Oval 380"/>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252" name="Group 70"/>
              <p:cNvGrpSpPr>
                <a:grpSpLocks/>
              </p:cNvGrpSpPr>
              <p:nvPr/>
            </p:nvGrpSpPr>
            <p:grpSpPr bwMode="auto">
              <a:xfrm>
                <a:off x="2608217" y="4361652"/>
                <a:ext cx="174625" cy="179387"/>
                <a:chOff x="8053381" y="4195958"/>
                <a:chExt cx="228600" cy="228600"/>
              </a:xfrm>
            </p:grpSpPr>
            <p:sp>
              <p:nvSpPr>
                <p:cNvPr id="378" name="Oval 377"/>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prst="relaxedInset"/>
                </a:sp3d>
              </p:spPr>
              <p:txBody>
                <a:bodyPr wrap="none" lIns="0" tIns="0" rIns="0" bIns="0" anchor="ctr"/>
                <a:lstStyle/>
                <a:p>
                  <a:pPr algn="ctr" defTabSz="873125" eaLnBrk="0" hangingPunct="0">
                    <a:defRPr/>
                  </a:pPr>
                  <a:endParaRPr lang="en-US" dirty="0">
                    <a:cs typeface="Arial" pitchFamily="34" charset="0"/>
                  </a:endParaRPr>
                </a:p>
              </p:txBody>
            </p:sp>
            <p:sp>
              <p:nvSpPr>
                <p:cNvPr id="379" name="Oval 378"/>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prst="relaxedInse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253" name="Group 73"/>
              <p:cNvGrpSpPr>
                <a:grpSpLocks/>
              </p:cNvGrpSpPr>
              <p:nvPr/>
            </p:nvGrpSpPr>
            <p:grpSpPr bwMode="auto">
              <a:xfrm>
                <a:off x="2173242" y="4458489"/>
                <a:ext cx="176213" cy="180975"/>
                <a:chOff x="8053381" y="4195958"/>
                <a:chExt cx="228600" cy="228600"/>
              </a:xfrm>
            </p:grpSpPr>
            <p:sp>
              <p:nvSpPr>
                <p:cNvPr id="376" name="Oval 375"/>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377" name="Oval 376"/>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254" name="Group 76"/>
              <p:cNvGrpSpPr>
                <a:grpSpLocks/>
              </p:cNvGrpSpPr>
              <p:nvPr/>
            </p:nvGrpSpPr>
            <p:grpSpPr bwMode="auto">
              <a:xfrm>
                <a:off x="1684292" y="4366414"/>
                <a:ext cx="174625" cy="179388"/>
                <a:chOff x="8053381" y="4195958"/>
                <a:chExt cx="228600" cy="228600"/>
              </a:xfrm>
            </p:grpSpPr>
            <p:sp>
              <p:nvSpPr>
                <p:cNvPr id="374" name="Oval 373"/>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375" name="Oval 374"/>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255" name="Group 485"/>
              <p:cNvGrpSpPr>
                <a:grpSpLocks/>
              </p:cNvGrpSpPr>
              <p:nvPr/>
            </p:nvGrpSpPr>
            <p:grpSpPr bwMode="auto">
              <a:xfrm>
                <a:off x="1152480" y="3529802"/>
                <a:ext cx="176212" cy="179387"/>
                <a:chOff x="8053381" y="4195958"/>
                <a:chExt cx="228600" cy="228600"/>
              </a:xfrm>
            </p:grpSpPr>
            <p:sp>
              <p:nvSpPr>
                <p:cNvPr id="372" name="Oval 371"/>
                <p:cNvSpPr/>
                <p:nvPr/>
              </p:nvSpPr>
              <p:spPr bwMode="auto">
                <a:xfrm>
                  <a:off x="8053381" y="4195958"/>
                  <a:ext cx="228600" cy="228600"/>
                </a:xfrm>
                <a:prstGeom prst="ellipse">
                  <a:avLst/>
                </a:prstGeom>
                <a:solidFill>
                  <a:srgbClr val="33CC33"/>
                </a:solidFill>
                <a:ln w="9525" cap="flat" cmpd="sng" algn="ctr">
                  <a:solidFill>
                    <a:schemeClr val="tx1">
                      <a:lumMod val="95000"/>
                      <a:lumOff val="5000"/>
                    </a:schemeClr>
                  </a:solidFill>
                  <a:prstDash val="solid"/>
                  <a:round/>
                  <a:headEnd type="none" w="med" len="med"/>
                  <a:tailEnd type="none" w="med" len="med"/>
                </a:ln>
                <a:effectLst/>
                <a:scene3d>
                  <a:camera prst="orthographicFront"/>
                  <a:lightRig rig="threePt" dir="t"/>
                </a:scene3d>
                <a:sp3d>
                  <a:bevelT w="152400" h="50800" prst="softRound"/>
                </a:sp3d>
              </p:spPr>
              <p:txBody>
                <a:bodyPr wrap="none" lIns="0" tIns="0" rIns="0" bIns="0" anchor="ctr"/>
                <a:lstStyle/>
                <a:p>
                  <a:pPr algn="ctr" defTabSz="873125" eaLnBrk="0" hangingPunct="0">
                    <a:defRPr/>
                  </a:pPr>
                  <a:endParaRPr lang="en-US" dirty="0">
                    <a:cs typeface="Arial" pitchFamily="34" charset="0"/>
                  </a:endParaRPr>
                </a:p>
              </p:txBody>
            </p:sp>
            <p:sp>
              <p:nvSpPr>
                <p:cNvPr id="373" name="Oval 372"/>
                <p:cNvSpPr/>
                <p:nvPr/>
              </p:nvSpPr>
              <p:spPr bwMode="auto">
                <a:xfrm>
                  <a:off x="8109348" y="4253475"/>
                  <a:ext cx="116666" cy="114950"/>
                </a:xfrm>
                <a:prstGeom prst="ellipse">
                  <a:avLst/>
                </a:prstGeom>
                <a:solidFill>
                  <a:srgbClr val="FF0000"/>
                </a:solidFill>
                <a:ln w="9525" cap="flat" cmpd="sng" algn="ctr">
                  <a:solidFill>
                    <a:schemeClr val="tx1">
                      <a:lumMod val="95000"/>
                      <a:lumOff val="5000"/>
                    </a:schemeClr>
                  </a:solidFill>
                  <a:prstDash val="solid"/>
                  <a:round/>
                  <a:headEnd type="none" w="med" len="med"/>
                  <a:tailEnd type="none" w="med" len="med"/>
                </a:ln>
                <a:effectLst/>
                <a:scene3d>
                  <a:camera prst="orthographicFront"/>
                  <a:lightRig rig="threePt" dir="t"/>
                </a:scene3d>
                <a:sp3d>
                  <a:bevelT w="152400" h="50800" prst="softRound"/>
                </a:sp3d>
              </p:spPr>
              <p:txBody>
                <a:bodyPr wrap="none" lIns="0" tIns="0" rIns="0" bIns="0" anchor="ctr"/>
                <a:lstStyle/>
                <a:p>
                  <a:pPr algn="ctr" defTabSz="873125" eaLnBrk="0" hangingPunct="0">
                    <a:defRPr/>
                  </a:pPr>
                  <a:endParaRPr lang="en-US" dirty="0">
                    <a:cs typeface="Arial" pitchFamily="34" charset="0"/>
                  </a:endParaRPr>
                </a:p>
              </p:txBody>
            </p:sp>
          </p:grpSp>
          <p:cxnSp>
            <p:nvCxnSpPr>
              <p:cNvPr id="360" name="Straight Connector 84"/>
              <p:cNvCxnSpPr>
                <a:cxnSpLocks noChangeShapeType="1"/>
              </p:cNvCxnSpPr>
              <p:nvPr/>
            </p:nvCxnSpPr>
            <p:spPr bwMode="auto">
              <a:xfrm rot="5400000">
                <a:off x="2240711" y="2833683"/>
                <a:ext cx="193675" cy="306387"/>
              </a:xfrm>
              <a:prstGeom prst="line">
                <a:avLst/>
              </a:prstGeom>
              <a:noFill/>
              <a:ln w="9525" algn="ctr">
                <a:solidFill>
                  <a:srgbClr val="969696"/>
                </a:solidFill>
                <a:round/>
                <a:headEnd/>
                <a:tailEnd/>
              </a:ln>
            </p:spPr>
          </p:cxnSp>
          <p:cxnSp>
            <p:nvCxnSpPr>
              <p:cNvPr id="361" name="Straight Connector 86"/>
              <p:cNvCxnSpPr>
                <a:cxnSpLocks noChangeShapeType="1"/>
              </p:cNvCxnSpPr>
              <p:nvPr/>
            </p:nvCxnSpPr>
            <p:spPr bwMode="auto">
              <a:xfrm rot="10800000">
                <a:off x="2211342" y="3147214"/>
                <a:ext cx="352425" cy="9525"/>
              </a:xfrm>
              <a:prstGeom prst="line">
                <a:avLst/>
              </a:prstGeom>
              <a:noFill/>
              <a:ln w="9525" algn="ctr">
                <a:solidFill>
                  <a:srgbClr val="969696"/>
                </a:solidFill>
                <a:round/>
                <a:headEnd/>
                <a:tailEnd/>
              </a:ln>
            </p:spPr>
          </p:cxnSp>
          <p:cxnSp>
            <p:nvCxnSpPr>
              <p:cNvPr id="362" name="Straight Connector 88"/>
              <p:cNvCxnSpPr>
                <a:cxnSpLocks noChangeShapeType="1"/>
              </p:cNvCxnSpPr>
              <p:nvPr/>
            </p:nvCxnSpPr>
            <p:spPr bwMode="auto">
              <a:xfrm rot="10800000">
                <a:off x="2184355" y="3210714"/>
                <a:ext cx="271462" cy="303213"/>
              </a:xfrm>
              <a:prstGeom prst="line">
                <a:avLst/>
              </a:prstGeom>
              <a:noFill/>
              <a:ln w="9525" algn="ctr">
                <a:solidFill>
                  <a:srgbClr val="969696"/>
                </a:solidFill>
                <a:round/>
                <a:headEnd/>
                <a:tailEnd/>
              </a:ln>
            </p:spPr>
          </p:cxnSp>
          <p:cxnSp>
            <p:nvCxnSpPr>
              <p:cNvPr id="363" name="Straight Connector 90"/>
              <p:cNvCxnSpPr>
                <a:cxnSpLocks noChangeShapeType="1"/>
              </p:cNvCxnSpPr>
              <p:nvPr/>
            </p:nvCxnSpPr>
            <p:spPr bwMode="auto">
              <a:xfrm rot="10800000" flipV="1">
                <a:off x="1301705" y="3147214"/>
                <a:ext cx="733425" cy="407988"/>
              </a:xfrm>
              <a:prstGeom prst="line">
                <a:avLst/>
              </a:prstGeom>
              <a:noFill/>
              <a:ln w="9525" algn="ctr">
                <a:solidFill>
                  <a:srgbClr val="969696"/>
                </a:solidFill>
                <a:round/>
                <a:headEnd/>
                <a:tailEnd/>
              </a:ln>
            </p:spPr>
          </p:cxnSp>
          <p:cxnSp>
            <p:nvCxnSpPr>
              <p:cNvPr id="364" name="Straight Connector 92"/>
              <p:cNvCxnSpPr>
                <a:cxnSpLocks noChangeShapeType="1"/>
              </p:cNvCxnSpPr>
              <p:nvPr/>
            </p:nvCxnSpPr>
            <p:spPr bwMode="auto">
              <a:xfrm rot="10800000">
                <a:off x="1285830" y="3620289"/>
                <a:ext cx="523875" cy="138113"/>
              </a:xfrm>
              <a:prstGeom prst="line">
                <a:avLst/>
              </a:prstGeom>
              <a:noFill/>
              <a:ln w="9525" algn="ctr">
                <a:solidFill>
                  <a:srgbClr val="969696"/>
                </a:solidFill>
                <a:round/>
                <a:headEnd/>
                <a:tailEnd/>
              </a:ln>
            </p:spPr>
          </p:cxnSp>
          <p:cxnSp>
            <p:nvCxnSpPr>
              <p:cNvPr id="365" name="Straight Connector 97"/>
              <p:cNvCxnSpPr>
                <a:cxnSpLocks noChangeShapeType="1"/>
              </p:cNvCxnSpPr>
              <p:nvPr/>
            </p:nvCxnSpPr>
            <p:spPr bwMode="auto">
              <a:xfrm rot="16200000" flipV="1">
                <a:off x="2453436" y="3697283"/>
                <a:ext cx="88900" cy="249238"/>
              </a:xfrm>
              <a:prstGeom prst="line">
                <a:avLst/>
              </a:prstGeom>
              <a:noFill/>
              <a:ln w="9525" algn="ctr">
                <a:solidFill>
                  <a:srgbClr val="969696"/>
                </a:solidFill>
                <a:round/>
                <a:headEnd/>
                <a:tailEnd/>
              </a:ln>
            </p:spPr>
          </p:cxnSp>
          <p:cxnSp>
            <p:nvCxnSpPr>
              <p:cNvPr id="366" name="Straight Connector 101"/>
              <p:cNvCxnSpPr>
                <a:cxnSpLocks noChangeShapeType="1"/>
              </p:cNvCxnSpPr>
              <p:nvPr/>
            </p:nvCxnSpPr>
            <p:spPr bwMode="auto">
              <a:xfrm rot="10800000">
                <a:off x="1985917" y="3758402"/>
                <a:ext cx="212725" cy="19050"/>
              </a:xfrm>
              <a:prstGeom prst="line">
                <a:avLst/>
              </a:prstGeom>
              <a:noFill/>
              <a:ln w="9525" algn="ctr">
                <a:solidFill>
                  <a:srgbClr val="969696"/>
                </a:solidFill>
                <a:round/>
                <a:headEnd/>
                <a:tailEnd/>
              </a:ln>
            </p:spPr>
          </p:cxnSp>
          <p:cxnSp>
            <p:nvCxnSpPr>
              <p:cNvPr id="367" name="Straight Connector 104"/>
              <p:cNvCxnSpPr>
                <a:cxnSpLocks noChangeShapeType="1"/>
              </p:cNvCxnSpPr>
              <p:nvPr/>
            </p:nvCxnSpPr>
            <p:spPr bwMode="auto">
              <a:xfrm rot="16200000" flipV="1">
                <a:off x="1947023" y="3835396"/>
                <a:ext cx="212725" cy="185738"/>
              </a:xfrm>
              <a:prstGeom prst="line">
                <a:avLst/>
              </a:prstGeom>
              <a:noFill/>
              <a:ln w="9525" algn="ctr">
                <a:solidFill>
                  <a:srgbClr val="969696"/>
                </a:solidFill>
                <a:round/>
                <a:headEnd/>
                <a:tailEnd/>
              </a:ln>
            </p:spPr>
          </p:cxnSp>
          <p:cxnSp>
            <p:nvCxnSpPr>
              <p:cNvPr id="368" name="Straight Connector 106"/>
              <p:cNvCxnSpPr>
                <a:cxnSpLocks noChangeShapeType="1"/>
              </p:cNvCxnSpPr>
              <p:nvPr/>
            </p:nvCxnSpPr>
            <p:spPr bwMode="auto">
              <a:xfrm rot="10800000" flipV="1">
                <a:off x="2349455" y="4452139"/>
                <a:ext cx="258762" cy="96838"/>
              </a:xfrm>
              <a:prstGeom prst="line">
                <a:avLst/>
              </a:prstGeom>
              <a:noFill/>
              <a:ln w="9525" algn="ctr">
                <a:solidFill>
                  <a:srgbClr val="969696"/>
                </a:solidFill>
                <a:round/>
                <a:headEnd/>
                <a:tailEnd/>
              </a:ln>
            </p:spPr>
          </p:cxnSp>
          <p:cxnSp>
            <p:nvCxnSpPr>
              <p:cNvPr id="369" name="Straight Connector 108"/>
              <p:cNvCxnSpPr>
                <a:cxnSpLocks noChangeShapeType="1"/>
              </p:cNvCxnSpPr>
              <p:nvPr/>
            </p:nvCxnSpPr>
            <p:spPr bwMode="auto">
              <a:xfrm rot="10800000">
                <a:off x="1858917" y="4455314"/>
                <a:ext cx="314325" cy="93663"/>
              </a:xfrm>
              <a:prstGeom prst="line">
                <a:avLst/>
              </a:prstGeom>
              <a:noFill/>
              <a:ln w="9525" algn="ctr">
                <a:solidFill>
                  <a:srgbClr val="969696"/>
                </a:solidFill>
                <a:round/>
                <a:headEnd/>
                <a:tailEnd/>
              </a:ln>
            </p:spPr>
          </p:cxnSp>
          <p:cxnSp>
            <p:nvCxnSpPr>
              <p:cNvPr id="370" name="Straight Connector 110"/>
              <p:cNvCxnSpPr>
                <a:cxnSpLocks noChangeShapeType="1"/>
              </p:cNvCxnSpPr>
              <p:nvPr/>
            </p:nvCxnSpPr>
            <p:spPr bwMode="auto">
              <a:xfrm rot="16200000" flipV="1">
                <a:off x="1133429" y="3815552"/>
                <a:ext cx="682625" cy="469900"/>
              </a:xfrm>
              <a:prstGeom prst="line">
                <a:avLst/>
              </a:prstGeom>
              <a:noFill/>
              <a:ln w="9525" algn="ctr">
                <a:solidFill>
                  <a:srgbClr val="969696"/>
                </a:solidFill>
                <a:round/>
                <a:headEnd/>
                <a:tailEnd/>
              </a:ln>
            </p:spPr>
          </p:cxnSp>
          <p:sp>
            <p:nvSpPr>
              <p:cNvPr id="371" name="TextBox 131"/>
              <p:cNvSpPr txBox="1">
                <a:spLocks noChangeArrowheads="1"/>
              </p:cNvSpPr>
              <p:nvPr/>
            </p:nvSpPr>
            <p:spPr bwMode="auto">
              <a:xfrm>
                <a:off x="952455" y="3285327"/>
                <a:ext cx="568325" cy="215900"/>
              </a:xfrm>
              <a:prstGeom prst="rect">
                <a:avLst/>
              </a:prstGeom>
              <a:noFill/>
              <a:ln w="9525">
                <a:noFill/>
                <a:miter lim="800000"/>
                <a:headEnd/>
                <a:tailEnd/>
              </a:ln>
            </p:spPr>
            <p:txBody>
              <a:bodyPr wrap="none">
                <a:spAutoFit/>
              </a:bodyPr>
              <a:lstStyle/>
              <a:p>
                <a:pPr>
                  <a:spcBef>
                    <a:spcPct val="50000"/>
                  </a:spcBef>
                </a:pPr>
                <a:r>
                  <a:rPr lang="en-US" sz="800" b="1" i="0" smtClean="0">
                    <a:latin typeface="Calibri" pitchFamily="34" charset="0"/>
                  </a:rPr>
                  <a:t>POP MW</a:t>
                </a:r>
                <a:endParaRPr lang="en-US" sz="800" b="1" i="0" dirty="0">
                  <a:latin typeface="Calibri" pitchFamily="34" charset="0"/>
                </a:endParaRPr>
              </a:p>
            </p:txBody>
          </p:sp>
        </p:grpSp>
        <p:grpSp>
          <p:nvGrpSpPr>
            <p:cNvPr id="256" name="Group 48"/>
            <p:cNvGrpSpPr>
              <a:grpSpLocks/>
            </p:cNvGrpSpPr>
            <p:nvPr/>
          </p:nvGrpSpPr>
          <p:grpSpPr bwMode="auto">
            <a:xfrm flipH="1">
              <a:off x="2398685" y="4700708"/>
              <a:ext cx="174625" cy="180975"/>
              <a:chOff x="8053381" y="4195958"/>
              <a:chExt cx="228600" cy="228600"/>
            </a:xfrm>
          </p:grpSpPr>
          <p:sp>
            <p:nvSpPr>
              <p:cNvPr id="346" name="Oval 345"/>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347" name="Oval 346"/>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257" name="Group 49"/>
            <p:cNvGrpSpPr>
              <a:grpSpLocks/>
            </p:cNvGrpSpPr>
            <p:nvPr/>
          </p:nvGrpSpPr>
          <p:grpSpPr bwMode="auto">
            <a:xfrm flipH="1">
              <a:off x="2300260" y="5030908"/>
              <a:ext cx="174625" cy="180975"/>
              <a:chOff x="8053381" y="4195958"/>
              <a:chExt cx="228600" cy="228600"/>
            </a:xfrm>
          </p:grpSpPr>
          <p:sp>
            <p:nvSpPr>
              <p:cNvPr id="344" name="Oval 343"/>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345" name="Oval 344"/>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269" name="Group 52"/>
            <p:cNvGrpSpPr>
              <a:grpSpLocks/>
            </p:cNvGrpSpPr>
            <p:nvPr/>
          </p:nvGrpSpPr>
          <p:grpSpPr bwMode="auto">
            <a:xfrm flipH="1">
              <a:off x="2406622" y="5388095"/>
              <a:ext cx="176213" cy="180975"/>
              <a:chOff x="8053381" y="4195958"/>
              <a:chExt cx="228600" cy="228600"/>
            </a:xfrm>
          </p:grpSpPr>
          <p:sp>
            <p:nvSpPr>
              <p:cNvPr id="342" name="Oval 341"/>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343" name="Oval 342"/>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271" name="Group 55"/>
            <p:cNvGrpSpPr>
              <a:grpSpLocks/>
            </p:cNvGrpSpPr>
            <p:nvPr/>
          </p:nvGrpSpPr>
          <p:grpSpPr bwMode="auto">
            <a:xfrm flipH="1">
              <a:off x="2827310" y="5021383"/>
              <a:ext cx="176212" cy="180975"/>
              <a:chOff x="8053381" y="4195958"/>
              <a:chExt cx="228600" cy="228600"/>
            </a:xfrm>
          </p:grpSpPr>
          <p:sp>
            <p:nvSpPr>
              <p:cNvPr id="340" name="Oval 339"/>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341" name="Oval 340"/>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272" name="Group 58"/>
            <p:cNvGrpSpPr>
              <a:grpSpLocks/>
            </p:cNvGrpSpPr>
            <p:nvPr/>
          </p:nvGrpSpPr>
          <p:grpSpPr bwMode="auto">
            <a:xfrm flipH="1">
              <a:off x="3143234" y="5731002"/>
              <a:ext cx="174625" cy="179387"/>
              <a:chOff x="8053381" y="4195958"/>
              <a:chExt cx="228600" cy="228600"/>
            </a:xfrm>
          </p:grpSpPr>
          <p:sp>
            <p:nvSpPr>
              <p:cNvPr id="338" name="Oval 337"/>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339" name="Oval 338"/>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273" name="Group 61"/>
            <p:cNvGrpSpPr>
              <a:grpSpLocks/>
            </p:cNvGrpSpPr>
            <p:nvPr/>
          </p:nvGrpSpPr>
          <p:grpSpPr bwMode="auto">
            <a:xfrm flipH="1">
              <a:off x="3541697" y="5577014"/>
              <a:ext cx="174625" cy="180975"/>
              <a:chOff x="8053381" y="4195958"/>
              <a:chExt cx="228600" cy="228600"/>
            </a:xfrm>
          </p:grpSpPr>
          <p:sp>
            <p:nvSpPr>
              <p:cNvPr id="336" name="Oval 335"/>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337" name="Oval 336"/>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277" name="Group 64"/>
            <p:cNvGrpSpPr>
              <a:grpSpLocks/>
            </p:cNvGrpSpPr>
            <p:nvPr/>
          </p:nvGrpSpPr>
          <p:grpSpPr bwMode="auto">
            <a:xfrm flipH="1">
              <a:off x="3929047" y="5557964"/>
              <a:ext cx="176212" cy="179388"/>
              <a:chOff x="8053381" y="4195958"/>
              <a:chExt cx="228600" cy="228600"/>
            </a:xfrm>
          </p:grpSpPr>
          <p:sp>
            <p:nvSpPr>
              <p:cNvPr id="334" name="Oval 333"/>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335" name="Oval 334"/>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278" name="Group 67"/>
            <p:cNvGrpSpPr>
              <a:grpSpLocks/>
            </p:cNvGrpSpPr>
            <p:nvPr/>
          </p:nvGrpSpPr>
          <p:grpSpPr bwMode="auto">
            <a:xfrm flipH="1">
              <a:off x="3619484" y="5899277"/>
              <a:ext cx="176213" cy="179387"/>
              <a:chOff x="8053381" y="4195958"/>
              <a:chExt cx="228600" cy="228600"/>
            </a:xfrm>
          </p:grpSpPr>
          <p:sp>
            <p:nvSpPr>
              <p:cNvPr id="332" name="Oval 331"/>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333" name="Oval 332"/>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279" name="Group 70"/>
            <p:cNvGrpSpPr>
              <a:grpSpLocks/>
            </p:cNvGrpSpPr>
            <p:nvPr/>
          </p:nvGrpSpPr>
          <p:grpSpPr bwMode="auto">
            <a:xfrm flipH="1">
              <a:off x="3132122" y="6251702"/>
              <a:ext cx="174625" cy="179387"/>
              <a:chOff x="8053381" y="4195958"/>
              <a:chExt cx="228600" cy="228600"/>
            </a:xfrm>
          </p:grpSpPr>
          <p:sp>
            <p:nvSpPr>
              <p:cNvPr id="330" name="Oval 329"/>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prst="relaxedInset"/>
              </a:sp3d>
            </p:spPr>
            <p:txBody>
              <a:bodyPr wrap="none" lIns="0" tIns="0" rIns="0" bIns="0" anchor="ctr"/>
              <a:lstStyle/>
              <a:p>
                <a:pPr algn="ctr" defTabSz="873125" eaLnBrk="0" hangingPunct="0">
                  <a:defRPr/>
                </a:pPr>
                <a:endParaRPr lang="en-US" dirty="0">
                  <a:cs typeface="Arial" pitchFamily="34" charset="0"/>
                </a:endParaRPr>
              </a:p>
            </p:txBody>
          </p:sp>
          <p:sp>
            <p:nvSpPr>
              <p:cNvPr id="331" name="Oval 330"/>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prst="relaxedInse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280" name="Group 73"/>
            <p:cNvGrpSpPr>
              <a:grpSpLocks/>
            </p:cNvGrpSpPr>
            <p:nvPr/>
          </p:nvGrpSpPr>
          <p:grpSpPr bwMode="auto">
            <a:xfrm flipH="1">
              <a:off x="3565509" y="6348539"/>
              <a:ext cx="176213" cy="180975"/>
              <a:chOff x="8053381" y="4195958"/>
              <a:chExt cx="228600" cy="228600"/>
            </a:xfrm>
          </p:grpSpPr>
          <p:sp>
            <p:nvSpPr>
              <p:cNvPr id="328" name="Oval 327"/>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329" name="Oval 328"/>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281" name="Group 76"/>
            <p:cNvGrpSpPr>
              <a:grpSpLocks/>
            </p:cNvGrpSpPr>
            <p:nvPr/>
          </p:nvGrpSpPr>
          <p:grpSpPr bwMode="auto">
            <a:xfrm flipH="1">
              <a:off x="4056047" y="6256464"/>
              <a:ext cx="174625" cy="179388"/>
              <a:chOff x="8053381" y="4195958"/>
              <a:chExt cx="228600" cy="228600"/>
            </a:xfrm>
          </p:grpSpPr>
          <p:sp>
            <p:nvSpPr>
              <p:cNvPr id="326" name="Oval 325"/>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327" name="Oval 326"/>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282" name="Group 79"/>
            <p:cNvGrpSpPr>
              <a:grpSpLocks/>
            </p:cNvGrpSpPr>
            <p:nvPr/>
          </p:nvGrpSpPr>
          <p:grpSpPr bwMode="auto">
            <a:xfrm flipH="1">
              <a:off x="4586272" y="5419852"/>
              <a:ext cx="176212" cy="179387"/>
              <a:chOff x="8053381" y="4195958"/>
              <a:chExt cx="228600" cy="228600"/>
            </a:xfrm>
          </p:grpSpPr>
          <p:sp>
            <p:nvSpPr>
              <p:cNvPr id="324" name="Oval 323"/>
              <p:cNvSpPr/>
              <p:nvPr/>
            </p:nvSpPr>
            <p:spPr bwMode="auto">
              <a:xfrm>
                <a:off x="8053381" y="4195958"/>
                <a:ext cx="228600" cy="228600"/>
              </a:xfrm>
              <a:prstGeom prst="ellipse">
                <a:avLst/>
              </a:prstGeom>
              <a:solidFill>
                <a:srgbClr val="33CC33"/>
              </a:solidFill>
              <a:ln w="9525" cap="flat" cmpd="sng" algn="ctr">
                <a:solidFill>
                  <a:schemeClr val="tx1">
                    <a:lumMod val="95000"/>
                    <a:lumOff val="5000"/>
                  </a:schemeClr>
                </a:solidFill>
                <a:prstDash val="solid"/>
                <a:round/>
                <a:headEnd type="none" w="med" len="med"/>
                <a:tailEnd type="none" w="med" len="med"/>
              </a:ln>
              <a:effectLst/>
              <a:scene3d>
                <a:camera prst="orthographicFront"/>
                <a:lightRig rig="threePt" dir="t"/>
              </a:scene3d>
              <a:sp3d>
                <a:bevelT w="152400" h="50800" prst="softRound"/>
              </a:sp3d>
            </p:spPr>
            <p:txBody>
              <a:bodyPr wrap="none" lIns="0" tIns="0" rIns="0" bIns="0" anchor="ctr"/>
              <a:lstStyle/>
              <a:p>
                <a:pPr algn="ctr" defTabSz="873125" eaLnBrk="0" hangingPunct="0">
                  <a:defRPr/>
                </a:pPr>
                <a:endParaRPr lang="en-US" dirty="0">
                  <a:cs typeface="Arial" pitchFamily="34" charset="0"/>
                </a:endParaRPr>
              </a:p>
            </p:txBody>
          </p:sp>
          <p:sp>
            <p:nvSpPr>
              <p:cNvPr id="325" name="Oval 324"/>
              <p:cNvSpPr/>
              <p:nvPr/>
            </p:nvSpPr>
            <p:spPr bwMode="auto">
              <a:xfrm>
                <a:off x="8109348" y="4253475"/>
                <a:ext cx="116666" cy="114950"/>
              </a:xfrm>
              <a:prstGeom prst="ellipse">
                <a:avLst/>
              </a:prstGeom>
              <a:solidFill>
                <a:srgbClr val="FF0000"/>
              </a:solidFill>
              <a:ln w="9525" cap="flat" cmpd="sng" algn="ctr">
                <a:solidFill>
                  <a:schemeClr val="tx1">
                    <a:lumMod val="95000"/>
                    <a:lumOff val="5000"/>
                  </a:schemeClr>
                </a:solidFill>
                <a:prstDash val="solid"/>
                <a:round/>
                <a:headEnd type="none" w="med" len="med"/>
                <a:tailEnd type="none" w="med" len="med"/>
              </a:ln>
              <a:effectLst/>
              <a:scene3d>
                <a:camera prst="orthographicFront"/>
                <a:lightRig rig="threePt" dir="t"/>
              </a:scene3d>
              <a:sp3d>
                <a:bevelT w="152400" h="50800" prst="softRound"/>
              </a:sp3d>
            </p:spPr>
            <p:txBody>
              <a:bodyPr wrap="none" lIns="0" tIns="0" rIns="0" bIns="0" anchor="ctr"/>
              <a:lstStyle/>
              <a:p>
                <a:pPr algn="ctr" defTabSz="873125" eaLnBrk="0" hangingPunct="0">
                  <a:defRPr/>
                </a:pPr>
                <a:endParaRPr lang="en-US" dirty="0">
                  <a:cs typeface="Arial" pitchFamily="34" charset="0"/>
                </a:endParaRPr>
              </a:p>
            </p:txBody>
          </p:sp>
        </p:grpSp>
        <p:cxnSp>
          <p:nvCxnSpPr>
            <p:cNvPr id="258" name="Straight Connector 84"/>
            <p:cNvCxnSpPr>
              <a:cxnSpLocks noChangeShapeType="1"/>
            </p:cNvCxnSpPr>
            <p:nvPr/>
          </p:nvCxnSpPr>
          <p:spPr bwMode="auto">
            <a:xfrm rot="16200000" flipH="1">
              <a:off x="2604266" y="4798339"/>
              <a:ext cx="193675" cy="306387"/>
            </a:xfrm>
            <a:prstGeom prst="line">
              <a:avLst/>
            </a:prstGeom>
            <a:noFill/>
            <a:ln w="9525" algn="ctr">
              <a:solidFill>
                <a:srgbClr val="969696"/>
              </a:solidFill>
              <a:round/>
              <a:headEnd/>
              <a:tailEnd/>
            </a:ln>
          </p:spPr>
        </p:cxnSp>
        <p:cxnSp>
          <p:nvCxnSpPr>
            <p:cNvPr id="259" name="Straight Connector 86"/>
            <p:cNvCxnSpPr>
              <a:cxnSpLocks noChangeShapeType="1"/>
            </p:cNvCxnSpPr>
            <p:nvPr/>
          </p:nvCxnSpPr>
          <p:spPr bwMode="auto">
            <a:xfrm rot="10800000" flipH="1">
              <a:off x="2474885" y="5111870"/>
              <a:ext cx="352425" cy="9525"/>
            </a:xfrm>
            <a:prstGeom prst="line">
              <a:avLst/>
            </a:prstGeom>
            <a:noFill/>
            <a:ln w="9525" algn="ctr">
              <a:solidFill>
                <a:srgbClr val="969696"/>
              </a:solidFill>
              <a:round/>
              <a:headEnd/>
              <a:tailEnd/>
            </a:ln>
          </p:spPr>
        </p:cxnSp>
        <p:cxnSp>
          <p:nvCxnSpPr>
            <p:cNvPr id="260" name="Straight Connector 88"/>
            <p:cNvCxnSpPr>
              <a:cxnSpLocks noChangeShapeType="1"/>
            </p:cNvCxnSpPr>
            <p:nvPr/>
          </p:nvCxnSpPr>
          <p:spPr bwMode="auto">
            <a:xfrm rot="10800000" flipH="1">
              <a:off x="2582835" y="5175370"/>
              <a:ext cx="271462" cy="303213"/>
            </a:xfrm>
            <a:prstGeom prst="line">
              <a:avLst/>
            </a:prstGeom>
            <a:noFill/>
            <a:ln w="9525" algn="ctr">
              <a:solidFill>
                <a:srgbClr val="969696"/>
              </a:solidFill>
              <a:round/>
              <a:headEnd/>
              <a:tailEnd/>
            </a:ln>
          </p:spPr>
        </p:cxnSp>
        <p:cxnSp>
          <p:nvCxnSpPr>
            <p:cNvPr id="261" name="Straight Connector 92"/>
            <p:cNvCxnSpPr>
              <a:cxnSpLocks noChangeShapeType="1"/>
            </p:cNvCxnSpPr>
            <p:nvPr/>
          </p:nvCxnSpPr>
          <p:spPr bwMode="auto">
            <a:xfrm rot="10800000" flipH="1">
              <a:off x="4105259" y="5510339"/>
              <a:ext cx="523875" cy="138113"/>
            </a:xfrm>
            <a:prstGeom prst="line">
              <a:avLst/>
            </a:prstGeom>
            <a:noFill/>
            <a:ln w="9525" algn="ctr">
              <a:solidFill>
                <a:srgbClr val="969696"/>
              </a:solidFill>
              <a:round/>
              <a:headEnd/>
              <a:tailEnd/>
            </a:ln>
          </p:spPr>
        </p:cxnSp>
        <p:cxnSp>
          <p:nvCxnSpPr>
            <p:cNvPr id="262" name="Straight Connector 97"/>
            <p:cNvCxnSpPr>
              <a:cxnSpLocks noChangeShapeType="1"/>
            </p:cNvCxnSpPr>
            <p:nvPr/>
          </p:nvCxnSpPr>
          <p:spPr bwMode="auto">
            <a:xfrm rot="5400000" flipH="1" flipV="1">
              <a:off x="3372628" y="5587333"/>
              <a:ext cx="88900" cy="249238"/>
            </a:xfrm>
            <a:prstGeom prst="line">
              <a:avLst/>
            </a:prstGeom>
            <a:noFill/>
            <a:ln w="9525" algn="ctr">
              <a:solidFill>
                <a:srgbClr val="969696"/>
              </a:solidFill>
              <a:round/>
              <a:headEnd/>
              <a:tailEnd/>
            </a:ln>
          </p:spPr>
        </p:cxnSp>
        <p:cxnSp>
          <p:nvCxnSpPr>
            <p:cNvPr id="263" name="Straight Connector 101"/>
            <p:cNvCxnSpPr>
              <a:cxnSpLocks noChangeShapeType="1"/>
            </p:cNvCxnSpPr>
            <p:nvPr/>
          </p:nvCxnSpPr>
          <p:spPr bwMode="auto">
            <a:xfrm rot="10800000" flipH="1">
              <a:off x="3716322" y="5648452"/>
              <a:ext cx="212725" cy="19050"/>
            </a:xfrm>
            <a:prstGeom prst="line">
              <a:avLst/>
            </a:prstGeom>
            <a:noFill/>
            <a:ln w="9525" algn="ctr">
              <a:solidFill>
                <a:srgbClr val="969696"/>
              </a:solidFill>
              <a:round/>
              <a:headEnd/>
              <a:tailEnd/>
            </a:ln>
          </p:spPr>
        </p:cxnSp>
        <p:cxnSp>
          <p:nvCxnSpPr>
            <p:cNvPr id="264" name="Straight Connector 104"/>
            <p:cNvCxnSpPr>
              <a:cxnSpLocks noChangeShapeType="1"/>
            </p:cNvCxnSpPr>
            <p:nvPr/>
          </p:nvCxnSpPr>
          <p:spPr bwMode="auto">
            <a:xfrm rot="5400000" flipH="1" flipV="1">
              <a:off x="3755216" y="5725446"/>
              <a:ext cx="212725" cy="185738"/>
            </a:xfrm>
            <a:prstGeom prst="line">
              <a:avLst/>
            </a:prstGeom>
            <a:noFill/>
            <a:ln w="9525" algn="ctr">
              <a:solidFill>
                <a:srgbClr val="969696"/>
              </a:solidFill>
              <a:round/>
              <a:headEnd/>
              <a:tailEnd/>
            </a:ln>
          </p:spPr>
        </p:cxnSp>
        <p:cxnSp>
          <p:nvCxnSpPr>
            <p:cNvPr id="265" name="Straight Connector 106"/>
            <p:cNvCxnSpPr>
              <a:cxnSpLocks noChangeShapeType="1"/>
            </p:cNvCxnSpPr>
            <p:nvPr/>
          </p:nvCxnSpPr>
          <p:spPr bwMode="auto">
            <a:xfrm rot="10800000" flipH="1" flipV="1">
              <a:off x="3306747" y="6342189"/>
              <a:ext cx="258762" cy="96838"/>
            </a:xfrm>
            <a:prstGeom prst="line">
              <a:avLst/>
            </a:prstGeom>
            <a:noFill/>
            <a:ln w="9525" algn="ctr">
              <a:solidFill>
                <a:srgbClr val="969696"/>
              </a:solidFill>
              <a:round/>
              <a:headEnd/>
              <a:tailEnd/>
            </a:ln>
          </p:spPr>
        </p:cxnSp>
        <p:cxnSp>
          <p:nvCxnSpPr>
            <p:cNvPr id="266" name="Straight Connector 108"/>
            <p:cNvCxnSpPr>
              <a:cxnSpLocks noChangeShapeType="1"/>
            </p:cNvCxnSpPr>
            <p:nvPr/>
          </p:nvCxnSpPr>
          <p:spPr bwMode="auto">
            <a:xfrm rot="10800000" flipH="1">
              <a:off x="3741722" y="6345364"/>
              <a:ext cx="314325" cy="93663"/>
            </a:xfrm>
            <a:prstGeom prst="line">
              <a:avLst/>
            </a:prstGeom>
            <a:noFill/>
            <a:ln w="9525" algn="ctr">
              <a:solidFill>
                <a:srgbClr val="969696"/>
              </a:solidFill>
              <a:round/>
              <a:headEnd/>
              <a:tailEnd/>
            </a:ln>
          </p:spPr>
        </p:cxnSp>
        <p:cxnSp>
          <p:nvCxnSpPr>
            <p:cNvPr id="267" name="Straight Connector 110"/>
            <p:cNvCxnSpPr>
              <a:cxnSpLocks noChangeShapeType="1"/>
            </p:cNvCxnSpPr>
            <p:nvPr/>
          </p:nvCxnSpPr>
          <p:spPr bwMode="auto">
            <a:xfrm rot="5400000" flipH="1" flipV="1">
              <a:off x="4098910" y="5705602"/>
              <a:ext cx="682625" cy="469900"/>
            </a:xfrm>
            <a:prstGeom prst="line">
              <a:avLst/>
            </a:prstGeom>
            <a:noFill/>
            <a:ln w="9525" algn="ctr">
              <a:solidFill>
                <a:srgbClr val="969696"/>
              </a:solidFill>
              <a:round/>
              <a:headEnd/>
              <a:tailEnd/>
            </a:ln>
          </p:spPr>
        </p:cxnSp>
        <p:sp>
          <p:nvSpPr>
            <p:cNvPr id="268" name="TextBox 131"/>
            <p:cNvSpPr txBox="1">
              <a:spLocks noChangeArrowheads="1"/>
            </p:cNvSpPr>
            <p:nvPr/>
          </p:nvSpPr>
          <p:spPr bwMode="auto">
            <a:xfrm flipH="1">
              <a:off x="4606894" y="5573875"/>
              <a:ext cx="568325" cy="215900"/>
            </a:xfrm>
            <a:prstGeom prst="rect">
              <a:avLst/>
            </a:prstGeom>
            <a:noFill/>
            <a:ln w="9525">
              <a:noFill/>
              <a:miter lim="800000"/>
              <a:headEnd/>
              <a:tailEnd/>
            </a:ln>
          </p:spPr>
          <p:txBody>
            <a:bodyPr wrap="none">
              <a:spAutoFit/>
            </a:bodyPr>
            <a:lstStyle/>
            <a:p>
              <a:pPr>
                <a:spcBef>
                  <a:spcPct val="50000"/>
                </a:spcBef>
              </a:pPr>
              <a:r>
                <a:rPr lang="en-US" sz="800" b="1" i="0" smtClean="0">
                  <a:latin typeface="Calibri" pitchFamily="34" charset="0"/>
                </a:rPr>
                <a:t>POP MW</a:t>
              </a:r>
              <a:endParaRPr lang="en-US" sz="800" b="1" i="0" dirty="0">
                <a:latin typeface="Calibri" pitchFamily="34" charset="0"/>
              </a:endParaRPr>
            </a:p>
          </p:txBody>
        </p:sp>
        <p:grpSp>
          <p:nvGrpSpPr>
            <p:cNvPr id="283" name="Group 111"/>
            <p:cNvGrpSpPr>
              <a:grpSpLocks/>
            </p:cNvGrpSpPr>
            <p:nvPr/>
          </p:nvGrpSpPr>
          <p:grpSpPr bwMode="auto">
            <a:xfrm>
              <a:off x="4911817" y="4409792"/>
              <a:ext cx="174625" cy="179387"/>
              <a:chOff x="8053381" y="4195958"/>
              <a:chExt cx="228600" cy="228600"/>
            </a:xfrm>
          </p:grpSpPr>
          <p:sp>
            <p:nvSpPr>
              <p:cNvPr id="322" name="Oval 321"/>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323" name="Oval 322"/>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cxnSp>
          <p:nvCxnSpPr>
            <p:cNvPr id="270" name="Straight Connector 114"/>
            <p:cNvCxnSpPr>
              <a:cxnSpLocks noChangeShapeType="1"/>
              <a:endCxn id="229" idx="2"/>
            </p:cNvCxnSpPr>
            <p:nvPr/>
          </p:nvCxnSpPr>
          <p:spPr bwMode="auto">
            <a:xfrm rot="16200000" flipV="1">
              <a:off x="4594102" y="4004764"/>
              <a:ext cx="512758" cy="297298"/>
            </a:xfrm>
            <a:prstGeom prst="line">
              <a:avLst/>
            </a:prstGeom>
            <a:noFill/>
            <a:ln w="9525" algn="ctr">
              <a:solidFill>
                <a:srgbClr val="969696"/>
              </a:solidFill>
              <a:round/>
              <a:headEnd/>
              <a:tailEnd/>
            </a:ln>
          </p:spPr>
        </p:cxnSp>
        <p:grpSp>
          <p:nvGrpSpPr>
            <p:cNvPr id="284" name="Group 111"/>
            <p:cNvGrpSpPr>
              <a:grpSpLocks/>
            </p:cNvGrpSpPr>
            <p:nvPr/>
          </p:nvGrpSpPr>
          <p:grpSpPr bwMode="auto">
            <a:xfrm>
              <a:off x="4422754" y="2984597"/>
              <a:ext cx="174625" cy="179387"/>
              <a:chOff x="8053381" y="4195958"/>
              <a:chExt cx="228600" cy="228600"/>
            </a:xfrm>
          </p:grpSpPr>
          <p:sp>
            <p:nvSpPr>
              <p:cNvPr id="320" name="Oval 319"/>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321" name="Oval 320"/>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293" name="Group 111"/>
            <p:cNvGrpSpPr>
              <a:grpSpLocks/>
            </p:cNvGrpSpPr>
            <p:nvPr/>
          </p:nvGrpSpPr>
          <p:grpSpPr bwMode="auto">
            <a:xfrm>
              <a:off x="4779944" y="3212425"/>
              <a:ext cx="174625" cy="179387"/>
              <a:chOff x="8053381" y="4195958"/>
              <a:chExt cx="228600" cy="228600"/>
            </a:xfrm>
          </p:grpSpPr>
          <p:sp>
            <p:nvSpPr>
              <p:cNvPr id="318" name="Oval 317"/>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319" name="Oval 318"/>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294" name="Group 111"/>
            <p:cNvGrpSpPr>
              <a:grpSpLocks/>
            </p:cNvGrpSpPr>
            <p:nvPr/>
          </p:nvGrpSpPr>
          <p:grpSpPr bwMode="auto">
            <a:xfrm>
              <a:off x="3976658" y="3751370"/>
              <a:ext cx="174625" cy="179387"/>
              <a:chOff x="8053381" y="4195958"/>
              <a:chExt cx="228600" cy="228600"/>
            </a:xfrm>
          </p:grpSpPr>
          <p:sp>
            <p:nvSpPr>
              <p:cNvPr id="316" name="Oval 315"/>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317" name="Oval 316"/>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cxnSp>
          <p:nvCxnSpPr>
            <p:cNvPr id="274" name="Straight Connector 114"/>
            <p:cNvCxnSpPr>
              <a:cxnSpLocks noChangeShapeType="1"/>
              <a:endCxn id="229" idx="0"/>
            </p:cNvCxnSpPr>
            <p:nvPr/>
          </p:nvCxnSpPr>
          <p:spPr bwMode="auto">
            <a:xfrm rot="5400000">
              <a:off x="4585962" y="3481412"/>
              <a:ext cx="335427" cy="103685"/>
            </a:xfrm>
            <a:prstGeom prst="line">
              <a:avLst/>
            </a:prstGeom>
            <a:noFill/>
            <a:ln w="9525" algn="ctr">
              <a:solidFill>
                <a:srgbClr val="969696"/>
              </a:solidFill>
              <a:round/>
              <a:headEnd/>
              <a:tailEnd/>
            </a:ln>
          </p:spPr>
        </p:cxnSp>
        <p:cxnSp>
          <p:nvCxnSpPr>
            <p:cNvPr id="275" name="Straight Connector 114"/>
            <p:cNvCxnSpPr>
              <a:cxnSpLocks noChangeShapeType="1"/>
              <a:endCxn id="229" idx="0"/>
            </p:cNvCxnSpPr>
            <p:nvPr/>
          </p:nvCxnSpPr>
          <p:spPr bwMode="auto">
            <a:xfrm rot="16200000" flipH="1">
              <a:off x="4337457" y="3336593"/>
              <a:ext cx="536984" cy="191765"/>
            </a:xfrm>
            <a:prstGeom prst="line">
              <a:avLst/>
            </a:prstGeom>
            <a:noFill/>
            <a:ln w="9525" algn="ctr">
              <a:solidFill>
                <a:srgbClr val="969696"/>
              </a:solidFill>
              <a:round/>
              <a:headEnd/>
              <a:tailEnd/>
            </a:ln>
          </p:spPr>
        </p:cxnSp>
        <p:cxnSp>
          <p:nvCxnSpPr>
            <p:cNvPr id="276" name="Straight Connector 114"/>
            <p:cNvCxnSpPr>
              <a:cxnSpLocks noChangeShapeType="1"/>
              <a:endCxn id="229" idx="1"/>
            </p:cNvCxnSpPr>
            <p:nvPr/>
          </p:nvCxnSpPr>
          <p:spPr bwMode="auto">
            <a:xfrm flipV="1">
              <a:off x="4151283" y="3799001"/>
              <a:ext cx="440163" cy="42063"/>
            </a:xfrm>
            <a:prstGeom prst="line">
              <a:avLst/>
            </a:prstGeom>
            <a:noFill/>
            <a:ln w="9525" algn="ctr">
              <a:solidFill>
                <a:srgbClr val="969696"/>
              </a:solidFill>
              <a:round/>
              <a:headEnd/>
              <a:tailEnd/>
            </a:ln>
          </p:spPr>
        </p:cxnSp>
        <p:grpSp>
          <p:nvGrpSpPr>
            <p:cNvPr id="295" name="Group 58"/>
            <p:cNvGrpSpPr>
              <a:grpSpLocks/>
            </p:cNvGrpSpPr>
            <p:nvPr/>
          </p:nvGrpSpPr>
          <p:grpSpPr bwMode="auto">
            <a:xfrm>
              <a:off x="7374719" y="5772279"/>
              <a:ext cx="174625" cy="179387"/>
              <a:chOff x="8053381" y="4195958"/>
              <a:chExt cx="228600" cy="228600"/>
            </a:xfrm>
          </p:grpSpPr>
          <p:sp>
            <p:nvSpPr>
              <p:cNvPr id="314" name="Oval 313"/>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315" name="Oval 314"/>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296" name="Group 61"/>
            <p:cNvGrpSpPr>
              <a:grpSpLocks/>
            </p:cNvGrpSpPr>
            <p:nvPr/>
          </p:nvGrpSpPr>
          <p:grpSpPr bwMode="auto">
            <a:xfrm>
              <a:off x="6976256" y="5618291"/>
              <a:ext cx="174625" cy="180975"/>
              <a:chOff x="8053381" y="4195958"/>
              <a:chExt cx="228600" cy="228600"/>
            </a:xfrm>
          </p:grpSpPr>
          <p:sp>
            <p:nvSpPr>
              <p:cNvPr id="312" name="Oval 311"/>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313" name="Oval 312"/>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297" name="Group 64"/>
            <p:cNvGrpSpPr>
              <a:grpSpLocks/>
            </p:cNvGrpSpPr>
            <p:nvPr/>
          </p:nvGrpSpPr>
          <p:grpSpPr bwMode="auto">
            <a:xfrm>
              <a:off x="6587319" y="5599241"/>
              <a:ext cx="176212" cy="179388"/>
              <a:chOff x="8053381" y="4195958"/>
              <a:chExt cx="228600" cy="228600"/>
            </a:xfrm>
          </p:grpSpPr>
          <p:sp>
            <p:nvSpPr>
              <p:cNvPr id="310" name="Oval 309"/>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311" name="Oval 310"/>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298" name="Group 67"/>
            <p:cNvGrpSpPr>
              <a:grpSpLocks/>
            </p:cNvGrpSpPr>
            <p:nvPr/>
          </p:nvGrpSpPr>
          <p:grpSpPr bwMode="auto">
            <a:xfrm>
              <a:off x="6896881" y="5940554"/>
              <a:ext cx="176213" cy="179387"/>
              <a:chOff x="8053381" y="4195958"/>
              <a:chExt cx="228600" cy="228600"/>
            </a:xfrm>
          </p:grpSpPr>
          <p:sp>
            <p:nvSpPr>
              <p:cNvPr id="308" name="Oval 307"/>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309" name="Oval 308"/>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1056" name="Group 70"/>
            <p:cNvGrpSpPr>
              <a:grpSpLocks/>
            </p:cNvGrpSpPr>
            <p:nvPr/>
          </p:nvGrpSpPr>
          <p:grpSpPr bwMode="auto">
            <a:xfrm>
              <a:off x="7385831" y="6292979"/>
              <a:ext cx="174625" cy="179387"/>
              <a:chOff x="8053381" y="4195958"/>
              <a:chExt cx="228600" cy="228600"/>
            </a:xfrm>
          </p:grpSpPr>
          <p:sp>
            <p:nvSpPr>
              <p:cNvPr id="306" name="Oval 305"/>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prst="relaxedInset"/>
              </a:sp3d>
            </p:spPr>
            <p:txBody>
              <a:bodyPr wrap="none" lIns="0" tIns="0" rIns="0" bIns="0" anchor="ctr"/>
              <a:lstStyle/>
              <a:p>
                <a:pPr algn="ctr" defTabSz="873125" eaLnBrk="0" hangingPunct="0">
                  <a:defRPr/>
                </a:pPr>
                <a:endParaRPr lang="en-US" dirty="0">
                  <a:cs typeface="Arial" pitchFamily="34" charset="0"/>
                </a:endParaRPr>
              </a:p>
            </p:txBody>
          </p:sp>
          <p:sp>
            <p:nvSpPr>
              <p:cNvPr id="307" name="Oval 306"/>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prst="relaxedInse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1057" name="Group 73"/>
            <p:cNvGrpSpPr>
              <a:grpSpLocks/>
            </p:cNvGrpSpPr>
            <p:nvPr/>
          </p:nvGrpSpPr>
          <p:grpSpPr bwMode="auto">
            <a:xfrm>
              <a:off x="6950856" y="6389816"/>
              <a:ext cx="176213" cy="180975"/>
              <a:chOff x="8053381" y="4195958"/>
              <a:chExt cx="228600" cy="228600"/>
            </a:xfrm>
          </p:grpSpPr>
          <p:sp>
            <p:nvSpPr>
              <p:cNvPr id="304" name="Oval 303"/>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305" name="Oval 304"/>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1058" name="Group 76"/>
            <p:cNvGrpSpPr>
              <a:grpSpLocks/>
            </p:cNvGrpSpPr>
            <p:nvPr/>
          </p:nvGrpSpPr>
          <p:grpSpPr bwMode="auto">
            <a:xfrm>
              <a:off x="6461906" y="6297741"/>
              <a:ext cx="174625" cy="179388"/>
              <a:chOff x="8053381" y="4195958"/>
              <a:chExt cx="228600" cy="228600"/>
            </a:xfrm>
          </p:grpSpPr>
          <p:sp>
            <p:nvSpPr>
              <p:cNvPr id="302" name="Oval 301"/>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303" name="Oval 302"/>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1059" name="Group 79"/>
            <p:cNvGrpSpPr>
              <a:grpSpLocks/>
            </p:cNvGrpSpPr>
            <p:nvPr/>
          </p:nvGrpSpPr>
          <p:grpSpPr bwMode="auto">
            <a:xfrm>
              <a:off x="5930094" y="5461129"/>
              <a:ext cx="176212" cy="179387"/>
              <a:chOff x="8053381" y="4195958"/>
              <a:chExt cx="228600" cy="228600"/>
            </a:xfrm>
          </p:grpSpPr>
          <p:sp>
            <p:nvSpPr>
              <p:cNvPr id="300" name="Oval 299"/>
              <p:cNvSpPr/>
              <p:nvPr/>
            </p:nvSpPr>
            <p:spPr bwMode="auto">
              <a:xfrm>
                <a:off x="8053381" y="4195958"/>
                <a:ext cx="228600" cy="228600"/>
              </a:xfrm>
              <a:prstGeom prst="ellipse">
                <a:avLst/>
              </a:prstGeom>
              <a:solidFill>
                <a:srgbClr val="33CC33"/>
              </a:solidFill>
              <a:ln w="9525" cap="flat" cmpd="sng" algn="ctr">
                <a:solidFill>
                  <a:schemeClr val="tx1">
                    <a:lumMod val="95000"/>
                    <a:lumOff val="5000"/>
                  </a:schemeClr>
                </a:solidFill>
                <a:prstDash val="solid"/>
                <a:round/>
                <a:headEnd type="none" w="med" len="med"/>
                <a:tailEnd type="none" w="med" len="med"/>
              </a:ln>
              <a:effectLst/>
              <a:scene3d>
                <a:camera prst="orthographicFront"/>
                <a:lightRig rig="threePt" dir="t"/>
              </a:scene3d>
              <a:sp3d>
                <a:bevelT w="152400" h="50800" prst="softRound"/>
              </a:sp3d>
            </p:spPr>
            <p:txBody>
              <a:bodyPr wrap="none" lIns="0" tIns="0" rIns="0" bIns="0" anchor="ctr"/>
              <a:lstStyle/>
              <a:p>
                <a:pPr algn="ctr" defTabSz="873125" eaLnBrk="0" hangingPunct="0">
                  <a:defRPr/>
                </a:pPr>
                <a:endParaRPr lang="en-US" dirty="0">
                  <a:cs typeface="Arial" pitchFamily="34" charset="0"/>
                </a:endParaRPr>
              </a:p>
            </p:txBody>
          </p:sp>
          <p:sp>
            <p:nvSpPr>
              <p:cNvPr id="301" name="Oval 300"/>
              <p:cNvSpPr/>
              <p:nvPr/>
            </p:nvSpPr>
            <p:spPr bwMode="auto">
              <a:xfrm>
                <a:off x="8109348" y="4253475"/>
                <a:ext cx="116666" cy="114950"/>
              </a:xfrm>
              <a:prstGeom prst="ellipse">
                <a:avLst/>
              </a:prstGeom>
              <a:solidFill>
                <a:srgbClr val="FF0000"/>
              </a:solidFill>
              <a:ln w="9525" cap="flat" cmpd="sng" algn="ctr">
                <a:solidFill>
                  <a:schemeClr val="tx1">
                    <a:lumMod val="95000"/>
                    <a:lumOff val="5000"/>
                  </a:schemeClr>
                </a:solidFill>
                <a:prstDash val="solid"/>
                <a:round/>
                <a:headEnd type="none" w="med" len="med"/>
                <a:tailEnd type="none" w="med" len="med"/>
              </a:ln>
              <a:effectLst/>
              <a:scene3d>
                <a:camera prst="orthographicFront"/>
                <a:lightRig rig="threePt" dir="t"/>
              </a:scene3d>
              <a:sp3d>
                <a:bevelT w="152400" h="50800" prst="softRound"/>
              </a:sp3d>
            </p:spPr>
            <p:txBody>
              <a:bodyPr wrap="none" lIns="0" tIns="0" rIns="0" bIns="0" anchor="ctr"/>
              <a:lstStyle/>
              <a:p>
                <a:pPr algn="ctr" defTabSz="873125" eaLnBrk="0" hangingPunct="0">
                  <a:defRPr/>
                </a:pPr>
                <a:endParaRPr lang="en-US" dirty="0">
                  <a:cs typeface="Arial" pitchFamily="34" charset="0"/>
                </a:endParaRPr>
              </a:p>
            </p:txBody>
          </p:sp>
        </p:grpSp>
        <p:cxnSp>
          <p:nvCxnSpPr>
            <p:cNvPr id="285" name="Straight Connector 92"/>
            <p:cNvCxnSpPr>
              <a:cxnSpLocks noChangeShapeType="1"/>
            </p:cNvCxnSpPr>
            <p:nvPr/>
          </p:nvCxnSpPr>
          <p:spPr bwMode="auto">
            <a:xfrm rot="10800000">
              <a:off x="6063444" y="5551616"/>
              <a:ext cx="523875" cy="138113"/>
            </a:xfrm>
            <a:prstGeom prst="line">
              <a:avLst/>
            </a:prstGeom>
            <a:noFill/>
            <a:ln w="9525" algn="ctr">
              <a:solidFill>
                <a:srgbClr val="969696"/>
              </a:solidFill>
              <a:round/>
              <a:headEnd/>
              <a:tailEnd/>
            </a:ln>
          </p:spPr>
        </p:cxnSp>
        <p:cxnSp>
          <p:nvCxnSpPr>
            <p:cNvPr id="286" name="Straight Connector 97"/>
            <p:cNvCxnSpPr>
              <a:cxnSpLocks noChangeShapeType="1"/>
            </p:cNvCxnSpPr>
            <p:nvPr/>
          </p:nvCxnSpPr>
          <p:spPr bwMode="auto">
            <a:xfrm rot="16200000" flipV="1">
              <a:off x="7231050" y="5628610"/>
              <a:ext cx="88900" cy="249238"/>
            </a:xfrm>
            <a:prstGeom prst="line">
              <a:avLst/>
            </a:prstGeom>
            <a:noFill/>
            <a:ln w="9525" algn="ctr">
              <a:solidFill>
                <a:srgbClr val="969696"/>
              </a:solidFill>
              <a:round/>
              <a:headEnd/>
              <a:tailEnd/>
            </a:ln>
          </p:spPr>
        </p:cxnSp>
        <p:cxnSp>
          <p:nvCxnSpPr>
            <p:cNvPr id="287" name="Straight Connector 101"/>
            <p:cNvCxnSpPr>
              <a:cxnSpLocks noChangeShapeType="1"/>
            </p:cNvCxnSpPr>
            <p:nvPr/>
          </p:nvCxnSpPr>
          <p:spPr bwMode="auto">
            <a:xfrm rot="10800000">
              <a:off x="6763531" y="5689729"/>
              <a:ext cx="212725" cy="19050"/>
            </a:xfrm>
            <a:prstGeom prst="line">
              <a:avLst/>
            </a:prstGeom>
            <a:noFill/>
            <a:ln w="9525" algn="ctr">
              <a:solidFill>
                <a:srgbClr val="969696"/>
              </a:solidFill>
              <a:round/>
              <a:headEnd/>
              <a:tailEnd/>
            </a:ln>
          </p:spPr>
        </p:cxnSp>
        <p:cxnSp>
          <p:nvCxnSpPr>
            <p:cNvPr id="288" name="Straight Connector 104"/>
            <p:cNvCxnSpPr>
              <a:cxnSpLocks noChangeShapeType="1"/>
            </p:cNvCxnSpPr>
            <p:nvPr/>
          </p:nvCxnSpPr>
          <p:spPr bwMode="auto">
            <a:xfrm rot="16200000" flipV="1">
              <a:off x="6724637" y="5766723"/>
              <a:ext cx="212725" cy="185738"/>
            </a:xfrm>
            <a:prstGeom prst="line">
              <a:avLst/>
            </a:prstGeom>
            <a:noFill/>
            <a:ln w="9525" algn="ctr">
              <a:solidFill>
                <a:srgbClr val="969696"/>
              </a:solidFill>
              <a:round/>
              <a:headEnd/>
              <a:tailEnd/>
            </a:ln>
          </p:spPr>
        </p:cxnSp>
        <p:cxnSp>
          <p:nvCxnSpPr>
            <p:cNvPr id="289" name="Straight Connector 106"/>
            <p:cNvCxnSpPr>
              <a:cxnSpLocks noChangeShapeType="1"/>
            </p:cNvCxnSpPr>
            <p:nvPr/>
          </p:nvCxnSpPr>
          <p:spPr bwMode="auto">
            <a:xfrm rot="10800000" flipV="1">
              <a:off x="7127069" y="6383466"/>
              <a:ext cx="258762" cy="96838"/>
            </a:xfrm>
            <a:prstGeom prst="line">
              <a:avLst/>
            </a:prstGeom>
            <a:noFill/>
            <a:ln w="9525" algn="ctr">
              <a:solidFill>
                <a:srgbClr val="969696"/>
              </a:solidFill>
              <a:round/>
              <a:headEnd/>
              <a:tailEnd/>
            </a:ln>
          </p:spPr>
        </p:cxnSp>
        <p:cxnSp>
          <p:nvCxnSpPr>
            <p:cNvPr id="290" name="Straight Connector 108"/>
            <p:cNvCxnSpPr>
              <a:cxnSpLocks noChangeShapeType="1"/>
            </p:cNvCxnSpPr>
            <p:nvPr/>
          </p:nvCxnSpPr>
          <p:spPr bwMode="auto">
            <a:xfrm rot="10800000">
              <a:off x="6636531" y="6386641"/>
              <a:ext cx="314325" cy="93663"/>
            </a:xfrm>
            <a:prstGeom prst="line">
              <a:avLst/>
            </a:prstGeom>
            <a:noFill/>
            <a:ln w="9525" algn="ctr">
              <a:solidFill>
                <a:srgbClr val="969696"/>
              </a:solidFill>
              <a:round/>
              <a:headEnd/>
              <a:tailEnd/>
            </a:ln>
          </p:spPr>
        </p:cxnSp>
        <p:cxnSp>
          <p:nvCxnSpPr>
            <p:cNvPr id="291" name="Straight Connector 110"/>
            <p:cNvCxnSpPr>
              <a:cxnSpLocks noChangeShapeType="1"/>
            </p:cNvCxnSpPr>
            <p:nvPr/>
          </p:nvCxnSpPr>
          <p:spPr bwMode="auto">
            <a:xfrm rot="16200000" flipV="1">
              <a:off x="5911043" y="5746879"/>
              <a:ext cx="682625" cy="469900"/>
            </a:xfrm>
            <a:prstGeom prst="line">
              <a:avLst/>
            </a:prstGeom>
            <a:noFill/>
            <a:ln w="9525" algn="ctr">
              <a:solidFill>
                <a:srgbClr val="969696"/>
              </a:solidFill>
              <a:round/>
              <a:headEnd/>
              <a:tailEnd/>
            </a:ln>
          </p:spPr>
        </p:cxnSp>
        <p:sp>
          <p:nvSpPr>
            <p:cNvPr id="292" name="TextBox 131"/>
            <p:cNvSpPr txBox="1">
              <a:spLocks noChangeArrowheads="1"/>
            </p:cNvSpPr>
            <p:nvPr/>
          </p:nvSpPr>
          <p:spPr bwMode="auto">
            <a:xfrm>
              <a:off x="5556232" y="5610388"/>
              <a:ext cx="568325" cy="215900"/>
            </a:xfrm>
            <a:prstGeom prst="rect">
              <a:avLst/>
            </a:prstGeom>
            <a:noFill/>
            <a:ln w="9525">
              <a:noFill/>
              <a:miter lim="800000"/>
              <a:headEnd/>
              <a:tailEnd/>
            </a:ln>
          </p:spPr>
          <p:txBody>
            <a:bodyPr wrap="none">
              <a:spAutoFit/>
            </a:bodyPr>
            <a:lstStyle/>
            <a:p>
              <a:pPr>
                <a:spcBef>
                  <a:spcPct val="50000"/>
                </a:spcBef>
              </a:pPr>
              <a:r>
                <a:rPr lang="en-US" sz="800" b="1" i="0" smtClean="0">
                  <a:latin typeface="Calibri" pitchFamily="34" charset="0"/>
                </a:rPr>
                <a:t>POP MW</a:t>
              </a:r>
              <a:endParaRPr lang="en-US" sz="800" b="1" i="0" dirty="0">
                <a:latin typeface="Calibri" pitchFamily="34" charset="0"/>
              </a:endParaRPr>
            </a:p>
          </p:txBody>
        </p:sp>
        <p:sp>
          <p:nvSpPr>
            <p:cNvPr id="299" name="TextBox 131"/>
            <p:cNvSpPr txBox="1">
              <a:spLocks noChangeArrowheads="1"/>
            </p:cNvSpPr>
            <p:nvPr/>
          </p:nvSpPr>
          <p:spPr bwMode="auto">
            <a:xfrm>
              <a:off x="2927295" y="5162622"/>
              <a:ext cx="568325" cy="215900"/>
            </a:xfrm>
            <a:prstGeom prst="rect">
              <a:avLst/>
            </a:prstGeom>
            <a:noFill/>
            <a:ln w="9525">
              <a:noFill/>
              <a:miter lim="800000"/>
              <a:headEnd/>
              <a:tailEnd/>
            </a:ln>
          </p:spPr>
          <p:txBody>
            <a:bodyPr wrap="none">
              <a:spAutoFit/>
            </a:bodyPr>
            <a:lstStyle/>
            <a:p>
              <a:pPr>
                <a:spcBef>
                  <a:spcPct val="50000"/>
                </a:spcBef>
              </a:pPr>
              <a:r>
                <a:rPr lang="en-US" sz="800" b="1" i="0" dirty="0" smtClean="0">
                  <a:latin typeface="Calibri" pitchFamily="34" charset="0"/>
                </a:rPr>
                <a:t>POP MW</a:t>
              </a:r>
              <a:endParaRPr lang="en-US" sz="800" b="1" i="0" dirty="0">
                <a:latin typeface="Calibri" pitchFamily="34" charset="0"/>
              </a:endParaRPr>
            </a:p>
          </p:txBody>
        </p:sp>
      </p:grpSp>
      <p:sp>
        <p:nvSpPr>
          <p:cNvPr id="422" name="Oval 421"/>
          <p:cNvSpPr/>
          <p:nvPr/>
        </p:nvSpPr>
        <p:spPr bwMode="auto">
          <a:xfrm>
            <a:off x="3315267" y="6369961"/>
            <a:ext cx="135637" cy="94163"/>
          </a:xfrm>
          <a:prstGeom prst="ellipse">
            <a:avLst/>
          </a:prstGeom>
          <a:solidFill>
            <a:srgbClr val="FF0000"/>
          </a:solidFill>
          <a:ln w="9525" cap="flat" cmpd="sng" algn="ctr">
            <a:solidFill>
              <a:srgbClr val="969696"/>
            </a:solidFill>
            <a:prstDash val="solid"/>
            <a:round/>
            <a:headEnd type="none" w="med" len="med"/>
            <a:tailEnd type="none" w="med" len="med"/>
          </a:ln>
          <a:effectLst/>
          <a:scene3d>
            <a:camera prst="orthographicFront"/>
            <a:lightRig rig="threePt" dir="t"/>
          </a:scene3d>
          <a:sp3d>
            <a:bevelT w="152400" h="50800" prst="softRound"/>
          </a:sp3d>
        </p:spPr>
        <p:txBody>
          <a:bodyPr wrap="none" lIns="0" tIns="0" rIns="0" bIns="0" anchor="ctr"/>
          <a:lstStyle/>
          <a:p>
            <a:pPr algn="ctr" defTabSz="873125" eaLnBrk="0" hangingPunct="0">
              <a:defRPr/>
            </a:pPr>
            <a:endParaRPr lang="en-US" sz="800" dirty="0">
              <a:latin typeface="Calibri" pitchFamily="34" charset="0"/>
              <a:cs typeface="Calibri" pitchFamily="34" charset="0"/>
            </a:endParaRPr>
          </a:p>
        </p:txBody>
      </p:sp>
      <p:sp>
        <p:nvSpPr>
          <p:cNvPr id="423" name="TextBox 118"/>
          <p:cNvSpPr txBox="1">
            <a:spLocks noChangeArrowheads="1"/>
          </p:cNvSpPr>
          <p:nvPr/>
        </p:nvSpPr>
        <p:spPr bwMode="auto">
          <a:xfrm>
            <a:off x="3467113" y="6309320"/>
            <a:ext cx="484428" cy="215444"/>
          </a:xfrm>
          <a:prstGeom prst="rect">
            <a:avLst/>
          </a:prstGeom>
          <a:noFill/>
          <a:ln w="9525">
            <a:noFill/>
            <a:miter lim="800000"/>
            <a:headEnd/>
            <a:tailEnd/>
          </a:ln>
        </p:spPr>
        <p:txBody>
          <a:bodyPr wrap="none">
            <a:spAutoFit/>
          </a:bodyPr>
          <a:lstStyle/>
          <a:p>
            <a:pPr>
              <a:spcBef>
                <a:spcPct val="50000"/>
              </a:spcBef>
            </a:pPr>
            <a:r>
              <a:rPr lang="en-US" sz="800" i="0" dirty="0" smtClean="0">
                <a:latin typeface="Calibri" pitchFamily="34" charset="0"/>
                <a:cs typeface="Calibri" pitchFamily="34" charset="0"/>
              </a:rPr>
              <a:t>2G Site</a:t>
            </a:r>
            <a:endParaRPr lang="en-US" sz="800" i="0" dirty="0">
              <a:latin typeface="Calibri" pitchFamily="34" charset="0"/>
              <a:cs typeface="Calibri" pitchFamily="34" charset="0"/>
            </a:endParaRPr>
          </a:p>
        </p:txBody>
      </p:sp>
      <p:sp>
        <p:nvSpPr>
          <p:cNvPr id="424" name="Oval 423"/>
          <p:cNvSpPr/>
          <p:nvPr/>
        </p:nvSpPr>
        <p:spPr bwMode="auto">
          <a:xfrm>
            <a:off x="4173531" y="6369961"/>
            <a:ext cx="135304" cy="94163"/>
          </a:xfrm>
          <a:prstGeom prst="ellipse">
            <a:avLst/>
          </a:prstGeom>
          <a:solidFill>
            <a:srgbClr val="33CC33"/>
          </a:solidFill>
          <a:ln w="9525" cap="flat" cmpd="sng" algn="ctr">
            <a:solidFill>
              <a:srgbClr val="969696"/>
            </a:solidFill>
            <a:prstDash val="solid"/>
            <a:round/>
            <a:headEnd type="none" w="med" len="med"/>
            <a:tailEnd type="none" w="med" len="med"/>
          </a:ln>
          <a:effectLst/>
          <a:scene3d>
            <a:camera prst="orthographicFront"/>
            <a:lightRig rig="threePt" dir="t"/>
          </a:scene3d>
          <a:sp3d>
            <a:bevelT w="152400" h="50800" prst="softRound"/>
          </a:sp3d>
        </p:spPr>
        <p:txBody>
          <a:bodyPr wrap="none" lIns="0" tIns="0" rIns="0" bIns="0" anchor="ctr"/>
          <a:lstStyle/>
          <a:p>
            <a:pPr algn="ctr" defTabSz="873125" eaLnBrk="0" hangingPunct="0">
              <a:defRPr/>
            </a:pPr>
            <a:endParaRPr lang="en-US" sz="800" dirty="0">
              <a:latin typeface="Calibri" pitchFamily="34" charset="0"/>
              <a:cs typeface="Calibri" pitchFamily="34" charset="0"/>
            </a:endParaRPr>
          </a:p>
        </p:txBody>
      </p:sp>
      <p:sp>
        <p:nvSpPr>
          <p:cNvPr id="425" name="TextBox 119"/>
          <p:cNvSpPr txBox="1">
            <a:spLocks noChangeArrowheads="1"/>
          </p:cNvSpPr>
          <p:nvPr/>
        </p:nvSpPr>
        <p:spPr bwMode="auto">
          <a:xfrm>
            <a:off x="4320265" y="6309320"/>
            <a:ext cx="484428" cy="215444"/>
          </a:xfrm>
          <a:prstGeom prst="rect">
            <a:avLst/>
          </a:prstGeom>
          <a:noFill/>
          <a:ln w="9525">
            <a:noFill/>
            <a:miter lim="800000"/>
            <a:headEnd/>
            <a:tailEnd/>
          </a:ln>
        </p:spPr>
        <p:txBody>
          <a:bodyPr wrap="none">
            <a:spAutoFit/>
          </a:bodyPr>
          <a:lstStyle/>
          <a:p>
            <a:pPr>
              <a:spcBef>
                <a:spcPct val="50000"/>
              </a:spcBef>
            </a:pPr>
            <a:r>
              <a:rPr lang="en-US" sz="800" i="0" dirty="0" smtClean="0">
                <a:latin typeface="Calibri" pitchFamily="34" charset="0"/>
                <a:cs typeface="Calibri" pitchFamily="34" charset="0"/>
              </a:rPr>
              <a:t>3G Site</a:t>
            </a:r>
            <a:endParaRPr lang="en-US" sz="800" i="0" dirty="0">
              <a:latin typeface="Calibri" pitchFamily="34" charset="0"/>
              <a:cs typeface="Calibri" pitchFamily="34" charset="0"/>
            </a:endParaRPr>
          </a:p>
        </p:txBody>
      </p:sp>
      <p:cxnSp>
        <p:nvCxnSpPr>
          <p:cNvPr id="426" name="Straight Connector 425"/>
          <p:cNvCxnSpPr/>
          <p:nvPr/>
        </p:nvCxnSpPr>
        <p:spPr bwMode="auto">
          <a:xfrm>
            <a:off x="2344648" y="6416478"/>
            <a:ext cx="154800" cy="1128"/>
          </a:xfrm>
          <a:prstGeom prst="line">
            <a:avLst/>
          </a:prstGeom>
          <a:solidFill>
            <a:schemeClr val="bg1"/>
          </a:solidFill>
          <a:ln w="9525" cap="flat" cmpd="sng" algn="ctr">
            <a:solidFill>
              <a:srgbClr val="969696"/>
            </a:solidFill>
            <a:prstDash val="solid"/>
            <a:round/>
            <a:headEnd type="none" w="med" len="med"/>
            <a:tailEnd type="none" w="med" len="med"/>
          </a:ln>
          <a:effectLst/>
        </p:spPr>
      </p:cxnSp>
      <p:sp>
        <p:nvSpPr>
          <p:cNvPr id="427" name="TextBox 118"/>
          <p:cNvSpPr txBox="1">
            <a:spLocks noChangeArrowheads="1"/>
          </p:cNvSpPr>
          <p:nvPr/>
        </p:nvSpPr>
        <p:spPr bwMode="auto">
          <a:xfrm>
            <a:off x="2507591" y="6309320"/>
            <a:ext cx="562975" cy="215444"/>
          </a:xfrm>
          <a:prstGeom prst="rect">
            <a:avLst/>
          </a:prstGeom>
          <a:noFill/>
          <a:ln w="9525">
            <a:noFill/>
            <a:miter lim="800000"/>
            <a:headEnd/>
            <a:tailEnd/>
          </a:ln>
        </p:spPr>
        <p:txBody>
          <a:bodyPr wrap="none">
            <a:spAutoFit/>
          </a:bodyPr>
          <a:lstStyle/>
          <a:p>
            <a:pPr>
              <a:spcBef>
                <a:spcPct val="50000"/>
              </a:spcBef>
            </a:pPr>
            <a:r>
              <a:rPr lang="en-US" sz="800" i="0" dirty="0" smtClean="0">
                <a:latin typeface="Calibri" pitchFamily="34" charset="0"/>
                <a:cs typeface="Calibri" pitchFamily="34" charset="0"/>
              </a:rPr>
              <a:t>MW Link</a:t>
            </a:r>
            <a:endParaRPr lang="en-US" sz="800" i="0" dirty="0">
              <a:latin typeface="Calibri" pitchFamily="34" charset="0"/>
              <a:cs typeface="Calibri" pitchFamily="34" charset="0"/>
            </a:endParaRPr>
          </a:p>
        </p:txBody>
      </p:sp>
      <p:cxnSp>
        <p:nvCxnSpPr>
          <p:cNvPr id="428" name="Straight Connector 427"/>
          <p:cNvCxnSpPr/>
          <p:nvPr/>
        </p:nvCxnSpPr>
        <p:spPr bwMode="auto">
          <a:xfrm>
            <a:off x="1049478" y="6416478"/>
            <a:ext cx="154800" cy="1128"/>
          </a:xfrm>
          <a:prstGeom prst="line">
            <a:avLst/>
          </a:prstGeom>
          <a:solidFill>
            <a:schemeClr val="bg1"/>
          </a:solidFill>
          <a:ln w="9525" cap="flat" cmpd="sng" algn="ctr">
            <a:solidFill>
              <a:srgbClr val="C00000"/>
            </a:solidFill>
            <a:prstDash val="solid"/>
            <a:round/>
            <a:headEnd type="none" w="med" len="med"/>
            <a:tailEnd type="none" w="med" len="med"/>
          </a:ln>
          <a:effectLst/>
        </p:spPr>
      </p:cxnSp>
      <p:sp>
        <p:nvSpPr>
          <p:cNvPr id="429" name="TextBox 118"/>
          <p:cNvSpPr txBox="1">
            <a:spLocks noChangeArrowheads="1"/>
          </p:cNvSpPr>
          <p:nvPr/>
        </p:nvSpPr>
        <p:spPr bwMode="auto">
          <a:xfrm>
            <a:off x="1212421" y="6309320"/>
            <a:ext cx="816249" cy="215444"/>
          </a:xfrm>
          <a:prstGeom prst="rect">
            <a:avLst/>
          </a:prstGeom>
          <a:noFill/>
          <a:ln w="9525">
            <a:noFill/>
            <a:miter lim="800000"/>
            <a:headEnd/>
            <a:tailEnd/>
          </a:ln>
        </p:spPr>
        <p:txBody>
          <a:bodyPr wrap="none">
            <a:spAutoFit/>
          </a:bodyPr>
          <a:lstStyle/>
          <a:p>
            <a:pPr>
              <a:spcBef>
                <a:spcPct val="50000"/>
              </a:spcBef>
            </a:pPr>
            <a:r>
              <a:rPr lang="en-US" sz="800" i="0" dirty="0" smtClean="0">
                <a:latin typeface="Calibri" pitchFamily="34" charset="0"/>
                <a:cs typeface="Calibri" pitchFamily="34" charset="0"/>
              </a:rPr>
              <a:t>Leased Line HC</a:t>
            </a:r>
            <a:endParaRPr lang="en-US" sz="800" i="0" dirty="0">
              <a:latin typeface="Calibri" pitchFamily="34" charset="0"/>
              <a:cs typeface="Calibri" pitchFamily="34" charset="0"/>
            </a:endParaRPr>
          </a:p>
        </p:txBody>
      </p:sp>
      <p:cxnSp>
        <p:nvCxnSpPr>
          <p:cNvPr id="430" name="Straight Connector 429"/>
          <p:cNvCxnSpPr/>
          <p:nvPr/>
        </p:nvCxnSpPr>
        <p:spPr bwMode="auto">
          <a:xfrm>
            <a:off x="5015399" y="6416478"/>
            <a:ext cx="154800" cy="1128"/>
          </a:xfrm>
          <a:prstGeom prst="line">
            <a:avLst/>
          </a:prstGeom>
          <a:solidFill>
            <a:schemeClr val="bg1"/>
          </a:solidFill>
          <a:ln w="9525" cap="flat" cmpd="sng" algn="ctr">
            <a:solidFill>
              <a:srgbClr val="FFC000"/>
            </a:solidFill>
            <a:prstDash val="solid"/>
            <a:round/>
            <a:headEnd type="none" w="med" len="med"/>
            <a:tailEnd type="none" w="med" len="med"/>
          </a:ln>
          <a:effectLst/>
        </p:spPr>
      </p:cxnSp>
      <p:sp>
        <p:nvSpPr>
          <p:cNvPr id="431" name="TextBox 118"/>
          <p:cNvSpPr txBox="1">
            <a:spLocks noChangeArrowheads="1"/>
          </p:cNvSpPr>
          <p:nvPr/>
        </p:nvSpPr>
        <p:spPr bwMode="auto">
          <a:xfrm>
            <a:off x="5190848" y="6309320"/>
            <a:ext cx="726481" cy="215444"/>
          </a:xfrm>
          <a:prstGeom prst="rect">
            <a:avLst/>
          </a:prstGeom>
          <a:noFill/>
          <a:ln w="9525">
            <a:noFill/>
            <a:miter lim="800000"/>
            <a:headEnd/>
            <a:tailEnd/>
          </a:ln>
        </p:spPr>
        <p:txBody>
          <a:bodyPr wrap="none">
            <a:spAutoFit/>
          </a:bodyPr>
          <a:lstStyle/>
          <a:p>
            <a:pPr>
              <a:spcBef>
                <a:spcPct val="50000"/>
              </a:spcBef>
            </a:pPr>
            <a:r>
              <a:rPr lang="en-US" sz="800" i="0" dirty="0" smtClean="0">
                <a:latin typeface="Calibri" pitchFamily="34" charset="0"/>
                <a:cs typeface="Calibri" pitchFamily="34" charset="0"/>
              </a:rPr>
              <a:t>Optical Fiber</a:t>
            </a:r>
            <a:endParaRPr lang="en-US" sz="800" i="0" dirty="0">
              <a:latin typeface="Calibri" pitchFamily="34" charset="0"/>
              <a:cs typeface="Calibri" pitchFamily="34" charset="0"/>
            </a:endParaRPr>
          </a:p>
        </p:txBody>
      </p:sp>
      <p:sp>
        <p:nvSpPr>
          <p:cNvPr id="432" name="Oval 431"/>
          <p:cNvSpPr/>
          <p:nvPr/>
        </p:nvSpPr>
        <p:spPr bwMode="auto">
          <a:xfrm>
            <a:off x="6219830" y="6353085"/>
            <a:ext cx="190782" cy="127915"/>
          </a:xfrm>
          <a:prstGeom prst="ellipse">
            <a:avLst/>
          </a:prstGeom>
          <a:solidFill>
            <a:schemeClr val="accent3">
              <a:lumMod val="95000"/>
            </a:schemeClr>
          </a:solidFill>
          <a:ln w="9525" cap="flat" cmpd="sng" algn="ctr">
            <a:solidFill>
              <a:srgbClr val="969696"/>
            </a:solidFill>
            <a:prstDash val="dash"/>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800" b="0" i="1" u="none" strike="noStrike" cap="none" normalizeH="0" baseline="0" smtClean="0">
              <a:ln>
                <a:noFill/>
              </a:ln>
              <a:solidFill>
                <a:schemeClr val="tx1"/>
              </a:solidFill>
              <a:effectLst/>
              <a:latin typeface="Calibri" pitchFamily="34" charset="0"/>
              <a:cs typeface="Calibri" pitchFamily="34" charset="0"/>
            </a:endParaRPr>
          </a:p>
        </p:txBody>
      </p:sp>
      <p:sp>
        <p:nvSpPr>
          <p:cNvPr id="433" name="TextBox 118"/>
          <p:cNvSpPr txBox="1">
            <a:spLocks noChangeArrowheads="1"/>
          </p:cNvSpPr>
          <p:nvPr/>
        </p:nvSpPr>
        <p:spPr bwMode="auto">
          <a:xfrm>
            <a:off x="6433273" y="6309320"/>
            <a:ext cx="662361" cy="215444"/>
          </a:xfrm>
          <a:prstGeom prst="rect">
            <a:avLst/>
          </a:prstGeom>
          <a:noFill/>
          <a:ln w="9525">
            <a:noFill/>
            <a:miter lim="800000"/>
            <a:headEnd/>
            <a:tailEnd/>
          </a:ln>
        </p:spPr>
        <p:txBody>
          <a:bodyPr wrap="none">
            <a:spAutoFit/>
          </a:bodyPr>
          <a:lstStyle/>
          <a:p>
            <a:pPr>
              <a:spcBef>
                <a:spcPct val="50000"/>
              </a:spcBef>
            </a:pPr>
            <a:r>
              <a:rPr lang="pt-BR" sz="800" i="0" dirty="0" err="1" smtClean="0">
                <a:latin typeface="Calibri" pitchFamily="34" charset="0"/>
                <a:cs typeface="Calibri" pitchFamily="34" charset="0"/>
              </a:rPr>
              <a:t>Coorp</a:t>
            </a:r>
            <a:r>
              <a:rPr lang="pt-BR" sz="800" i="0" dirty="0" smtClean="0">
                <a:latin typeface="Calibri" pitchFamily="34" charset="0"/>
                <a:cs typeface="Calibri" pitchFamily="34" charset="0"/>
              </a:rPr>
              <a:t> </a:t>
            </a:r>
            <a:r>
              <a:rPr lang="pt-BR" sz="800" i="0" dirty="0" err="1" smtClean="0">
                <a:latin typeface="Calibri" pitchFamily="34" charset="0"/>
                <a:cs typeface="Calibri" pitchFamily="34" charset="0"/>
              </a:rPr>
              <a:t>zone</a:t>
            </a:r>
            <a:endParaRPr lang="en-US" sz="800" i="0" dirty="0">
              <a:latin typeface="Calibri" pitchFamily="34" charset="0"/>
              <a:cs typeface="Calibri" pitchFamily="34" charset="0"/>
            </a:endParaRPr>
          </a:p>
        </p:txBody>
      </p:sp>
      <p:sp>
        <p:nvSpPr>
          <p:cNvPr id="434" name="Oval 433"/>
          <p:cNvSpPr/>
          <p:nvPr/>
        </p:nvSpPr>
        <p:spPr bwMode="auto">
          <a:xfrm>
            <a:off x="7473695" y="6353085"/>
            <a:ext cx="190782" cy="127915"/>
          </a:xfrm>
          <a:prstGeom prst="ellipse">
            <a:avLst/>
          </a:prstGeom>
          <a:solidFill>
            <a:schemeClr val="accent1">
              <a:lumMod val="20000"/>
              <a:lumOff val="80000"/>
            </a:schemeClr>
          </a:solidFill>
          <a:ln w="9525" cap="flat" cmpd="sng" algn="ctr">
            <a:solidFill>
              <a:srgbClr val="969696"/>
            </a:solidFill>
            <a:prstDash val="dash"/>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800" b="0" i="1" u="none" strike="noStrike" cap="none" normalizeH="0" baseline="0" smtClean="0">
              <a:ln>
                <a:noFill/>
              </a:ln>
              <a:solidFill>
                <a:schemeClr val="tx1"/>
              </a:solidFill>
              <a:effectLst/>
              <a:latin typeface="Calibri" pitchFamily="34" charset="0"/>
              <a:cs typeface="Calibri" pitchFamily="34" charset="0"/>
            </a:endParaRPr>
          </a:p>
        </p:txBody>
      </p:sp>
      <p:sp>
        <p:nvSpPr>
          <p:cNvPr id="435" name="TextBox 118"/>
          <p:cNvSpPr txBox="1">
            <a:spLocks noChangeArrowheads="1"/>
          </p:cNvSpPr>
          <p:nvPr/>
        </p:nvSpPr>
        <p:spPr bwMode="auto">
          <a:xfrm>
            <a:off x="7687138" y="6309320"/>
            <a:ext cx="700833" cy="215444"/>
          </a:xfrm>
          <a:prstGeom prst="rect">
            <a:avLst/>
          </a:prstGeom>
          <a:noFill/>
          <a:ln w="9525">
            <a:noFill/>
            <a:miter lim="800000"/>
            <a:headEnd/>
            <a:tailEnd/>
          </a:ln>
        </p:spPr>
        <p:txBody>
          <a:bodyPr wrap="none">
            <a:spAutoFit/>
          </a:bodyPr>
          <a:lstStyle/>
          <a:p>
            <a:pPr>
              <a:spcBef>
                <a:spcPct val="50000"/>
              </a:spcBef>
            </a:pPr>
            <a:r>
              <a:rPr lang="pt-BR" sz="800" i="0" dirty="0" err="1" smtClean="0">
                <a:latin typeface="Calibri" pitchFamily="34" charset="0"/>
                <a:cs typeface="Calibri" pitchFamily="34" charset="0"/>
              </a:rPr>
              <a:t>Main</a:t>
            </a:r>
            <a:r>
              <a:rPr lang="pt-BR" sz="800" i="0" dirty="0" smtClean="0">
                <a:latin typeface="Calibri" pitchFamily="34" charset="0"/>
                <a:cs typeface="Calibri" pitchFamily="34" charset="0"/>
              </a:rPr>
              <a:t> </a:t>
            </a:r>
            <a:r>
              <a:rPr lang="pt-BR" sz="800" i="0" dirty="0" err="1" smtClean="0">
                <a:latin typeface="Calibri" pitchFamily="34" charset="0"/>
                <a:cs typeface="Calibri" pitchFamily="34" charset="0"/>
              </a:rPr>
              <a:t>nodeB</a:t>
            </a:r>
            <a:endParaRPr lang="en-US" sz="800" i="0" dirty="0">
              <a:latin typeface="Calibri" pitchFamily="34" charset="0"/>
              <a:cs typeface="Calibri" pitchFamily="34" charset="0"/>
            </a:endParaRPr>
          </a:p>
        </p:txBody>
      </p:sp>
      <p:sp>
        <p:nvSpPr>
          <p:cNvPr id="436" name="TextBox 435"/>
          <p:cNvSpPr txBox="1"/>
          <p:nvPr/>
        </p:nvSpPr>
        <p:spPr>
          <a:xfrm>
            <a:off x="3413646" y="3464243"/>
            <a:ext cx="1440000" cy="238363"/>
          </a:xfrm>
          <a:prstGeom prst="roundRect">
            <a:avLst/>
          </a:prstGeom>
          <a:solidFill>
            <a:schemeClr val="bg1">
              <a:lumMod val="95000"/>
            </a:schemeClr>
          </a:solidFill>
        </p:spPr>
        <p:txBody>
          <a:bodyPr wrap="square" rtlCol="0">
            <a:spAutoFit/>
          </a:bodyPr>
          <a:lstStyle/>
          <a:p>
            <a:pPr algn="ctr"/>
            <a:r>
              <a:rPr lang="pt-BR" sz="800" dirty="0" err="1" smtClean="0">
                <a:latin typeface="Calibri" pitchFamily="34" charset="0"/>
              </a:rPr>
              <a:t>Wave</a:t>
            </a:r>
            <a:r>
              <a:rPr lang="pt-BR" sz="800" dirty="0" smtClean="0">
                <a:latin typeface="Calibri" pitchFamily="34" charset="0"/>
              </a:rPr>
              <a:t> 1</a:t>
            </a:r>
            <a:endParaRPr lang="pt-BR" sz="800" dirty="0">
              <a:latin typeface="Calibri" pitchFamily="34" charset="0"/>
            </a:endParaRPr>
          </a:p>
        </p:txBody>
      </p:sp>
      <p:sp>
        <p:nvSpPr>
          <p:cNvPr id="437" name="TextBox 436"/>
          <p:cNvSpPr txBox="1"/>
          <p:nvPr/>
        </p:nvSpPr>
        <p:spPr>
          <a:xfrm>
            <a:off x="8121009" y="3483575"/>
            <a:ext cx="1440503" cy="238363"/>
          </a:xfrm>
          <a:prstGeom prst="roundRect">
            <a:avLst/>
          </a:prstGeom>
          <a:solidFill>
            <a:schemeClr val="bg1">
              <a:lumMod val="95000"/>
            </a:schemeClr>
          </a:solidFill>
        </p:spPr>
        <p:txBody>
          <a:bodyPr wrap="square" rtlCol="0">
            <a:spAutoFit/>
          </a:bodyPr>
          <a:lstStyle/>
          <a:p>
            <a:pPr algn="ctr"/>
            <a:r>
              <a:rPr lang="pt-BR" sz="800" dirty="0" err="1" smtClean="0">
                <a:latin typeface="Calibri" pitchFamily="34" charset="0"/>
              </a:rPr>
              <a:t>Wave</a:t>
            </a:r>
            <a:r>
              <a:rPr lang="pt-BR" sz="800" dirty="0" smtClean="0">
                <a:latin typeface="Calibri" pitchFamily="34" charset="0"/>
              </a:rPr>
              <a:t> 2</a:t>
            </a:r>
            <a:endParaRPr lang="pt-BR" sz="800" dirty="0">
              <a:latin typeface="Calibri" pitchFamily="34" charset="0"/>
            </a:endParaRPr>
          </a:p>
        </p:txBody>
      </p:sp>
      <p:cxnSp>
        <p:nvCxnSpPr>
          <p:cNvPr id="645" name="Straight Connector 110"/>
          <p:cNvCxnSpPr>
            <a:cxnSpLocks noChangeShapeType="1"/>
            <a:stCxn id="229" idx="1"/>
          </p:cNvCxnSpPr>
          <p:nvPr/>
        </p:nvCxnSpPr>
        <p:spPr bwMode="auto">
          <a:xfrm flipH="1" flipV="1">
            <a:off x="1866837" y="4237606"/>
            <a:ext cx="607970" cy="254980"/>
          </a:xfrm>
          <a:prstGeom prst="line">
            <a:avLst/>
          </a:prstGeom>
          <a:noFill/>
          <a:ln w="9525" algn="ctr">
            <a:solidFill>
              <a:srgbClr val="969696"/>
            </a:solidFill>
            <a:round/>
            <a:headEnd/>
            <a:tailEnd/>
          </a:ln>
        </p:spPr>
      </p:cxnSp>
      <p:cxnSp>
        <p:nvCxnSpPr>
          <p:cNvPr id="648" name="Straight Connector 110"/>
          <p:cNvCxnSpPr>
            <a:cxnSpLocks noChangeShapeType="1"/>
          </p:cNvCxnSpPr>
          <p:nvPr/>
        </p:nvCxnSpPr>
        <p:spPr bwMode="auto">
          <a:xfrm flipH="1">
            <a:off x="1547543" y="4557305"/>
            <a:ext cx="935732" cy="679280"/>
          </a:xfrm>
          <a:prstGeom prst="line">
            <a:avLst/>
          </a:prstGeom>
          <a:noFill/>
          <a:ln w="9525" algn="ctr">
            <a:solidFill>
              <a:schemeClr val="accent2"/>
            </a:solidFill>
            <a:round/>
            <a:headEnd/>
            <a:tailEnd/>
          </a:ln>
        </p:spPr>
      </p:cxnSp>
      <p:cxnSp>
        <p:nvCxnSpPr>
          <p:cNvPr id="652" name="Straight Connector 110"/>
          <p:cNvCxnSpPr>
            <a:cxnSpLocks noChangeShapeType="1"/>
          </p:cNvCxnSpPr>
          <p:nvPr/>
        </p:nvCxnSpPr>
        <p:spPr bwMode="auto">
          <a:xfrm>
            <a:off x="2609845" y="4541302"/>
            <a:ext cx="671855" cy="914625"/>
          </a:xfrm>
          <a:prstGeom prst="line">
            <a:avLst/>
          </a:prstGeom>
          <a:noFill/>
          <a:ln w="9525" algn="ctr">
            <a:solidFill>
              <a:schemeClr val="accent2"/>
            </a:solidFill>
            <a:round/>
            <a:headEnd/>
            <a:tailEnd/>
          </a:ln>
        </p:spPr>
      </p:cxnSp>
      <p:cxnSp>
        <p:nvCxnSpPr>
          <p:cNvPr id="655" name="Straight Connector 110"/>
          <p:cNvCxnSpPr>
            <a:cxnSpLocks noChangeShapeType="1"/>
            <a:endCxn id="399" idx="4"/>
          </p:cNvCxnSpPr>
          <p:nvPr/>
        </p:nvCxnSpPr>
        <p:spPr bwMode="auto">
          <a:xfrm flipV="1">
            <a:off x="2609845" y="4437047"/>
            <a:ext cx="731949" cy="81899"/>
          </a:xfrm>
          <a:prstGeom prst="line">
            <a:avLst/>
          </a:prstGeom>
          <a:noFill/>
          <a:ln w="9525" algn="ctr">
            <a:solidFill>
              <a:schemeClr val="accent2"/>
            </a:solidFill>
            <a:round/>
            <a:headEnd/>
            <a:tailEnd/>
          </a:ln>
        </p:spPr>
      </p:cxnSp>
      <p:cxnSp>
        <p:nvCxnSpPr>
          <p:cNvPr id="659" name="Straight Connector 110"/>
          <p:cNvCxnSpPr>
            <a:cxnSpLocks noChangeShapeType="1"/>
          </p:cNvCxnSpPr>
          <p:nvPr/>
        </p:nvCxnSpPr>
        <p:spPr bwMode="auto">
          <a:xfrm flipH="1">
            <a:off x="2535901" y="4570717"/>
            <a:ext cx="13591" cy="864196"/>
          </a:xfrm>
          <a:prstGeom prst="line">
            <a:avLst/>
          </a:prstGeom>
          <a:noFill/>
          <a:ln w="9525" algn="ctr">
            <a:solidFill>
              <a:srgbClr val="969696"/>
            </a:solidFill>
            <a:round/>
            <a:headEnd/>
            <a:tailEnd/>
          </a:ln>
        </p:spPr>
      </p:cxnSp>
      <p:sp>
        <p:nvSpPr>
          <p:cNvPr id="438" name="Rectangle 437"/>
          <p:cNvSpPr>
            <a:spLocks noChangeArrowheads="1"/>
          </p:cNvSpPr>
          <p:nvPr>
            <p:custDataLst>
              <p:tags r:id="rId1"/>
            </p:custDataLst>
          </p:nvPr>
        </p:nvSpPr>
        <p:spPr bwMode="auto">
          <a:xfrm>
            <a:off x="308014" y="227013"/>
            <a:ext cx="8281579"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lstStyle/>
          <a:p>
            <a:pPr>
              <a:lnSpc>
                <a:spcPct val="80000"/>
              </a:lnSpc>
            </a:pPr>
            <a:r>
              <a:rPr lang="en-US" sz="2600" dirty="0">
                <a:solidFill>
                  <a:srgbClr val="FFFFFF"/>
                </a:solidFill>
              </a:rPr>
              <a:t>BACKHAULING </a:t>
            </a:r>
            <a:r>
              <a:rPr lang="en-US" sz="2600" dirty="0" smtClean="0">
                <a:solidFill>
                  <a:srgbClr val="FFFFFF"/>
                </a:solidFill>
              </a:rPr>
              <a:t>FTTS: </a:t>
            </a:r>
            <a:r>
              <a:rPr lang="en-US" sz="2600" dirty="0" smtClean="0">
                <a:solidFill>
                  <a:srgbClr val="FFFFFF"/>
                </a:solidFill>
                <a:latin typeface="+mn-lt"/>
              </a:rPr>
              <a:t>CONCEPT</a:t>
            </a:r>
            <a:endParaRPr lang="en-US" sz="2600" dirty="0">
              <a:solidFill>
                <a:srgbClr val="FFFFFF"/>
              </a:solidFill>
              <a:latin typeface="+mn-lt"/>
            </a:endParaRPr>
          </a:p>
        </p:txBody>
      </p:sp>
      <p:pic>
        <p:nvPicPr>
          <p:cNvPr id="440" name="Picture 2" descr="image001"/>
          <p:cNvPicPr>
            <a:picLocks noChangeAspect="1" noChangeArrowheads="1"/>
          </p:cNvPicPr>
          <p:nvPr/>
        </p:nvPicPr>
        <p:blipFill>
          <a:blip r:embed="rId4" cstate="email">
            <a:extLst>
              <a:ext uri="{28A0092B-C50C-407E-A947-70E740481C1C}">
                <a14:useLocalDpi xmlns="" xmlns:a14="http://schemas.microsoft.com/office/drawing/2010/main"/>
              </a:ext>
            </a:extLst>
          </a:blip>
          <a:srcRect/>
          <a:stretch>
            <a:fillRect/>
          </a:stretch>
        </p:blipFill>
        <p:spPr bwMode="auto">
          <a:xfrm>
            <a:off x="5218176" y="2194658"/>
            <a:ext cx="320412" cy="579208"/>
          </a:xfrm>
          <a:prstGeom prst="rect">
            <a:avLst/>
          </a:prstGeom>
          <a:noFill/>
          <a:ln w="9525">
            <a:noFill/>
            <a:miter lim="800000"/>
            <a:headEnd/>
            <a:tailEnd/>
          </a:ln>
        </p:spPr>
      </p:pic>
    </p:spTree>
    <p:extLst>
      <p:ext uri="{BB962C8B-B14F-4D97-AF65-F5344CB8AC3E}">
        <p14:creationId xmlns="" xmlns:p14="http://schemas.microsoft.com/office/powerpoint/2010/main" val="362968309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9" name="Rectangle 48"/>
          <p:cNvSpPr>
            <a:spLocks noChangeArrowheads="1"/>
          </p:cNvSpPr>
          <p:nvPr>
            <p:custDataLst>
              <p:tags r:id="rId1"/>
            </p:custDataLst>
          </p:nvPr>
        </p:nvSpPr>
        <p:spPr bwMode="auto">
          <a:xfrm>
            <a:off x="308014" y="227013"/>
            <a:ext cx="8281579"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lstStyle/>
          <a:p>
            <a:pPr>
              <a:lnSpc>
                <a:spcPct val="80000"/>
              </a:lnSpc>
            </a:pPr>
            <a:r>
              <a:rPr lang="en-US" sz="2600" dirty="0" smtClean="0">
                <a:solidFill>
                  <a:srgbClr val="FFFFFF"/>
                </a:solidFill>
                <a:latin typeface="Arial" pitchFamily="34" charset="0"/>
                <a:cs typeface="Arial" pitchFamily="34" charset="0"/>
              </a:rPr>
              <a:t>BACKHAULING FTTS: </a:t>
            </a:r>
            <a:r>
              <a:rPr lang="en-US" sz="2600" dirty="0">
                <a:solidFill>
                  <a:srgbClr val="FFFFFF"/>
                </a:solidFill>
                <a:latin typeface="Arial" pitchFamily="34" charset="0"/>
                <a:cs typeface="Arial" pitchFamily="34" charset="0"/>
              </a:rPr>
              <a:t>CONCEPT</a:t>
            </a:r>
          </a:p>
        </p:txBody>
      </p:sp>
      <p:sp>
        <p:nvSpPr>
          <p:cNvPr id="4" name="Rectangle 12"/>
          <p:cNvSpPr>
            <a:spLocks noChangeArrowheads="1"/>
          </p:cNvSpPr>
          <p:nvPr/>
        </p:nvSpPr>
        <p:spPr bwMode="auto">
          <a:xfrm>
            <a:off x="145907" y="3124335"/>
            <a:ext cx="9585325" cy="3473017"/>
          </a:xfrm>
          <a:prstGeom prst="rect">
            <a:avLst/>
          </a:prstGeom>
          <a:solidFill>
            <a:srgbClr val="FFFFFF"/>
          </a:solidFill>
          <a:ln w="9525">
            <a:solidFill>
              <a:srgbClr val="97B3D1"/>
            </a:solidFill>
            <a:miter lim="800000"/>
            <a:headEnd/>
            <a:tailEnd/>
          </a:ln>
        </p:spPr>
        <p:txBody>
          <a:bodyPr tIns="82800" bIns="82800"/>
          <a:lstStyle/>
          <a:p>
            <a:pPr marL="185738" indent="-185738">
              <a:buFontTx/>
              <a:buChar char="•"/>
            </a:pPr>
            <a:endParaRPr lang="pt-BR" sz="1050" b="0" dirty="0" smtClean="0">
              <a:latin typeface="Calibri" pitchFamily="34" charset="0"/>
            </a:endParaRPr>
          </a:p>
          <a:p>
            <a:pPr lvl="1"/>
            <a:endParaRPr lang="it-IT" sz="1050" b="0" dirty="0">
              <a:latin typeface="Calibri" pitchFamily="34" charset="0"/>
            </a:endParaRPr>
          </a:p>
        </p:txBody>
      </p:sp>
      <p:sp>
        <p:nvSpPr>
          <p:cNvPr id="213" name="Rectangle 12"/>
          <p:cNvSpPr>
            <a:spLocks noChangeArrowheads="1"/>
          </p:cNvSpPr>
          <p:nvPr/>
        </p:nvSpPr>
        <p:spPr bwMode="auto">
          <a:xfrm>
            <a:off x="4972050" y="980728"/>
            <a:ext cx="4767263" cy="2026615"/>
          </a:xfrm>
          <a:prstGeom prst="rect">
            <a:avLst/>
          </a:prstGeom>
          <a:solidFill>
            <a:srgbClr val="FFFFFF"/>
          </a:solidFill>
          <a:ln w="9525">
            <a:solidFill>
              <a:srgbClr val="97B3D1"/>
            </a:solidFill>
            <a:miter lim="800000"/>
            <a:headEnd/>
            <a:tailEnd/>
          </a:ln>
        </p:spPr>
        <p:txBody>
          <a:bodyPr tIns="82800" bIns="82800"/>
          <a:lstStyle/>
          <a:p>
            <a:pPr marL="185738" indent="-185738">
              <a:buFontTx/>
              <a:buChar char="•"/>
            </a:pPr>
            <a:endParaRPr lang="pt-BR" sz="1050" b="0" dirty="0" smtClean="0">
              <a:latin typeface="Calibri" pitchFamily="34" charset="0"/>
            </a:endParaRPr>
          </a:p>
          <a:p>
            <a:pPr marL="185738" indent="-185738">
              <a:buFontTx/>
              <a:buChar char="•"/>
            </a:pPr>
            <a:r>
              <a:rPr lang="pt-BR" sz="1050" b="0" dirty="0" smtClean="0">
                <a:latin typeface="Calibri" pitchFamily="34" charset="0"/>
              </a:rPr>
              <a:t>PTN Technology for FO</a:t>
            </a:r>
          </a:p>
          <a:p>
            <a:pPr marL="185738" indent="-185738">
              <a:buFontTx/>
              <a:buChar char="•"/>
            </a:pPr>
            <a:r>
              <a:rPr lang="en-US" sz="1050" b="0" dirty="0" smtClean="0">
                <a:latin typeface="Calibri" pitchFamily="34" charset="0"/>
              </a:rPr>
              <a:t>Quality </a:t>
            </a:r>
          </a:p>
          <a:p>
            <a:pPr marL="642938" lvl="1" indent="-185738">
              <a:buFont typeface="Arial" pitchFamily="34" charset="0"/>
              <a:buChar char="•"/>
            </a:pPr>
            <a:r>
              <a:rPr lang="pt-BR" sz="1000" b="0" dirty="0" smtClean="0">
                <a:latin typeface="Calibri" pitchFamily="34" charset="0"/>
              </a:rPr>
              <a:t>MESH CORE DWDM</a:t>
            </a:r>
          </a:p>
          <a:p>
            <a:pPr marL="642938" lvl="1" indent="-185738">
              <a:buFont typeface="Arial" pitchFamily="34" charset="0"/>
              <a:buChar char="•"/>
            </a:pPr>
            <a:r>
              <a:rPr lang="pt-BR" sz="1000" b="0" dirty="0" smtClean="0">
                <a:latin typeface="Calibri" pitchFamily="34" charset="0"/>
              </a:rPr>
              <a:t>PTN hierarchical rings (core, distribution, access)</a:t>
            </a:r>
          </a:p>
          <a:p>
            <a:pPr marL="642938" lvl="1" indent="-185738">
              <a:buFont typeface="Arial" pitchFamily="34" charset="0"/>
              <a:buChar char="•"/>
            </a:pPr>
            <a:r>
              <a:rPr lang="pt-BR" sz="1000" b="0" dirty="0" smtClean="0">
                <a:latin typeface="Calibri" pitchFamily="34" charset="0"/>
              </a:rPr>
              <a:t>8-10 sites per ring</a:t>
            </a:r>
          </a:p>
          <a:p>
            <a:pPr marL="185738" indent="-185738">
              <a:buFont typeface="Arial" pitchFamily="34" charset="0"/>
              <a:buChar char="•"/>
            </a:pPr>
            <a:r>
              <a:rPr lang="pt-BR" sz="1000" b="0" dirty="0" smtClean="0">
                <a:latin typeface="Calibri" pitchFamily="34" charset="0"/>
              </a:rPr>
              <a:t>Capacity: 150Mbps per site</a:t>
            </a:r>
          </a:p>
          <a:p>
            <a:pPr marL="642938" lvl="1" indent="-185738">
              <a:buFont typeface="Arial" pitchFamily="34" charset="0"/>
              <a:buChar char="•"/>
            </a:pPr>
            <a:r>
              <a:rPr lang="pt-BR" sz="1000" b="0" dirty="0" smtClean="0">
                <a:latin typeface="Calibri" pitchFamily="34" charset="0"/>
              </a:rPr>
              <a:t>10Mbps 2G (voice)</a:t>
            </a:r>
          </a:p>
          <a:p>
            <a:pPr marL="642938" lvl="1" indent="-185738">
              <a:buFont typeface="Arial" pitchFamily="34" charset="0"/>
              <a:buChar char="•"/>
            </a:pPr>
            <a:r>
              <a:rPr lang="pt-BR" sz="1000" b="0" dirty="0" smtClean="0">
                <a:latin typeface="Calibri" pitchFamily="34" charset="0"/>
              </a:rPr>
              <a:t>40Mbps 3G (data)</a:t>
            </a:r>
          </a:p>
          <a:p>
            <a:pPr marL="642938" lvl="1" indent="-185738">
              <a:buFont typeface="Arial" pitchFamily="34" charset="0"/>
              <a:buChar char="•"/>
            </a:pPr>
            <a:r>
              <a:rPr lang="pt-BR" sz="1000" b="0" dirty="0" smtClean="0">
                <a:latin typeface="Calibri" pitchFamily="34" charset="0"/>
              </a:rPr>
              <a:t>100Mbps LTE</a:t>
            </a:r>
          </a:p>
          <a:p>
            <a:pPr marL="185738" indent="-185738">
              <a:buFontTx/>
              <a:buChar char="•"/>
            </a:pPr>
            <a:r>
              <a:rPr lang="en-US" sz="1050" b="0" dirty="0" smtClean="0">
                <a:latin typeface="Calibri" pitchFamily="34" charset="0"/>
              </a:rPr>
              <a:t>Innovation</a:t>
            </a:r>
          </a:p>
          <a:p>
            <a:pPr marL="642938" lvl="1" indent="-185738">
              <a:buFont typeface="Arial" pitchFamily="34" charset="0"/>
              <a:buChar char="•"/>
            </a:pPr>
            <a:r>
              <a:rPr lang="pt-BR" sz="1000" b="0" dirty="0" smtClean="0">
                <a:latin typeface="Calibri" pitchFamily="34" charset="0"/>
              </a:rPr>
              <a:t>PTN </a:t>
            </a:r>
            <a:r>
              <a:rPr lang="pt-BR" sz="1000" b="0" dirty="0">
                <a:latin typeface="Calibri" pitchFamily="34" charset="0"/>
              </a:rPr>
              <a:t>with </a:t>
            </a:r>
            <a:r>
              <a:rPr lang="pt-BR" sz="1000" b="0" dirty="0" smtClean="0">
                <a:latin typeface="Calibri" pitchFamily="34" charset="0"/>
              </a:rPr>
              <a:t>MPLS-TP &amp; E2E Integration with Microwave Network.</a:t>
            </a:r>
            <a:endParaRPr lang="pt-BR" sz="1000" b="0" dirty="0">
              <a:latin typeface="Calibri" pitchFamily="34" charset="0"/>
            </a:endParaRPr>
          </a:p>
          <a:p>
            <a:pPr marL="642938" lvl="1" indent="-185738">
              <a:buFont typeface="Wingdings" pitchFamily="2" charset="2"/>
              <a:buChar char="ü"/>
            </a:pPr>
            <a:endParaRPr lang="it-IT" sz="1050" b="0" dirty="0">
              <a:latin typeface="Calibri" pitchFamily="34" charset="0"/>
            </a:endParaRPr>
          </a:p>
        </p:txBody>
      </p:sp>
      <p:sp>
        <p:nvSpPr>
          <p:cNvPr id="214" name="Rectangle 12"/>
          <p:cNvSpPr>
            <a:spLocks noChangeArrowheads="1"/>
          </p:cNvSpPr>
          <p:nvPr/>
        </p:nvSpPr>
        <p:spPr bwMode="auto">
          <a:xfrm>
            <a:off x="145906" y="970337"/>
            <a:ext cx="4663077" cy="2037006"/>
          </a:xfrm>
          <a:prstGeom prst="rect">
            <a:avLst/>
          </a:prstGeom>
          <a:solidFill>
            <a:srgbClr val="FFFFFF"/>
          </a:solidFill>
          <a:ln w="9525">
            <a:solidFill>
              <a:srgbClr val="97B3D1"/>
            </a:solidFill>
            <a:miter lim="800000"/>
            <a:headEnd/>
            <a:tailEnd/>
          </a:ln>
        </p:spPr>
        <p:txBody>
          <a:bodyPr tIns="82800" bIns="82800"/>
          <a:lstStyle/>
          <a:p>
            <a:pPr marL="169863" indent="-169863" eaLnBrk="0" hangingPunct="0">
              <a:lnSpc>
                <a:spcPct val="110000"/>
              </a:lnSpc>
              <a:spcBef>
                <a:spcPct val="20000"/>
              </a:spcBef>
              <a:spcAft>
                <a:spcPct val="10000"/>
              </a:spcAft>
              <a:buClr>
                <a:schemeClr val="accent1"/>
              </a:buClr>
              <a:buFont typeface="Webdings" pitchFamily="18" charset="2"/>
              <a:buChar char="4"/>
            </a:pPr>
            <a:endParaRPr lang="en-US" sz="1050" b="0" dirty="0" smtClean="0">
              <a:latin typeface="Calibri" pitchFamily="34" charset="0"/>
            </a:endParaRPr>
          </a:p>
          <a:p>
            <a:pPr marL="169863" indent="-169863" eaLnBrk="0" hangingPunct="0">
              <a:lnSpc>
                <a:spcPct val="110000"/>
              </a:lnSpc>
              <a:spcBef>
                <a:spcPct val="20000"/>
              </a:spcBef>
              <a:spcAft>
                <a:spcPct val="10000"/>
              </a:spcAft>
              <a:buClr>
                <a:schemeClr val="accent1"/>
              </a:buClr>
              <a:buFont typeface="Webdings" pitchFamily="18" charset="2"/>
              <a:buChar char="4"/>
            </a:pPr>
            <a:r>
              <a:rPr lang="en-US" sz="1050" b="0" dirty="0">
                <a:latin typeface="Calibri" pitchFamily="34" charset="0"/>
              </a:rPr>
              <a:t>Site connectivity with FO, supporting MBB </a:t>
            </a:r>
            <a:r>
              <a:rPr lang="en-US" sz="1050" b="0" dirty="0" smtClean="0">
                <a:latin typeface="Calibri" pitchFamily="34" charset="0"/>
              </a:rPr>
              <a:t>services </a:t>
            </a:r>
            <a:r>
              <a:rPr lang="en-US" sz="1050" b="0" dirty="0">
                <a:latin typeface="Calibri" pitchFamily="34" charset="0"/>
              </a:rPr>
              <a:t>(UMTS/HSPA/LTE)</a:t>
            </a:r>
          </a:p>
          <a:p>
            <a:pPr marL="169863" indent="-169863" eaLnBrk="0" hangingPunct="0">
              <a:lnSpc>
                <a:spcPct val="110000"/>
              </a:lnSpc>
              <a:spcBef>
                <a:spcPct val="20000"/>
              </a:spcBef>
              <a:spcAft>
                <a:spcPct val="10000"/>
              </a:spcAft>
              <a:buClr>
                <a:schemeClr val="accent1"/>
              </a:buClr>
              <a:buFont typeface="Webdings" pitchFamily="18" charset="2"/>
              <a:buChar char="4"/>
            </a:pPr>
            <a:r>
              <a:rPr lang="en-US" sz="1050" b="0" dirty="0">
                <a:latin typeface="Calibri" pitchFamily="34" charset="0"/>
              </a:rPr>
              <a:t>Supporting Mobile traffic growth due to data broadband </a:t>
            </a:r>
            <a:r>
              <a:rPr lang="en-US" sz="1050" b="0" dirty="0" smtClean="0">
                <a:latin typeface="Calibri" pitchFamily="34" charset="0"/>
              </a:rPr>
              <a:t>penetration/demand in the greatest cities</a:t>
            </a:r>
          </a:p>
          <a:p>
            <a:pPr marL="169863" indent="-169863" eaLnBrk="0" hangingPunct="0">
              <a:lnSpc>
                <a:spcPct val="110000"/>
              </a:lnSpc>
              <a:spcBef>
                <a:spcPct val="20000"/>
              </a:spcBef>
              <a:spcAft>
                <a:spcPct val="10000"/>
              </a:spcAft>
              <a:buClr>
                <a:schemeClr val="accent1"/>
              </a:buClr>
              <a:buFont typeface="Webdings" pitchFamily="18" charset="2"/>
              <a:buChar char="4"/>
            </a:pPr>
            <a:r>
              <a:rPr lang="en-US" sz="1050" b="0" dirty="0" smtClean="0">
                <a:latin typeface="Calibri" pitchFamily="34" charset="0"/>
              </a:rPr>
              <a:t>Capillarity model:</a:t>
            </a:r>
          </a:p>
          <a:p>
            <a:pPr marL="627063" lvl="1" indent="-169863" eaLnBrk="0" hangingPunct="0">
              <a:lnSpc>
                <a:spcPct val="110000"/>
              </a:lnSpc>
              <a:spcBef>
                <a:spcPct val="20000"/>
              </a:spcBef>
              <a:spcAft>
                <a:spcPct val="10000"/>
              </a:spcAft>
              <a:buClr>
                <a:schemeClr val="accent1"/>
              </a:buClr>
              <a:buFont typeface="Webdings" pitchFamily="18" charset="2"/>
              <a:buChar char="4"/>
            </a:pPr>
            <a:r>
              <a:rPr lang="en-US" sz="1050" b="0" dirty="0" smtClean="0">
                <a:latin typeface="Calibri" pitchFamily="34" charset="0"/>
              </a:rPr>
              <a:t>RJO/SPO: all fiber (synergy with AES/ATIMUS NW)</a:t>
            </a:r>
          </a:p>
          <a:p>
            <a:pPr marL="627063" lvl="1" indent="-169863" eaLnBrk="0" hangingPunct="0">
              <a:lnSpc>
                <a:spcPct val="110000"/>
              </a:lnSpc>
              <a:spcBef>
                <a:spcPct val="20000"/>
              </a:spcBef>
              <a:spcAft>
                <a:spcPct val="10000"/>
              </a:spcAft>
              <a:buClr>
                <a:schemeClr val="accent1"/>
              </a:buClr>
              <a:buFont typeface="Webdings" pitchFamily="18" charset="2"/>
              <a:buChar char="4"/>
            </a:pPr>
            <a:r>
              <a:rPr lang="en-US" sz="1050" b="0" dirty="0" smtClean="0">
                <a:latin typeface="Calibri" pitchFamily="34" charset="0"/>
              </a:rPr>
              <a:t>Other cities:  40% FO</a:t>
            </a:r>
          </a:p>
          <a:p>
            <a:pPr marL="1084263" lvl="2" indent="-169863" eaLnBrk="0" hangingPunct="0">
              <a:lnSpc>
                <a:spcPct val="110000"/>
              </a:lnSpc>
              <a:spcBef>
                <a:spcPct val="20000"/>
              </a:spcBef>
              <a:spcAft>
                <a:spcPct val="10000"/>
              </a:spcAft>
              <a:buClr>
                <a:schemeClr val="accent1"/>
              </a:buClr>
            </a:pPr>
            <a:r>
              <a:rPr lang="en-US" sz="1050" b="0" dirty="0" smtClean="0">
                <a:latin typeface="Calibri" pitchFamily="34" charset="0"/>
              </a:rPr>
              <a:t>	         40% FO + 1-2MW hops (150Mbps guarantied)</a:t>
            </a:r>
          </a:p>
          <a:p>
            <a:pPr marL="1084263" lvl="2" indent="-169863" eaLnBrk="0" hangingPunct="0">
              <a:lnSpc>
                <a:spcPct val="110000"/>
              </a:lnSpc>
              <a:spcBef>
                <a:spcPct val="20000"/>
              </a:spcBef>
              <a:spcAft>
                <a:spcPct val="10000"/>
              </a:spcAft>
              <a:buClr>
                <a:schemeClr val="accent1"/>
              </a:buClr>
            </a:pPr>
            <a:r>
              <a:rPr lang="en-US" sz="1050" b="0" dirty="0" smtClean="0">
                <a:latin typeface="Calibri" pitchFamily="34" charset="0"/>
              </a:rPr>
              <a:t>               20% leased lines (or MW if possible)	</a:t>
            </a:r>
            <a:endParaRPr lang="en-US" sz="1050" b="0" dirty="0">
              <a:latin typeface="Calibri" pitchFamily="34" charset="0"/>
            </a:endParaRPr>
          </a:p>
          <a:p>
            <a:pPr eaLnBrk="0" hangingPunct="0">
              <a:lnSpc>
                <a:spcPct val="110000"/>
              </a:lnSpc>
              <a:spcBef>
                <a:spcPct val="20000"/>
              </a:spcBef>
              <a:spcAft>
                <a:spcPct val="10000"/>
              </a:spcAft>
              <a:buClr>
                <a:schemeClr val="accent1"/>
              </a:buClr>
            </a:pPr>
            <a:endParaRPr lang="en-US" sz="1050" b="0" dirty="0">
              <a:latin typeface="Calibri" pitchFamily="34" charset="0"/>
            </a:endParaRPr>
          </a:p>
        </p:txBody>
      </p:sp>
      <p:sp>
        <p:nvSpPr>
          <p:cNvPr id="215" name="CaixaDeTexto 260"/>
          <p:cNvSpPr txBox="1"/>
          <p:nvPr/>
        </p:nvSpPr>
        <p:spPr>
          <a:xfrm>
            <a:off x="145906" y="3124335"/>
            <a:ext cx="9585326" cy="261610"/>
          </a:xfrm>
          <a:prstGeom prst="rect">
            <a:avLst/>
          </a:prstGeom>
          <a:solidFill>
            <a:schemeClr val="tx1"/>
          </a:solidFill>
          <a:ln w="9525" algn="ctr">
            <a:noFill/>
            <a:miter lim="800000"/>
            <a:headEnd/>
            <a:tailEnd/>
          </a:ln>
        </p:spPr>
        <p:txBody>
          <a:bodyPr lIns="72000" tIns="72000" rIns="72000" bIns="72000" anchor="ctr"/>
          <a:lstStyle>
            <a:defPPr>
              <a:defRPr lang="en-US"/>
            </a:defPPr>
            <a:lvl1pPr eaLnBrk="0" fontAlgn="auto" hangingPunct="0">
              <a:spcBef>
                <a:spcPts val="0"/>
              </a:spcBef>
              <a:spcAft>
                <a:spcPts val="0"/>
              </a:spcAft>
              <a:defRPr sz="1100" kern="0">
                <a:solidFill>
                  <a:srgbClr val="FFFFFF"/>
                </a:solidFill>
                <a:latin typeface="Calibri" pitchFamily="34" charset="0"/>
              </a:defRPr>
            </a:lvl1pPr>
          </a:lstStyle>
          <a:p>
            <a:r>
              <a:rPr lang="pt-BR" sz="1050" dirty="0" smtClean="0"/>
              <a:t>FTTS </a:t>
            </a:r>
            <a:r>
              <a:rPr lang="pt-BR" sz="1050" dirty="0" err="1" smtClean="0"/>
              <a:t>Evolution</a:t>
            </a:r>
            <a:endParaRPr lang="pt-BR" sz="1050" dirty="0"/>
          </a:p>
        </p:txBody>
      </p:sp>
      <p:sp>
        <p:nvSpPr>
          <p:cNvPr id="216" name="AutoShape 6"/>
          <p:cNvSpPr>
            <a:spLocks noChangeArrowheads="1"/>
          </p:cNvSpPr>
          <p:nvPr/>
        </p:nvSpPr>
        <p:spPr bwMode="auto">
          <a:xfrm>
            <a:off x="145907" y="970335"/>
            <a:ext cx="4663076" cy="216001"/>
          </a:xfrm>
          <a:prstGeom prst="homePlate">
            <a:avLst>
              <a:gd name="adj" fmla="val 0"/>
            </a:avLst>
          </a:prstGeom>
          <a:solidFill>
            <a:schemeClr val="tx1"/>
          </a:solidFill>
          <a:ln w="9525" algn="ctr">
            <a:noFill/>
            <a:miter lim="800000"/>
            <a:headEnd/>
            <a:tailEnd/>
          </a:ln>
        </p:spPr>
        <p:txBody>
          <a:bodyPr lIns="72000" tIns="72000" rIns="72000" bIns="72000" anchor="ctr"/>
          <a:lstStyle/>
          <a:p>
            <a:pPr eaLnBrk="0" fontAlgn="auto" hangingPunct="0">
              <a:spcBef>
                <a:spcPts val="0"/>
              </a:spcBef>
              <a:spcAft>
                <a:spcPts val="0"/>
              </a:spcAft>
              <a:defRPr/>
            </a:pPr>
            <a:r>
              <a:rPr lang="it-IT" sz="1050" kern="0" dirty="0">
                <a:solidFill>
                  <a:srgbClr val="FFFFFF"/>
                </a:solidFill>
                <a:latin typeface="Calibri" pitchFamily="34" charset="0"/>
                <a:cs typeface="Arial" charset="0"/>
              </a:rPr>
              <a:t>Drivers</a:t>
            </a:r>
          </a:p>
        </p:txBody>
      </p:sp>
      <p:sp>
        <p:nvSpPr>
          <p:cNvPr id="217" name="AutoShape 11"/>
          <p:cNvSpPr>
            <a:spLocks noChangeArrowheads="1"/>
          </p:cNvSpPr>
          <p:nvPr/>
        </p:nvSpPr>
        <p:spPr bwMode="auto">
          <a:xfrm>
            <a:off x="4965557" y="970336"/>
            <a:ext cx="4765675" cy="216000"/>
          </a:xfrm>
          <a:prstGeom prst="homePlate">
            <a:avLst>
              <a:gd name="adj" fmla="val 0"/>
            </a:avLst>
          </a:prstGeom>
          <a:solidFill>
            <a:schemeClr val="tx1"/>
          </a:solidFill>
          <a:ln w="9525" algn="ctr">
            <a:noFill/>
            <a:miter lim="800000"/>
            <a:headEnd/>
            <a:tailEnd/>
          </a:ln>
        </p:spPr>
        <p:txBody>
          <a:bodyPr lIns="72000" tIns="72000" rIns="72000" bIns="72000" anchor="ctr"/>
          <a:lstStyle/>
          <a:p>
            <a:pPr eaLnBrk="0" fontAlgn="auto" hangingPunct="0">
              <a:spcBef>
                <a:spcPts val="0"/>
              </a:spcBef>
              <a:spcAft>
                <a:spcPts val="0"/>
              </a:spcAft>
              <a:defRPr/>
            </a:pPr>
            <a:r>
              <a:rPr lang="it-IT" sz="1050" kern="0">
                <a:solidFill>
                  <a:srgbClr val="FFFFFF"/>
                </a:solidFill>
                <a:latin typeface="Calibri" pitchFamily="34" charset="0"/>
                <a:cs typeface="Arial" charset="0"/>
              </a:rPr>
              <a:t>Guidelines</a:t>
            </a:r>
          </a:p>
        </p:txBody>
      </p:sp>
      <p:sp>
        <p:nvSpPr>
          <p:cNvPr id="419" name="Oval 418"/>
          <p:cNvSpPr/>
          <p:nvPr/>
        </p:nvSpPr>
        <p:spPr bwMode="auto">
          <a:xfrm>
            <a:off x="3315267" y="6369961"/>
            <a:ext cx="135637" cy="94163"/>
          </a:xfrm>
          <a:prstGeom prst="ellipse">
            <a:avLst/>
          </a:prstGeom>
          <a:solidFill>
            <a:srgbClr val="FF0000"/>
          </a:solidFill>
          <a:ln w="9525" cap="flat" cmpd="sng" algn="ctr">
            <a:solidFill>
              <a:srgbClr val="969696"/>
            </a:solidFill>
            <a:prstDash val="solid"/>
            <a:round/>
            <a:headEnd type="none" w="med" len="med"/>
            <a:tailEnd type="none" w="med" len="med"/>
          </a:ln>
          <a:effectLst/>
          <a:scene3d>
            <a:camera prst="orthographicFront"/>
            <a:lightRig rig="threePt" dir="t"/>
          </a:scene3d>
          <a:sp3d>
            <a:bevelT w="152400" h="50800" prst="softRound"/>
          </a:sp3d>
        </p:spPr>
        <p:txBody>
          <a:bodyPr wrap="none" lIns="0" tIns="0" rIns="0" bIns="0" anchor="ctr"/>
          <a:lstStyle/>
          <a:p>
            <a:pPr algn="ctr" defTabSz="873125" eaLnBrk="0" hangingPunct="0">
              <a:defRPr/>
            </a:pPr>
            <a:endParaRPr lang="en-US" sz="800" dirty="0">
              <a:latin typeface="Calibri" pitchFamily="34" charset="0"/>
              <a:cs typeface="Calibri" pitchFamily="34" charset="0"/>
            </a:endParaRPr>
          </a:p>
        </p:txBody>
      </p:sp>
      <p:sp>
        <p:nvSpPr>
          <p:cNvPr id="420" name="TextBox 118"/>
          <p:cNvSpPr txBox="1">
            <a:spLocks noChangeArrowheads="1"/>
          </p:cNvSpPr>
          <p:nvPr/>
        </p:nvSpPr>
        <p:spPr bwMode="auto">
          <a:xfrm>
            <a:off x="3467113" y="6309320"/>
            <a:ext cx="484428" cy="215444"/>
          </a:xfrm>
          <a:prstGeom prst="rect">
            <a:avLst/>
          </a:prstGeom>
          <a:noFill/>
          <a:ln w="9525">
            <a:noFill/>
            <a:miter lim="800000"/>
            <a:headEnd/>
            <a:tailEnd/>
          </a:ln>
        </p:spPr>
        <p:txBody>
          <a:bodyPr wrap="none">
            <a:spAutoFit/>
          </a:bodyPr>
          <a:lstStyle/>
          <a:p>
            <a:pPr>
              <a:spcBef>
                <a:spcPct val="50000"/>
              </a:spcBef>
            </a:pPr>
            <a:r>
              <a:rPr lang="en-US" sz="800" i="0" dirty="0" smtClean="0">
                <a:latin typeface="Calibri" pitchFamily="34" charset="0"/>
                <a:cs typeface="Calibri" pitchFamily="34" charset="0"/>
              </a:rPr>
              <a:t>2G Site</a:t>
            </a:r>
            <a:endParaRPr lang="en-US" sz="800" i="0" dirty="0">
              <a:latin typeface="Calibri" pitchFamily="34" charset="0"/>
              <a:cs typeface="Calibri" pitchFamily="34" charset="0"/>
            </a:endParaRPr>
          </a:p>
        </p:txBody>
      </p:sp>
      <p:sp>
        <p:nvSpPr>
          <p:cNvPr id="421" name="Oval 420"/>
          <p:cNvSpPr/>
          <p:nvPr/>
        </p:nvSpPr>
        <p:spPr bwMode="auto">
          <a:xfrm>
            <a:off x="4173531" y="6369961"/>
            <a:ext cx="135304" cy="94163"/>
          </a:xfrm>
          <a:prstGeom prst="ellipse">
            <a:avLst/>
          </a:prstGeom>
          <a:solidFill>
            <a:srgbClr val="33CC33"/>
          </a:solidFill>
          <a:ln w="9525" cap="flat" cmpd="sng" algn="ctr">
            <a:solidFill>
              <a:srgbClr val="969696"/>
            </a:solidFill>
            <a:prstDash val="solid"/>
            <a:round/>
            <a:headEnd type="none" w="med" len="med"/>
            <a:tailEnd type="none" w="med" len="med"/>
          </a:ln>
          <a:effectLst/>
          <a:scene3d>
            <a:camera prst="orthographicFront"/>
            <a:lightRig rig="threePt" dir="t"/>
          </a:scene3d>
          <a:sp3d>
            <a:bevelT w="152400" h="50800" prst="softRound"/>
          </a:sp3d>
        </p:spPr>
        <p:txBody>
          <a:bodyPr wrap="none" lIns="0" tIns="0" rIns="0" bIns="0" anchor="ctr"/>
          <a:lstStyle/>
          <a:p>
            <a:pPr algn="ctr" defTabSz="873125" eaLnBrk="0" hangingPunct="0">
              <a:defRPr/>
            </a:pPr>
            <a:endParaRPr lang="en-US" sz="800" dirty="0">
              <a:latin typeface="Calibri" pitchFamily="34" charset="0"/>
              <a:cs typeface="Calibri" pitchFamily="34" charset="0"/>
            </a:endParaRPr>
          </a:p>
        </p:txBody>
      </p:sp>
      <p:sp>
        <p:nvSpPr>
          <p:cNvPr id="422" name="TextBox 119"/>
          <p:cNvSpPr txBox="1">
            <a:spLocks noChangeArrowheads="1"/>
          </p:cNvSpPr>
          <p:nvPr/>
        </p:nvSpPr>
        <p:spPr bwMode="auto">
          <a:xfrm>
            <a:off x="4320265" y="6309320"/>
            <a:ext cx="484428" cy="215444"/>
          </a:xfrm>
          <a:prstGeom prst="rect">
            <a:avLst/>
          </a:prstGeom>
          <a:noFill/>
          <a:ln w="9525">
            <a:noFill/>
            <a:miter lim="800000"/>
            <a:headEnd/>
            <a:tailEnd/>
          </a:ln>
        </p:spPr>
        <p:txBody>
          <a:bodyPr wrap="none">
            <a:spAutoFit/>
          </a:bodyPr>
          <a:lstStyle/>
          <a:p>
            <a:pPr>
              <a:spcBef>
                <a:spcPct val="50000"/>
              </a:spcBef>
            </a:pPr>
            <a:r>
              <a:rPr lang="en-US" sz="800" i="0" dirty="0" smtClean="0">
                <a:latin typeface="Calibri" pitchFamily="34" charset="0"/>
                <a:cs typeface="Calibri" pitchFamily="34" charset="0"/>
              </a:rPr>
              <a:t>3G Site</a:t>
            </a:r>
            <a:endParaRPr lang="en-US" sz="800" i="0" dirty="0">
              <a:latin typeface="Calibri" pitchFamily="34" charset="0"/>
              <a:cs typeface="Calibri" pitchFamily="34" charset="0"/>
            </a:endParaRPr>
          </a:p>
        </p:txBody>
      </p:sp>
      <p:cxnSp>
        <p:nvCxnSpPr>
          <p:cNvPr id="423" name="Straight Connector 422"/>
          <p:cNvCxnSpPr/>
          <p:nvPr/>
        </p:nvCxnSpPr>
        <p:spPr bwMode="auto">
          <a:xfrm>
            <a:off x="2344648" y="6416478"/>
            <a:ext cx="154800" cy="1128"/>
          </a:xfrm>
          <a:prstGeom prst="line">
            <a:avLst/>
          </a:prstGeom>
          <a:solidFill>
            <a:schemeClr val="bg1"/>
          </a:solidFill>
          <a:ln w="9525" cap="flat" cmpd="sng" algn="ctr">
            <a:solidFill>
              <a:srgbClr val="969696"/>
            </a:solidFill>
            <a:prstDash val="solid"/>
            <a:round/>
            <a:headEnd type="none" w="med" len="med"/>
            <a:tailEnd type="none" w="med" len="med"/>
          </a:ln>
          <a:effectLst/>
        </p:spPr>
      </p:cxnSp>
      <p:sp>
        <p:nvSpPr>
          <p:cNvPr id="424" name="TextBox 118"/>
          <p:cNvSpPr txBox="1">
            <a:spLocks noChangeArrowheads="1"/>
          </p:cNvSpPr>
          <p:nvPr/>
        </p:nvSpPr>
        <p:spPr bwMode="auto">
          <a:xfrm>
            <a:off x="2507591" y="6309320"/>
            <a:ext cx="562975" cy="215444"/>
          </a:xfrm>
          <a:prstGeom prst="rect">
            <a:avLst/>
          </a:prstGeom>
          <a:noFill/>
          <a:ln w="9525">
            <a:noFill/>
            <a:miter lim="800000"/>
            <a:headEnd/>
            <a:tailEnd/>
          </a:ln>
        </p:spPr>
        <p:txBody>
          <a:bodyPr wrap="none">
            <a:spAutoFit/>
          </a:bodyPr>
          <a:lstStyle/>
          <a:p>
            <a:pPr>
              <a:spcBef>
                <a:spcPct val="50000"/>
              </a:spcBef>
            </a:pPr>
            <a:r>
              <a:rPr lang="en-US" sz="800" i="0" dirty="0" smtClean="0">
                <a:latin typeface="Calibri" pitchFamily="34" charset="0"/>
                <a:cs typeface="Calibri" pitchFamily="34" charset="0"/>
              </a:rPr>
              <a:t>MW Link</a:t>
            </a:r>
            <a:endParaRPr lang="en-US" sz="800" i="0" dirty="0">
              <a:latin typeface="Calibri" pitchFamily="34" charset="0"/>
              <a:cs typeface="Calibri" pitchFamily="34" charset="0"/>
            </a:endParaRPr>
          </a:p>
        </p:txBody>
      </p:sp>
      <p:cxnSp>
        <p:nvCxnSpPr>
          <p:cNvPr id="425" name="Straight Connector 424"/>
          <p:cNvCxnSpPr/>
          <p:nvPr/>
        </p:nvCxnSpPr>
        <p:spPr bwMode="auto">
          <a:xfrm>
            <a:off x="1049478" y="6416478"/>
            <a:ext cx="154800" cy="1128"/>
          </a:xfrm>
          <a:prstGeom prst="line">
            <a:avLst/>
          </a:prstGeom>
          <a:solidFill>
            <a:schemeClr val="bg1"/>
          </a:solidFill>
          <a:ln w="9525" cap="flat" cmpd="sng" algn="ctr">
            <a:solidFill>
              <a:srgbClr val="C00000"/>
            </a:solidFill>
            <a:prstDash val="solid"/>
            <a:round/>
            <a:headEnd type="none" w="med" len="med"/>
            <a:tailEnd type="none" w="med" len="med"/>
          </a:ln>
          <a:effectLst/>
        </p:spPr>
      </p:cxnSp>
      <p:sp>
        <p:nvSpPr>
          <p:cNvPr id="426" name="TextBox 118"/>
          <p:cNvSpPr txBox="1">
            <a:spLocks noChangeArrowheads="1"/>
          </p:cNvSpPr>
          <p:nvPr/>
        </p:nvSpPr>
        <p:spPr bwMode="auto">
          <a:xfrm>
            <a:off x="1212421" y="6309320"/>
            <a:ext cx="816249" cy="215444"/>
          </a:xfrm>
          <a:prstGeom prst="rect">
            <a:avLst/>
          </a:prstGeom>
          <a:noFill/>
          <a:ln w="9525">
            <a:noFill/>
            <a:miter lim="800000"/>
            <a:headEnd/>
            <a:tailEnd/>
          </a:ln>
        </p:spPr>
        <p:txBody>
          <a:bodyPr wrap="none">
            <a:spAutoFit/>
          </a:bodyPr>
          <a:lstStyle/>
          <a:p>
            <a:pPr>
              <a:spcBef>
                <a:spcPct val="50000"/>
              </a:spcBef>
            </a:pPr>
            <a:r>
              <a:rPr lang="en-US" sz="800" i="0" dirty="0" smtClean="0">
                <a:latin typeface="Calibri" pitchFamily="34" charset="0"/>
                <a:cs typeface="Calibri" pitchFamily="34" charset="0"/>
              </a:rPr>
              <a:t>Leased Line HC</a:t>
            </a:r>
            <a:endParaRPr lang="en-US" sz="800" i="0" dirty="0">
              <a:latin typeface="Calibri" pitchFamily="34" charset="0"/>
              <a:cs typeface="Calibri" pitchFamily="34" charset="0"/>
            </a:endParaRPr>
          </a:p>
        </p:txBody>
      </p:sp>
      <p:cxnSp>
        <p:nvCxnSpPr>
          <p:cNvPr id="427" name="Straight Connector 426"/>
          <p:cNvCxnSpPr/>
          <p:nvPr/>
        </p:nvCxnSpPr>
        <p:spPr bwMode="auto">
          <a:xfrm>
            <a:off x="5015399" y="6416478"/>
            <a:ext cx="154800" cy="1128"/>
          </a:xfrm>
          <a:prstGeom prst="line">
            <a:avLst/>
          </a:prstGeom>
          <a:solidFill>
            <a:schemeClr val="bg1"/>
          </a:solidFill>
          <a:ln w="9525" cap="flat" cmpd="sng" algn="ctr">
            <a:solidFill>
              <a:srgbClr val="FFC000"/>
            </a:solidFill>
            <a:prstDash val="solid"/>
            <a:round/>
            <a:headEnd type="none" w="med" len="med"/>
            <a:tailEnd type="none" w="med" len="med"/>
          </a:ln>
          <a:effectLst/>
        </p:spPr>
      </p:cxnSp>
      <p:sp>
        <p:nvSpPr>
          <p:cNvPr id="428" name="TextBox 118"/>
          <p:cNvSpPr txBox="1">
            <a:spLocks noChangeArrowheads="1"/>
          </p:cNvSpPr>
          <p:nvPr/>
        </p:nvSpPr>
        <p:spPr bwMode="auto">
          <a:xfrm>
            <a:off x="5190848" y="6309320"/>
            <a:ext cx="726481" cy="215444"/>
          </a:xfrm>
          <a:prstGeom prst="rect">
            <a:avLst/>
          </a:prstGeom>
          <a:noFill/>
          <a:ln w="9525">
            <a:noFill/>
            <a:miter lim="800000"/>
            <a:headEnd/>
            <a:tailEnd/>
          </a:ln>
        </p:spPr>
        <p:txBody>
          <a:bodyPr wrap="none">
            <a:spAutoFit/>
          </a:bodyPr>
          <a:lstStyle/>
          <a:p>
            <a:pPr>
              <a:spcBef>
                <a:spcPct val="50000"/>
              </a:spcBef>
            </a:pPr>
            <a:r>
              <a:rPr lang="en-US" sz="800" i="0" dirty="0" smtClean="0">
                <a:latin typeface="Calibri" pitchFamily="34" charset="0"/>
                <a:cs typeface="Calibri" pitchFamily="34" charset="0"/>
              </a:rPr>
              <a:t>Optical Fiber</a:t>
            </a:r>
            <a:endParaRPr lang="en-US" sz="800" i="0" dirty="0">
              <a:latin typeface="Calibri" pitchFamily="34" charset="0"/>
              <a:cs typeface="Calibri" pitchFamily="34" charset="0"/>
            </a:endParaRPr>
          </a:p>
        </p:txBody>
      </p:sp>
      <p:sp>
        <p:nvSpPr>
          <p:cNvPr id="429" name="Oval 428"/>
          <p:cNvSpPr/>
          <p:nvPr/>
        </p:nvSpPr>
        <p:spPr bwMode="auto">
          <a:xfrm>
            <a:off x="6219830" y="6353085"/>
            <a:ext cx="190782" cy="127915"/>
          </a:xfrm>
          <a:prstGeom prst="ellipse">
            <a:avLst/>
          </a:prstGeom>
          <a:solidFill>
            <a:schemeClr val="accent3">
              <a:lumMod val="95000"/>
            </a:schemeClr>
          </a:solidFill>
          <a:ln w="9525" cap="flat" cmpd="sng" algn="ctr">
            <a:solidFill>
              <a:srgbClr val="969696"/>
            </a:solidFill>
            <a:prstDash val="dash"/>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800" b="0" i="1" u="none" strike="noStrike" cap="none" normalizeH="0" baseline="0" smtClean="0">
              <a:ln>
                <a:noFill/>
              </a:ln>
              <a:solidFill>
                <a:schemeClr val="tx1"/>
              </a:solidFill>
              <a:effectLst/>
              <a:latin typeface="Calibri" pitchFamily="34" charset="0"/>
              <a:cs typeface="Calibri" pitchFamily="34" charset="0"/>
            </a:endParaRPr>
          </a:p>
        </p:txBody>
      </p:sp>
      <p:sp>
        <p:nvSpPr>
          <p:cNvPr id="430" name="TextBox 118"/>
          <p:cNvSpPr txBox="1">
            <a:spLocks noChangeArrowheads="1"/>
          </p:cNvSpPr>
          <p:nvPr/>
        </p:nvSpPr>
        <p:spPr bwMode="auto">
          <a:xfrm>
            <a:off x="6433273" y="6309320"/>
            <a:ext cx="662361" cy="215444"/>
          </a:xfrm>
          <a:prstGeom prst="rect">
            <a:avLst/>
          </a:prstGeom>
          <a:noFill/>
          <a:ln w="9525">
            <a:noFill/>
            <a:miter lim="800000"/>
            <a:headEnd/>
            <a:tailEnd/>
          </a:ln>
        </p:spPr>
        <p:txBody>
          <a:bodyPr wrap="none">
            <a:spAutoFit/>
          </a:bodyPr>
          <a:lstStyle/>
          <a:p>
            <a:pPr>
              <a:spcBef>
                <a:spcPct val="50000"/>
              </a:spcBef>
            </a:pPr>
            <a:r>
              <a:rPr lang="pt-BR" sz="800" i="0" dirty="0" err="1" smtClean="0">
                <a:latin typeface="Calibri" pitchFamily="34" charset="0"/>
                <a:cs typeface="Calibri" pitchFamily="34" charset="0"/>
              </a:rPr>
              <a:t>Coorp</a:t>
            </a:r>
            <a:r>
              <a:rPr lang="pt-BR" sz="800" i="0" dirty="0" smtClean="0">
                <a:latin typeface="Calibri" pitchFamily="34" charset="0"/>
                <a:cs typeface="Calibri" pitchFamily="34" charset="0"/>
              </a:rPr>
              <a:t> </a:t>
            </a:r>
            <a:r>
              <a:rPr lang="pt-BR" sz="800" i="0" dirty="0" err="1" smtClean="0">
                <a:latin typeface="Calibri" pitchFamily="34" charset="0"/>
                <a:cs typeface="Calibri" pitchFamily="34" charset="0"/>
              </a:rPr>
              <a:t>zone</a:t>
            </a:r>
            <a:endParaRPr lang="en-US" sz="800" i="0" dirty="0">
              <a:latin typeface="Calibri" pitchFamily="34" charset="0"/>
              <a:cs typeface="Calibri" pitchFamily="34" charset="0"/>
            </a:endParaRPr>
          </a:p>
        </p:txBody>
      </p:sp>
      <p:sp>
        <p:nvSpPr>
          <p:cNvPr id="431" name="Oval 430"/>
          <p:cNvSpPr/>
          <p:nvPr/>
        </p:nvSpPr>
        <p:spPr bwMode="auto">
          <a:xfrm>
            <a:off x="7473695" y="6353085"/>
            <a:ext cx="190782" cy="127915"/>
          </a:xfrm>
          <a:prstGeom prst="ellipse">
            <a:avLst/>
          </a:prstGeom>
          <a:solidFill>
            <a:schemeClr val="accent1">
              <a:lumMod val="20000"/>
              <a:lumOff val="80000"/>
            </a:schemeClr>
          </a:solidFill>
          <a:ln w="9525" cap="flat" cmpd="sng" algn="ctr">
            <a:solidFill>
              <a:srgbClr val="969696"/>
            </a:solidFill>
            <a:prstDash val="dash"/>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800" b="0" i="1" u="none" strike="noStrike" cap="none" normalizeH="0" baseline="0" smtClean="0">
              <a:ln>
                <a:noFill/>
              </a:ln>
              <a:solidFill>
                <a:schemeClr val="tx1"/>
              </a:solidFill>
              <a:effectLst/>
              <a:latin typeface="Calibri" pitchFamily="34" charset="0"/>
              <a:cs typeface="Calibri" pitchFamily="34" charset="0"/>
            </a:endParaRPr>
          </a:p>
        </p:txBody>
      </p:sp>
      <p:sp>
        <p:nvSpPr>
          <p:cNvPr id="432" name="TextBox 118"/>
          <p:cNvSpPr txBox="1">
            <a:spLocks noChangeArrowheads="1"/>
          </p:cNvSpPr>
          <p:nvPr/>
        </p:nvSpPr>
        <p:spPr bwMode="auto">
          <a:xfrm>
            <a:off x="7687138" y="6309320"/>
            <a:ext cx="700833" cy="215444"/>
          </a:xfrm>
          <a:prstGeom prst="rect">
            <a:avLst/>
          </a:prstGeom>
          <a:noFill/>
          <a:ln w="9525">
            <a:noFill/>
            <a:miter lim="800000"/>
            <a:headEnd/>
            <a:tailEnd/>
          </a:ln>
        </p:spPr>
        <p:txBody>
          <a:bodyPr wrap="none">
            <a:spAutoFit/>
          </a:bodyPr>
          <a:lstStyle/>
          <a:p>
            <a:pPr>
              <a:spcBef>
                <a:spcPct val="50000"/>
              </a:spcBef>
            </a:pPr>
            <a:r>
              <a:rPr lang="pt-BR" sz="800" i="0" dirty="0" err="1" smtClean="0">
                <a:latin typeface="Calibri" pitchFamily="34" charset="0"/>
                <a:cs typeface="Calibri" pitchFamily="34" charset="0"/>
              </a:rPr>
              <a:t>Main</a:t>
            </a:r>
            <a:r>
              <a:rPr lang="pt-BR" sz="800" i="0" dirty="0" smtClean="0">
                <a:latin typeface="Calibri" pitchFamily="34" charset="0"/>
                <a:cs typeface="Calibri" pitchFamily="34" charset="0"/>
              </a:rPr>
              <a:t> </a:t>
            </a:r>
            <a:r>
              <a:rPr lang="pt-BR" sz="800" i="0" dirty="0" err="1" smtClean="0">
                <a:latin typeface="Calibri" pitchFamily="34" charset="0"/>
                <a:cs typeface="Calibri" pitchFamily="34" charset="0"/>
              </a:rPr>
              <a:t>nodeB</a:t>
            </a:r>
            <a:endParaRPr lang="en-US" sz="800" i="0" dirty="0">
              <a:latin typeface="Calibri" pitchFamily="34" charset="0"/>
              <a:cs typeface="Calibri" pitchFamily="34" charset="0"/>
            </a:endParaRPr>
          </a:p>
        </p:txBody>
      </p:sp>
      <p:grpSp>
        <p:nvGrpSpPr>
          <p:cNvPr id="440" name="Group 625"/>
          <p:cNvGrpSpPr/>
          <p:nvPr/>
        </p:nvGrpSpPr>
        <p:grpSpPr>
          <a:xfrm>
            <a:off x="4839898" y="3582235"/>
            <a:ext cx="4756572" cy="2634993"/>
            <a:chOff x="628596" y="1420785"/>
            <a:chExt cx="7959833" cy="4463956"/>
          </a:xfrm>
        </p:grpSpPr>
        <p:sp>
          <p:nvSpPr>
            <p:cNvPr id="441" name="Rounded Rectangle 440"/>
            <p:cNvSpPr/>
            <p:nvPr/>
          </p:nvSpPr>
          <p:spPr bwMode="auto">
            <a:xfrm>
              <a:off x="628596" y="1420785"/>
              <a:ext cx="7959833" cy="4463956"/>
            </a:xfrm>
            <a:prstGeom prst="roundRect">
              <a:avLst>
                <a:gd name="adj" fmla="val 4957"/>
              </a:avLst>
            </a:prstGeom>
            <a:solidFill>
              <a:schemeClr val="bg1"/>
            </a:solidFill>
            <a:ln w="9525" cap="flat" cmpd="sng" algn="ctr">
              <a:solidFill>
                <a:srgbClr val="969696"/>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dirty="0" smtClean="0">
                <a:ln>
                  <a:noFill/>
                </a:ln>
                <a:solidFill>
                  <a:schemeClr val="tx1"/>
                </a:solidFill>
                <a:effectLst/>
                <a:latin typeface="Franklin Gothic Medium" pitchFamily="34" charset="0"/>
                <a:cs typeface="Arial" charset="0"/>
              </a:endParaRPr>
            </a:p>
          </p:txBody>
        </p:sp>
        <p:sp>
          <p:nvSpPr>
            <p:cNvPr id="442" name="Oval 441"/>
            <p:cNvSpPr/>
            <p:nvPr/>
          </p:nvSpPr>
          <p:spPr bwMode="auto">
            <a:xfrm>
              <a:off x="6729536" y="1812241"/>
              <a:ext cx="389137" cy="375734"/>
            </a:xfrm>
            <a:prstGeom prst="ellipse">
              <a:avLst/>
            </a:prstGeom>
            <a:solidFill>
              <a:schemeClr val="accent1">
                <a:lumMod val="20000"/>
                <a:lumOff val="80000"/>
              </a:schemeClr>
            </a:solidFill>
            <a:ln w="9525" cap="flat" cmpd="sng" algn="ctr">
              <a:solidFill>
                <a:srgbClr val="969696"/>
              </a:solidFill>
              <a:prstDash val="dash"/>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443" name="Oval 442"/>
            <p:cNvSpPr/>
            <p:nvPr/>
          </p:nvSpPr>
          <p:spPr bwMode="auto">
            <a:xfrm>
              <a:off x="6835320" y="5349230"/>
              <a:ext cx="389137" cy="375734"/>
            </a:xfrm>
            <a:prstGeom prst="ellipse">
              <a:avLst/>
            </a:prstGeom>
            <a:solidFill>
              <a:schemeClr val="accent1">
                <a:lumMod val="20000"/>
                <a:lumOff val="80000"/>
              </a:schemeClr>
            </a:solidFill>
            <a:ln w="9525" cap="flat" cmpd="sng" algn="ctr">
              <a:solidFill>
                <a:srgbClr val="969696"/>
              </a:solidFill>
              <a:prstDash val="dash"/>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444" name="Oval 443"/>
            <p:cNvSpPr/>
            <p:nvPr/>
          </p:nvSpPr>
          <p:spPr bwMode="auto">
            <a:xfrm>
              <a:off x="6403094" y="5454092"/>
              <a:ext cx="389137" cy="375734"/>
            </a:xfrm>
            <a:prstGeom prst="ellipse">
              <a:avLst/>
            </a:prstGeom>
            <a:solidFill>
              <a:schemeClr val="accent1">
                <a:lumMod val="20000"/>
                <a:lumOff val="80000"/>
              </a:schemeClr>
            </a:solidFill>
            <a:ln w="9525" cap="flat" cmpd="sng" algn="ctr">
              <a:solidFill>
                <a:srgbClr val="969696"/>
              </a:solidFill>
              <a:prstDash val="dash"/>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445" name="Oval 444"/>
            <p:cNvSpPr/>
            <p:nvPr/>
          </p:nvSpPr>
          <p:spPr bwMode="auto">
            <a:xfrm>
              <a:off x="6446183" y="3550935"/>
              <a:ext cx="389137" cy="375734"/>
            </a:xfrm>
            <a:prstGeom prst="ellipse">
              <a:avLst/>
            </a:prstGeom>
            <a:solidFill>
              <a:schemeClr val="accent1">
                <a:lumMod val="20000"/>
                <a:lumOff val="80000"/>
              </a:schemeClr>
            </a:solidFill>
            <a:ln w="9525" cap="flat" cmpd="sng" algn="ctr">
              <a:solidFill>
                <a:srgbClr val="969696"/>
              </a:solidFill>
              <a:prstDash val="dash"/>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446" name="Oval 445"/>
            <p:cNvSpPr/>
            <p:nvPr/>
          </p:nvSpPr>
          <p:spPr bwMode="auto">
            <a:xfrm>
              <a:off x="2150076" y="2427153"/>
              <a:ext cx="389137" cy="375734"/>
            </a:xfrm>
            <a:prstGeom prst="ellipse">
              <a:avLst/>
            </a:prstGeom>
            <a:solidFill>
              <a:schemeClr val="accent3">
                <a:lumMod val="95000"/>
              </a:schemeClr>
            </a:solidFill>
            <a:ln w="9525" cap="flat" cmpd="sng" algn="ctr">
              <a:solidFill>
                <a:srgbClr val="969696"/>
              </a:solidFill>
              <a:prstDash val="dash"/>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447" name="Oval 446"/>
            <p:cNvSpPr/>
            <p:nvPr/>
          </p:nvSpPr>
          <p:spPr bwMode="auto">
            <a:xfrm>
              <a:off x="1843779" y="2769770"/>
              <a:ext cx="389137" cy="375734"/>
            </a:xfrm>
            <a:prstGeom prst="ellipse">
              <a:avLst/>
            </a:prstGeom>
            <a:solidFill>
              <a:schemeClr val="accent3">
                <a:lumMod val="95000"/>
              </a:schemeClr>
            </a:solidFill>
            <a:ln w="9525" cap="flat" cmpd="sng" algn="ctr">
              <a:solidFill>
                <a:srgbClr val="969696"/>
              </a:solidFill>
              <a:prstDash val="dash"/>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448" name="Oval 447"/>
            <p:cNvSpPr/>
            <p:nvPr/>
          </p:nvSpPr>
          <p:spPr bwMode="auto">
            <a:xfrm>
              <a:off x="2296190" y="3131028"/>
              <a:ext cx="389137" cy="375734"/>
            </a:xfrm>
            <a:prstGeom prst="ellipse">
              <a:avLst/>
            </a:prstGeom>
            <a:solidFill>
              <a:schemeClr val="accent3">
                <a:lumMod val="95000"/>
              </a:schemeClr>
            </a:solidFill>
            <a:ln w="9525" cap="flat" cmpd="sng" algn="ctr">
              <a:solidFill>
                <a:srgbClr val="969696"/>
              </a:solidFill>
              <a:prstDash val="dash"/>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449" name="Oval 448"/>
            <p:cNvSpPr/>
            <p:nvPr/>
          </p:nvSpPr>
          <p:spPr bwMode="auto">
            <a:xfrm>
              <a:off x="1843779" y="3750834"/>
              <a:ext cx="389137" cy="375734"/>
            </a:xfrm>
            <a:prstGeom prst="ellipse">
              <a:avLst/>
            </a:prstGeom>
            <a:solidFill>
              <a:schemeClr val="accent1">
                <a:lumMod val="20000"/>
                <a:lumOff val="80000"/>
              </a:schemeClr>
            </a:solidFill>
            <a:ln w="9525" cap="flat" cmpd="sng" algn="ctr">
              <a:solidFill>
                <a:srgbClr val="969696"/>
              </a:solidFill>
              <a:prstDash val="dash"/>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450" name="Oval 449"/>
            <p:cNvSpPr/>
            <p:nvPr/>
          </p:nvSpPr>
          <p:spPr bwMode="auto">
            <a:xfrm>
              <a:off x="1863723" y="4446713"/>
              <a:ext cx="389137" cy="375734"/>
            </a:xfrm>
            <a:prstGeom prst="ellipse">
              <a:avLst/>
            </a:prstGeom>
            <a:solidFill>
              <a:schemeClr val="accent1">
                <a:lumMod val="20000"/>
                <a:lumOff val="80000"/>
              </a:schemeClr>
            </a:solidFill>
            <a:ln w="9525" cap="flat" cmpd="sng" algn="ctr">
              <a:solidFill>
                <a:srgbClr val="969696"/>
              </a:solidFill>
              <a:prstDash val="dash"/>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451" name="Oval 450"/>
            <p:cNvSpPr/>
            <p:nvPr/>
          </p:nvSpPr>
          <p:spPr bwMode="auto">
            <a:xfrm>
              <a:off x="3852095" y="2038576"/>
              <a:ext cx="389137" cy="375734"/>
            </a:xfrm>
            <a:prstGeom prst="ellipse">
              <a:avLst/>
            </a:prstGeom>
            <a:solidFill>
              <a:schemeClr val="accent1">
                <a:lumMod val="20000"/>
                <a:lumOff val="80000"/>
              </a:schemeClr>
            </a:solidFill>
            <a:ln w="9525" cap="flat" cmpd="sng" algn="ctr">
              <a:solidFill>
                <a:srgbClr val="969696"/>
              </a:solidFill>
              <a:prstDash val="dash"/>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452" name="Oval 451"/>
            <p:cNvSpPr/>
            <p:nvPr/>
          </p:nvSpPr>
          <p:spPr bwMode="auto">
            <a:xfrm>
              <a:off x="4248736" y="2271813"/>
              <a:ext cx="389137" cy="375734"/>
            </a:xfrm>
            <a:prstGeom prst="ellipse">
              <a:avLst/>
            </a:prstGeom>
            <a:solidFill>
              <a:schemeClr val="accent1">
                <a:lumMod val="20000"/>
                <a:lumOff val="80000"/>
              </a:schemeClr>
            </a:solidFill>
            <a:ln w="9525" cap="flat" cmpd="sng" algn="ctr">
              <a:solidFill>
                <a:srgbClr val="969696"/>
              </a:solidFill>
              <a:prstDash val="dash"/>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453" name="Oval 452"/>
            <p:cNvSpPr/>
            <p:nvPr/>
          </p:nvSpPr>
          <p:spPr bwMode="auto">
            <a:xfrm>
              <a:off x="3876159" y="3338990"/>
              <a:ext cx="389137" cy="375734"/>
            </a:xfrm>
            <a:prstGeom prst="ellipse">
              <a:avLst/>
            </a:prstGeom>
            <a:solidFill>
              <a:schemeClr val="accent3">
                <a:lumMod val="95000"/>
              </a:schemeClr>
            </a:solidFill>
            <a:ln w="9525" cap="flat" cmpd="sng" algn="ctr">
              <a:solidFill>
                <a:srgbClr val="969696"/>
              </a:solidFill>
              <a:prstDash val="dash"/>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454" name="Oval 453"/>
            <p:cNvSpPr/>
            <p:nvPr/>
          </p:nvSpPr>
          <p:spPr bwMode="auto">
            <a:xfrm>
              <a:off x="4343407" y="3462323"/>
              <a:ext cx="389137" cy="375734"/>
            </a:xfrm>
            <a:prstGeom prst="ellipse">
              <a:avLst/>
            </a:prstGeom>
            <a:solidFill>
              <a:schemeClr val="accent3">
                <a:lumMod val="95000"/>
              </a:schemeClr>
            </a:solidFill>
            <a:ln w="9525" cap="flat" cmpd="sng" algn="ctr">
              <a:solidFill>
                <a:srgbClr val="969696"/>
              </a:solidFill>
              <a:prstDash val="dash"/>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455" name="Oval 454"/>
            <p:cNvSpPr/>
            <p:nvPr/>
          </p:nvSpPr>
          <p:spPr bwMode="auto">
            <a:xfrm>
              <a:off x="6319750" y="2124189"/>
              <a:ext cx="389137" cy="375734"/>
            </a:xfrm>
            <a:prstGeom prst="ellipse">
              <a:avLst/>
            </a:prstGeom>
            <a:solidFill>
              <a:schemeClr val="accent3">
                <a:lumMod val="95000"/>
              </a:schemeClr>
            </a:solidFill>
            <a:ln w="9525" cap="flat" cmpd="sng" algn="ctr">
              <a:solidFill>
                <a:srgbClr val="969696"/>
              </a:solidFill>
              <a:prstDash val="dash"/>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456" name="Oval 455"/>
            <p:cNvSpPr/>
            <p:nvPr/>
          </p:nvSpPr>
          <p:spPr bwMode="auto">
            <a:xfrm>
              <a:off x="6082663" y="2780330"/>
              <a:ext cx="389137" cy="375734"/>
            </a:xfrm>
            <a:prstGeom prst="ellipse">
              <a:avLst/>
            </a:prstGeom>
            <a:solidFill>
              <a:schemeClr val="accent3">
                <a:lumMod val="95000"/>
              </a:schemeClr>
            </a:solidFill>
            <a:ln w="9525" cap="flat" cmpd="sng" algn="ctr">
              <a:solidFill>
                <a:srgbClr val="969696"/>
              </a:solidFill>
              <a:prstDash val="dash"/>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457" name="Oval 456"/>
            <p:cNvSpPr/>
            <p:nvPr/>
          </p:nvSpPr>
          <p:spPr bwMode="auto">
            <a:xfrm>
              <a:off x="5956213" y="3447079"/>
              <a:ext cx="389137" cy="375734"/>
            </a:xfrm>
            <a:prstGeom prst="ellipse">
              <a:avLst/>
            </a:prstGeom>
            <a:solidFill>
              <a:schemeClr val="accent3">
                <a:lumMod val="95000"/>
              </a:schemeClr>
            </a:solidFill>
            <a:ln w="9525" cap="flat" cmpd="sng" algn="ctr">
              <a:solidFill>
                <a:srgbClr val="969696"/>
              </a:solidFill>
              <a:prstDash val="dash"/>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458" name="Oval 457"/>
            <p:cNvSpPr/>
            <p:nvPr/>
          </p:nvSpPr>
          <p:spPr bwMode="auto">
            <a:xfrm>
              <a:off x="5356932" y="4507409"/>
              <a:ext cx="389137" cy="375734"/>
            </a:xfrm>
            <a:prstGeom prst="ellipse">
              <a:avLst/>
            </a:prstGeom>
            <a:solidFill>
              <a:schemeClr val="accent3">
                <a:lumMod val="95000"/>
              </a:schemeClr>
            </a:solidFill>
            <a:ln w="9525" cap="flat" cmpd="sng" algn="ctr">
              <a:solidFill>
                <a:srgbClr val="969696"/>
              </a:solidFill>
              <a:prstDash val="dash"/>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459" name="Oval 458"/>
            <p:cNvSpPr/>
            <p:nvPr/>
          </p:nvSpPr>
          <p:spPr bwMode="auto">
            <a:xfrm>
              <a:off x="3376273" y="4614070"/>
              <a:ext cx="389137" cy="375734"/>
            </a:xfrm>
            <a:prstGeom prst="ellipse">
              <a:avLst/>
            </a:prstGeom>
            <a:solidFill>
              <a:schemeClr val="accent3">
                <a:lumMod val="95000"/>
              </a:schemeClr>
            </a:solidFill>
            <a:ln w="9525" cap="flat" cmpd="sng" algn="ctr">
              <a:solidFill>
                <a:srgbClr val="969696"/>
              </a:solidFill>
              <a:prstDash val="dash"/>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460" name="Oval 459"/>
            <p:cNvSpPr/>
            <p:nvPr/>
          </p:nvSpPr>
          <p:spPr bwMode="auto">
            <a:xfrm>
              <a:off x="3500101" y="5310890"/>
              <a:ext cx="389137" cy="375734"/>
            </a:xfrm>
            <a:prstGeom prst="ellipse">
              <a:avLst/>
            </a:prstGeom>
            <a:solidFill>
              <a:schemeClr val="accent3">
                <a:lumMod val="95000"/>
              </a:schemeClr>
            </a:solidFill>
            <a:ln w="9525" cap="flat" cmpd="sng" algn="ctr">
              <a:solidFill>
                <a:srgbClr val="969696"/>
              </a:solidFill>
              <a:prstDash val="dash"/>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461" name="Oval 460"/>
            <p:cNvSpPr/>
            <p:nvPr/>
          </p:nvSpPr>
          <p:spPr bwMode="auto">
            <a:xfrm>
              <a:off x="5900126" y="5354819"/>
              <a:ext cx="389137" cy="375734"/>
            </a:xfrm>
            <a:prstGeom prst="ellipse">
              <a:avLst/>
            </a:prstGeom>
            <a:solidFill>
              <a:schemeClr val="accent3">
                <a:lumMod val="95000"/>
              </a:schemeClr>
            </a:solidFill>
            <a:ln w="9525" cap="flat" cmpd="sng" algn="ctr">
              <a:solidFill>
                <a:srgbClr val="969696"/>
              </a:solidFill>
              <a:prstDash val="dash"/>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462" name="Oval 461"/>
            <p:cNvSpPr/>
            <p:nvPr/>
          </p:nvSpPr>
          <p:spPr bwMode="auto">
            <a:xfrm>
              <a:off x="6017741" y="4643000"/>
              <a:ext cx="389137" cy="375734"/>
            </a:xfrm>
            <a:prstGeom prst="ellipse">
              <a:avLst/>
            </a:prstGeom>
            <a:solidFill>
              <a:schemeClr val="accent3">
                <a:lumMod val="95000"/>
              </a:schemeClr>
            </a:solidFill>
            <a:ln w="9525" cap="flat" cmpd="sng" algn="ctr">
              <a:solidFill>
                <a:srgbClr val="969696"/>
              </a:solidFill>
              <a:prstDash val="dash"/>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463" name="Oval 462"/>
            <p:cNvSpPr/>
            <p:nvPr/>
          </p:nvSpPr>
          <p:spPr bwMode="auto">
            <a:xfrm>
              <a:off x="1930615" y="1812241"/>
              <a:ext cx="389137" cy="375734"/>
            </a:xfrm>
            <a:prstGeom prst="ellipse">
              <a:avLst/>
            </a:prstGeom>
            <a:solidFill>
              <a:schemeClr val="accent3">
                <a:lumMod val="95000"/>
              </a:schemeClr>
            </a:solidFill>
            <a:ln w="9525" cap="flat" cmpd="sng" algn="ctr">
              <a:solidFill>
                <a:srgbClr val="969696"/>
              </a:solidFill>
              <a:prstDash val="dash"/>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464" name="Oval 463"/>
            <p:cNvSpPr/>
            <p:nvPr/>
          </p:nvSpPr>
          <p:spPr bwMode="auto">
            <a:xfrm>
              <a:off x="6864363" y="1945847"/>
              <a:ext cx="174625" cy="180975"/>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465" name="Oval 464"/>
            <p:cNvSpPr/>
            <p:nvPr/>
          </p:nvSpPr>
          <p:spPr bwMode="auto">
            <a:xfrm>
              <a:off x="6907116" y="1991381"/>
              <a:ext cx="89120" cy="91002"/>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466" name="Oval 465"/>
            <p:cNvSpPr/>
            <p:nvPr/>
          </p:nvSpPr>
          <p:spPr bwMode="auto">
            <a:xfrm>
              <a:off x="6962788" y="2276047"/>
              <a:ext cx="174625" cy="180975"/>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467" name="Oval 466"/>
            <p:cNvSpPr/>
            <p:nvPr/>
          </p:nvSpPr>
          <p:spPr bwMode="auto">
            <a:xfrm>
              <a:off x="7005541" y="2321581"/>
              <a:ext cx="89120" cy="91002"/>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468" name="Oval 467"/>
            <p:cNvSpPr/>
            <p:nvPr/>
          </p:nvSpPr>
          <p:spPr bwMode="auto">
            <a:xfrm>
              <a:off x="6854838" y="2633234"/>
              <a:ext cx="176213" cy="180975"/>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469" name="Oval 468"/>
            <p:cNvSpPr/>
            <p:nvPr/>
          </p:nvSpPr>
          <p:spPr bwMode="auto">
            <a:xfrm>
              <a:off x="6897979" y="2678768"/>
              <a:ext cx="89930" cy="91002"/>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470" name="Oval 469"/>
            <p:cNvSpPr/>
            <p:nvPr/>
          </p:nvSpPr>
          <p:spPr bwMode="auto">
            <a:xfrm>
              <a:off x="6434151" y="2266522"/>
              <a:ext cx="176212" cy="180975"/>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471" name="Oval 470"/>
            <p:cNvSpPr/>
            <p:nvPr/>
          </p:nvSpPr>
          <p:spPr bwMode="auto">
            <a:xfrm>
              <a:off x="6477292" y="2312056"/>
              <a:ext cx="89930" cy="91002"/>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472" name="Oval 471"/>
            <p:cNvSpPr/>
            <p:nvPr/>
          </p:nvSpPr>
          <p:spPr bwMode="auto">
            <a:xfrm>
              <a:off x="6996126" y="3050747"/>
              <a:ext cx="174625" cy="179387"/>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473" name="Oval 472"/>
            <p:cNvSpPr/>
            <p:nvPr/>
          </p:nvSpPr>
          <p:spPr bwMode="auto">
            <a:xfrm>
              <a:off x="7038879" y="3095882"/>
              <a:ext cx="89120" cy="90204"/>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474" name="Oval 473"/>
            <p:cNvSpPr/>
            <p:nvPr/>
          </p:nvSpPr>
          <p:spPr bwMode="auto">
            <a:xfrm>
              <a:off x="6597663" y="2896759"/>
              <a:ext cx="174625" cy="180975"/>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475" name="Oval 474"/>
            <p:cNvSpPr/>
            <p:nvPr/>
          </p:nvSpPr>
          <p:spPr bwMode="auto">
            <a:xfrm>
              <a:off x="6640416" y="2942293"/>
              <a:ext cx="89120" cy="91002"/>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476" name="Oval 475"/>
            <p:cNvSpPr/>
            <p:nvPr/>
          </p:nvSpPr>
          <p:spPr bwMode="auto">
            <a:xfrm>
              <a:off x="6208726" y="2877709"/>
              <a:ext cx="176212" cy="179388"/>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477" name="Oval 476"/>
            <p:cNvSpPr/>
            <p:nvPr/>
          </p:nvSpPr>
          <p:spPr bwMode="auto">
            <a:xfrm>
              <a:off x="6251867" y="2922844"/>
              <a:ext cx="89930" cy="90204"/>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478" name="Oval 477"/>
            <p:cNvSpPr/>
            <p:nvPr/>
          </p:nvSpPr>
          <p:spPr bwMode="auto">
            <a:xfrm>
              <a:off x="6518288" y="3219022"/>
              <a:ext cx="176213" cy="179387"/>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479" name="Oval 478"/>
            <p:cNvSpPr/>
            <p:nvPr/>
          </p:nvSpPr>
          <p:spPr bwMode="auto">
            <a:xfrm>
              <a:off x="6561429" y="3264157"/>
              <a:ext cx="89930" cy="90204"/>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480" name="Oval 479"/>
            <p:cNvSpPr/>
            <p:nvPr/>
          </p:nvSpPr>
          <p:spPr bwMode="auto">
            <a:xfrm>
              <a:off x="7007238" y="3571447"/>
              <a:ext cx="174625" cy="179387"/>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prst="relaxedInset"/>
            </a:sp3d>
          </p:spPr>
          <p:txBody>
            <a:bodyPr wrap="none" lIns="0" tIns="0" rIns="0" bIns="0" anchor="ctr"/>
            <a:lstStyle/>
            <a:p>
              <a:pPr algn="ctr" defTabSz="873125" eaLnBrk="0" hangingPunct="0">
                <a:defRPr/>
              </a:pPr>
              <a:endParaRPr lang="en-US" dirty="0">
                <a:cs typeface="Arial" pitchFamily="34" charset="0"/>
              </a:endParaRPr>
            </a:p>
          </p:txBody>
        </p:sp>
        <p:sp>
          <p:nvSpPr>
            <p:cNvPr id="481" name="Oval 480"/>
            <p:cNvSpPr/>
            <p:nvPr/>
          </p:nvSpPr>
          <p:spPr bwMode="auto">
            <a:xfrm>
              <a:off x="7049991" y="3616582"/>
              <a:ext cx="89120" cy="90204"/>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prst="relaxedInset"/>
            </a:sp3d>
          </p:spPr>
          <p:txBody>
            <a:bodyPr wrap="none" lIns="0" tIns="0" rIns="0" bIns="0" anchor="ctr"/>
            <a:lstStyle/>
            <a:p>
              <a:pPr algn="ctr" defTabSz="873125" eaLnBrk="0" hangingPunct="0">
                <a:defRPr/>
              </a:pPr>
              <a:endParaRPr lang="en-US" dirty="0">
                <a:cs typeface="Arial" pitchFamily="34" charset="0"/>
              </a:endParaRPr>
            </a:p>
          </p:txBody>
        </p:sp>
        <p:sp>
          <p:nvSpPr>
            <p:cNvPr id="482" name="Oval 481"/>
            <p:cNvSpPr/>
            <p:nvPr/>
          </p:nvSpPr>
          <p:spPr bwMode="auto">
            <a:xfrm>
              <a:off x="6572263" y="3668284"/>
              <a:ext cx="176213" cy="180975"/>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483" name="Oval 482"/>
            <p:cNvSpPr/>
            <p:nvPr/>
          </p:nvSpPr>
          <p:spPr bwMode="auto">
            <a:xfrm>
              <a:off x="6615404" y="3713818"/>
              <a:ext cx="89930" cy="91002"/>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484" name="Oval 483"/>
            <p:cNvSpPr/>
            <p:nvPr/>
          </p:nvSpPr>
          <p:spPr bwMode="auto">
            <a:xfrm>
              <a:off x="6083313" y="3576209"/>
              <a:ext cx="174625" cy="179388"/>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485" name="Oval 484"/>
            <p:cNvSpPr/>
            <p:nvPr/>
          </p:nvSpPr>
          <p:spPr bwMode="auto">
            <a:xfrm>
              <a:off x="6126066" y="3621344"/>
              <a:ext cx="89120" cy="90204"/>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486" name="Oval 485"/>
            <p:cNvSpPr/>
            <p:nvPr/>
          </p:nvSpPr>
          <p:spPr bwMode="auto">
            <a:xfrm>
              <a:off x="5551501" y="2739597"/>
              <a:ext cx="176212" cy="179387"/>
            </a:xfrm>
            <a:prstGeom prst="ellipse">
              <a:avLst/>
            </a:prstGeom>
            <a:solidFill>
              <a:srgbClr val="33CC33"/>
            </a:solidFill>
            <a:ln w="9525" cap="flat" cmpd="sng" algn="ctr">
              <a:solidFill>
                <a:schemeClr val="tx1">
                  <a:lumMod val="95000"/>
                  <a:lumOff val="5000"/>
                </a:schemeClr>
              </a:solidFill>
              <a:prstDash val="solid"/>
              <a:round/>
              <a:headEnd type="none" w="med" len="med"/>
              <a:tailEnd type="none" w="med" len="med"/>
            </a:ln>
            <a:effectLst/>
            <a:scene3d>
              <a:camera prst="orthographicFront"/>
              <a:lightRig rig="threePt" dir="t"/>
            </a:scene3d>
            <a:sp3d>
              <a:bevelT w="152400" h="50800" prst="softRound"/>
            </a:sp3d>
          </p:spPr>
          <p:txBody>
            <a:bodyPr wrap="none" lIns="0" tIns="0" rIns="0" bIns="0" anchor="ctr"/>
            <a:lstStyle/>
            <a:p>
              <a:pPr algn="ctr" defTabSz="873125" eaLnBrk="0" hangingPunct="0">
                <a:defRPr/>
              </a:pPr>
              <a:endParaRPr lang="en-US" dirty="0">
                <a:cs typeface="Arial" pitchFamily="34" charset="0"/>
              </a:endParaRPr>
            </a:p>
          </p:txBody>
        </p:sp>
        <p:sp>
          <p:nvSpPr>
            <p:cNvPr id="487" name="Oval 486"/>
            <p:cNvSpPr/>
            <p:nvPr/>
          </p:nvSpPr>
          <p:spPr bwMode="auto">
            <a:xfrm>
              <a:off x="5594642" y="2784732"/>
              <a:ext cx="89930" cy="90204"/>
            </a:xfrm>
            <a:prstGeom prst="ellipse">
              <a:avLst/>
            </a:prstGeom>
            <a:solidFill>
              <a:srgbClr val="FF0000"/>
            </a:solidFill>
            <a:ln w="9525" cap="flat" cmpd="sng" algn="ctr">
              <a:solidFill>
                <a:schemeClr val="tx1">
                  <a:lumMod val="95000"/>
                  <a:lumOff val="5000"/>
                </a:schemeClr>
              </a:solidFill>
              <a:prstDash val="solid"/>
              <a:round/>
              <a:headEnd type="none" w="med" len="med"/>
              <a:tailEnd type="none" w="med" len="med"/>
            </a:ln>
            <a:effectLst/>
            <a:scene3d>
              <a:camera prst="orthographicFront"/>
              <a:lightRig rig="threePt" dir="t"/>
            </a:scene3d>
            <a:sp3d>
              <a:bevelT w="152400" h="50800" prst="softRound"/>
            </a:sp3d>
          </p:spPr>
          <p:txBody>
            <a:bodyPr wrap="none" lIns="0" tIns="0" rIns="0" bIns="0" anchor="ctr"/>
            <a:lstStyle/>
            <a:p>
              <a:pPr algn="ctr" defTabSz="873125" eaLnBrk="0" hangingPunct="0">
                <a:defRPr/>
              </a:pPr>
              <a:endParaRPr lang="en-US" dirty="0">
                <a:cs typeface="Arial" pitchFamily="34" charset="0"/>
              </a:endParaRPr>
            </a:p>
          </p:txBody>
        </p:sp>
        <p:sp>
          <p:nvSpPr>
            <p:cNvPr id="488" name="Rounded Rectangle 487"/>
            <p:cNvSpPr/>
            <p:nvPr/>
          </p:nvSpPr>
          <p:spPr bwMode="auto">
            <a:xfrm>
              <a:off x="4154909" y="2870561"/>
              <a:ext cx="220772" cy="196066"/>
            </a:xfrm>
            <a:prstGeom prst="roundRect">
              <a:avLst/>
            </a:prstGeom>
            <a:solidFill>
              <a:srgbClr val="FFC000"/>
            </a:solidFill>
            <a:ln w="9525" cap="flat" cmpd="sng" algn="ctr">
              <a:solidFill>
                <a:srgbClr val="969696"/>
              </a:solidFill>
              <a:prstDash val="solid"/>
              <a:round/>
              <a:headEnd type="none" w="med" len="med"/>
              <a:tailEnd type="none" w="med" len="med"/>
            </a:ln>
            <a:effectLst/>
            <a:scene3d>
              <a:camera prst="orthographicFront"/>
              <a:lightRig rig="threePt" dir="t"/>
            </a:scene3d>
            <a:sp3d>
              <a:bevelT prst="relaxedInset"/>
            </a:sp3d>
          </p:spPr>
          <p:txBody>
            <a:bodyPr wrap="none" lIns="0" tIns="0" rIns="0" bIns="0" anchor="ctr"/>
            <a:lstStyle/>
            <a:p>
              <a:pPr algn="ctr" defTabSz="873125" eaLnBrk="0" hangingPunct="0">
                <a:defRPr/>
              </a:pPr>
              <a:endParaRPr lang="en-US" dirty="0">
                <a:cs typeface="Arial" pitchFamily="34" charset="0"/>
              </a:endParaRPr>
            </a:p>
          </p:txBody>
        </p:sp>
        <p:cxnSp>
          <p:nvCxnSpPr>
            <p:cNvPr id="489" name="Straight Connector 86"/>
            <p:cNvCxnSpPr>
              <a:cxnSpLocks noChangeShapeType="1"/>
            </p:cNvCxnSpPr>
            <p:nvPr/>
          </p:nvCxnSpPr>
          <p:spPr bwMode="auto">
            <a:xfrm rot="10800000">
              <a:off x="6610363" y="2357009"/>
              <a:ext cx="352425" cy="9525"/>
            </a:xfrm>
            <a:prstGeom prst="line">
              <a:avLst/>
            </a:prstGeom>
            <a:noFill/>
            <a:ln w="9525" algn="ctr">
              <a:solidFill>
                <a:srgbClr val="969696"/>
              </a:solidFill>
              <a:round/>
              <a:headEnd/>
              <a:tailEnd/>
            </a:ln>
          </p:spPr>
        </p:cxnSp>
        <p:cxnSp>
          <p:nvCxnSpPr>
            <p:cNvPr id="490" name="Straight Connector 88"/>
            <p:cNvCxnSpPr>
              <a:cxnSpLocks noChangeShapeType="1"/>
            </p:cNvCxnSpPr>
            <p:nvPr/>
          </p:nvCxnSpPr>
          <p:spPr bwMode="auto">
            <a:xfrm rot="10800000">
              <a:off x="6583376" y="2420509"/>
              <a:ext cx="271462" cy="303213"/>
            </a:xfrm>
            <a:prstGeom prst="line">
              <a:avLst/>
            </a:prstGeom>
            <a:noFill/>
            <a:ln w="9525" algn="ctr">
              <a:solidFill>
                <a:srgbClr val="969696"/>
              </a:solidFill>
              <a:round/>
              <a:headEnd/>
              <a:tailEnd/>
            </a:ln>
          </p:spPr>
        </p:cxnSp>
        <p:cxnSp>
          <p:nvCxnSpPr>
            <p:cNvPr id="491" name="Straight Connector 97"/>
            <p:cNvCxnSpPr>
              <a:cxnSpLocks noChangeShapeType="1"/>
            </p:cNvCxnSpPr>
            <p:nvPr/>
          </p:nvCxnSpPr>
          <p:spPr bwMode="auto">
            <a:xfrm rot="16200000" flipV="1">
              <a:off x="6852457" y="2907078"/>
              <a:ext cx="88900" cy="249238"/>
            </a:xfrm>
            <a:prstGeom prst="line">
              <a:avLst/>
            </a:prstGeom>
            <a:noFill/>
            <a:ln w="9525" algn="ctr">
              <a:solidFill>
                <a:srgbClr val="969696"/>
              </a:solidFill>
              <a:round/>
              <a:headEnd/>
              <a:tailEnd/>
            </a:ln>
          </p:spPr>
        </p:cxnSp>
        <p:cxnSp>
          <p:nvCxnSpPr>
            <p:cNvPr id="492" name="Straight Connector 101"/>
            <p:cNvCxnSpPr>
              <a:cxnSpLocks noChangeShapeType="1"/>
            </p:cNvCxnSpPr>
            <p:nvPr/>
          </p:nvCxnSpPr>
          <p:spPr bwMode="auto">
            <a:xfrm rot="10800000">
              <a:off x="6384938" y="2968197"/>
              <a:ext cx="212725" cy="19050"/>
            </a:xfrm>
            <a:prstGeom prst="line">
              <a:avLst/>
            </a:prstGeom>
            <a:noFill/>
            <a:ln w="9525" algn="ctr">
              <a:solidFill>
                <a:srgbClr val="969696"/>
              </a:solidFill>
              <a:round/>
              <a:headEnd/>
              <a:tailEnd/>
            </a:ln>
          </p:spPr>
        </p:cxnSp>
        <p:cxnSp>
          <p:nvCxnSpPr>
            <p:cNvPr id="493" name="Straight Connector 104"/>
            <p:cNvCxnSpPr>
              <a:cxnSpLocks noChangeShapeType="1"/>
            </p:cNvCxnSpPr>
            <p:nvPr/>
          </p:nvCxnSpPr>
          <p:spPr bwMode="auto">
            <a:xfrm rot="16200000" flipV="1">
              <a:off x="6346044" y="3045191"/>
              <a:ext cx="212725" cy="185738"/>
            </a:xfrm>
            <a:prstGeom prst="line">
              <a:avLst/>
            </a:prstGeom>
            <a:noFill/>
            <a:ln w="9525" algn="ctr">
              <a:solidFill>
                <a:srgbClr val="969696"/>
              </a:solidFill>
              <a:round/>
              <a:headEnd/>
              <a:tailEnd/>
            </a:ln>
          </p:spPr>
        </p:cxnSp>
        <p:cxnSp>
          <p:nvCxnSpPr>
            <p:cNvPr id="494" name="Straight Connector 106"/>
            <p:cNvCxnSpPr>
              <a:cxnSpLocks noChangeShapeType="1"/>
            </p:cNvCxnSpPr>
            <p:nvPr/>
          </p:nvCxnSpPr>
          <p:spPr bwMode="auto">
            <a:xfrm rot="10800000" flipV="1">
              <a:off x="6748476" y="3661934"/>
              <a:ext cx="258762" cy="96838"/>
            </a:xfrm>
            <a:prstGeom prst="line">
              <a:avLst/>
            </a:prstGeom>
            <a:noFill/>
            <a:ln w="9525" algn="ctr">
              <a:solidFill>
                <a:srgbClr val="969696"/>
              </a:solidFill>
              <a:round/>
              <a:headEnd/>
              <a:tailEnd/>
            </a:ln>
          </p:spPr>
        </p:cxnSp>
        <p:sp>
          <p:nvSpPr>
            <p:cNvPr id="495" name="Oval 494"/>
            <p:cNvSpPr/>
            <p:nvPr/>
          </p:nvSpPr>
          <p:spPr bwMode="auto">
            <a:xfrm>
              <a:off x="3980284" y="3455559"/>
              <a:ext cx="174625" cy="179387"/>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496" name="Oval 495"/>
            <p:cNvSpPr/>
            <p:nvPr/>
          </p:nvSpPr>
          <p:spPr bwMode="auto">
            <a:xfrm>
              <a:off x="4023037" y="3500694"/>
              <a:ext cx="89120" cy="90204"/>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497" name="TextBox 127"/>
            <p:cNvSpPr txBox="1">
              <a:spLocks noChangeArrowheads="1"/>
            </p:cNvSpPr>
            <p:nvPr/>
          </p:nvSpPr>
          <p:spPr bwMode="auto">
            <a:xfrm>
              <a:off x="4265296" y="2673325"/>
              <a:ext cx="739775" cy="214312"/>
            </a:xfrm>
            <a:prstGeom prst="rect">
              <a:avLst/>
            </a:prstGeom>
            <a:noFill/>
            <a:ln w="9525">
              <a:noFill/>
              <a:miter lim="800000"/>
              <a:headEnd/>
              <a:tailEnd/>
            </a:ln>
          </p:spPr>
          <p:txBody>
            <a:bodyPr wrap="none">
              <a:spAutoFit/>
            </a:bodyPr>
            <a:lstStyle/>
            <a:p>
              <a:pPr>
                <a:spcBef>
                  <a:spcPct val="50000"/>
                </a:spcBef>
              </a:pPr>
              <a:r>
                <a:rPr lang="en-US" sz="800" b="1" i="0" smtClean="0">
                  <a:latin typeface="Calibri" pitchFamily="34" charset="0"/>
                </a:rPr>
                <a:t>BSC-RNC Site</a:t>
              </a:r>
              <a:endParaRPr lang="en-US" sz="800" b="1" i="0" dirty="0">
                <a:latin typeface="Calibri" pitchFamily="34" charset="0"/>
              </a:endParaRPr>
            </a:p>
          </p:txBody>
        </p:sp>
        <p:sp>
          <p:nvSpPr>
            <p:cNvPr id="498" name="TextBox 131"/>
            <p:cNvSpPr txBox="1">
              <a:spLocks noChangeArrowheads="1"/>
            </p:cNvSpPr>
            <p:nvPr/>
          </p:nvSpPr>
          <p:spPr bwMode="auto">
            <a:xfrm>
              <a:off x="5351476" y="2495122"/>
              <a:ext cx="568325" cy="215900"/>
            </a:xfrm>
            <a:prstGeom prst="rect">
              <a:avLst/>
            </a:prstGeom>
            <a:noFill/>
            <a:ln w="9525">
              <a:noFill/>
              <a:miter lim="800000"/>
              <a:headEnd/>
              <a:tailEnd/>
            </a:ln>
          </p:spPr>
          <p:txBody>
            <a:bodyPr wrap="none">
              <a:spAutoFit/>
            </a:bodyPr>
            <a:lstStyle/>
            <a:p>
              <a:pPr>
                <a:spcBef>
                  <a:spcPct val="50000"/>
                </a:spcBef>
              </a:pPr>
              <a:r>
                <a:rPr lang="en-US" sz="800" b="1" i="0" smtClean="0">
                  <a:latin typeface="Calibri" pitchFamily="34" charset="0"/>
                </a:rPr>
                <a:t>POP MW</a:t>
              </a:r>
              <a:endParaRPr lang="en-US" sz="800" b="1" i="0" dirty="0">
                <a:latin typeface="Calibri" pitchFamily="34" charset="0"/>
              </a:endParaRPr>
            </a:p>
          </p:txBody>
        </p:sp>
        <p:grpSp>
          <p:nvGrpSpPr>
            <p:cNvPr id="499" name="Group 48"/>
            <p:cNvGrpSpPr>
              <a:grpSpLocks/>
            </p:cNvGrpSpPr>
            <p:nvPr/>
          </p:nvGrpSpPr>
          <p:grpSpPr bwMode="auto">
            <a:xfrm flipH="1">
              <a:off x="1626282" y="1603350"/>
              <a:ext cx="174625" cy="180975"/>
              <a:chOff x="8053381" y="4195958"/>
              <a:chExt cx="228600" cy="228600"/>
            </a:xfrm>
          </p:grpSpPr>
          <p:sp>
            <p:nvSpPr>
              <p:cNvPr id="633" name="Oval 632"/>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634" name="Oval 633"/>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500" name="Group 49"/>
            <p:cNvGrpSpPr>
              <a:grpSpLocks/>
            </p:cNvGrpSpPr>
            <p:nvPr/>
          </p:nvGrpSpPr>
          <p:grpSpPr bwMode="auto">
            <a:xfrm flipH="1">
              <a:off x="1527857" y="1933550"/>
              <a:ext cx="174625" cy="180975"/>
              <a:chOff x="8053381" y="4195958"/>
              <a:chExt cx="228600" cy="228600"/>
            </a:xfrm>
          </p:grpSpPr>
          <p:sp>
            <p:nvSpPr>
              <p:cNvPr id="631" name="Oval 630"/>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632" name="Oval 631"/>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501" name="Group 52"/>
            <p:cNvGrpSpPr>
              <a:grpSpLocks/>
            </p:cNvGrpSpPr>
            <p:nvPr/>
          </p:nvGrpSpPr>
          <p:grpSpPr bwMode="auto">
            <a:xfrm flipH="1">
              <a:off x="1634219" y="2290737"/>
              <a:ext cx="176213" cy="180975"/>
              <a:chOff x="8053381" y="4195958"/>
              <a:chExt cx="228600" cy="228600"/>
            </a:xfrm>
          </p:grpSpPr>
          <p:sp>
            <p:nvSpPr>
              <p:cNvPr id="629" name="Oval 628"/>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630" name="Oval 629"/>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502" name="Group 55"/>
            <p:cNvGrpSpPr>
              <a:grpSpLocks/>
            </p:cNvGrpSpPr>
            <p:nvPr/>
          </p:nvGrpSpPr>
          <p:grpSpPr bwMode="auto">
            <a:xfrm flipH="1">
              <a:off x="2054907" y="1924025"/>
              <a:ext cx="176212" cy="180975"/>
              <a:chOff x="8053381" y="4195958"/>
              <a:chExt cx="228600" cy="228600"/>
            </a:xfrm>
          </p:grpSpPr>
          <p:sp>
            <p:nvSpPr>
              <p:cNvPr id="627" name="Oval 626"/>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628" name="Oval 627"/>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503" name="Group 58"/>
            <p:cNvGrpSpPr>
              <a:grpSpLocks/>
            </p:cNvGrpSpPr>
            <p:nvPr/>
          </p:nvGrpSpPr>
          <p:grpSpPr bwMode="auto">
            <a:xfrm flipH="1">
              <a:off x="1494519" y="2708250"/>
              <a:ext cx="174625" cy="179387"/>
              <a:chOff x="8053381" y="4195958"/>
              <a:chExt cx="228600" cy="228600"/>
            </a:xfrm>
          </p:grpSpPr>
          <p:sp>
            <p:nvSpPr>
              <p:cNvPr id="625" name="Oval 624"/>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626" name="Oval 625"/>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504" name="Group 61"/>
            <p:cNvGrpSpPr>
              <a:grpSpLocks/>
            </p:cNvGrpSpPr>
            <p:nvPr/>
          </p:nvGrpSpPr>
          <p:grpSpPr bwMode="auto">
            <a:xfrm flipH="1">
              <a:off x="1892982" y="2554262"/>
              <a:ext cx="174625" cy="180975"/>
              <a:chOff x="8053381" y="4195958"/>
              <a:chExt cx="228600" cy="228600"/>
            </a:xfrm>
          </p:grpSpPr>
          <p:sp>
            <p:nvSpPr>
              <p:cNvPr id="623" name="Oval 622"/>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624" name="Oval 623"/>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505" name="Group 64"/>
            <p:cNvGrpSpPr>
              <a:grpSpLocks/>
            </p:cNvGrpSpPr>
            <p:nvPr/>
          </p:nvGrpSpPr>
          <p:grpSpPr bwMode="auto">
            <a:xfrm flipH="1">
              <a:off x="2280332" y="2535212"/>
              <a:ext cx="176212" cy="179388"/>
              <a:chOff x="8053381" y="4195958"/>
              <a:chExt cx="228600" cy="228600"/>
            </a:xfrm>
          </p:grpSpPr>
          <p:sp>
            <p:nvSpPr>
              <p:cNvPr id="621" name="Oval 620"/>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622" name="Oval 621"/>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506" name="Group 67"/>
            <p:cNvGrpSpPr>
              <a:grpSpLocks/>
            </p:cNvGrpSpPr>
            <p:nvPr/>
          </p:nvGrpSpPr>
          <p:grpSpPr bwMode="auto">
            <a:xfrm flipH="1">
              <a:off x="1970769" y="2876525"/>
              <a:ext cx="176213" cy="179387"/>
              <a:chOff x="8053381" y="4195958"/>
              <a:chExt cx="228600" cy="228600"/>
            </a:xfrm>
          </p:grpSpPr>
          <p:sp>
            <p:nvSpPr>
              <p:cNvPr id="619" name="Oval 618"/>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620" name="Oval 619"/>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507" name="Group 344"/>
            <p:cNvGrpSpPr>
              <a:grpSpLocks/>
            </p:cNvGrpSpPr>
            <p:nvPr/>
          </p:nvGrpSpPr>
          <p:grpSpPr bwMode="auto">
            <a:xfrm flipH="1">
              <a:off x="1483407" y="3228950"/>
              <a:ext cx="174625" cy="179387"/>
              <a:chOff x="8053381" y="4195958"/>
              <a:chExt cx="228600" cy="228600"/>
            </a:xfrm>
          </p:grpSpPr>
          <p:sp>
            <p:nvSpPr>
              <p:cNvPr id="617" name="Oval 616"/>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prst="relaxedInset"/>
              </a:sp3d>
            </p:spPr>
            <p:txBody>
              <a:bodyPr wrap="none" lIns="0" tIns="0" rIns="0" bIns="0" anchor="ctr"/>
              <a:lstStyle/>
              <a:p>
                <a:pPr algn="ctr" defTabSz="873125" eaLnBrk="0" hangingPunct="0">
                  <a:defRPr/>
                </a:pPr>
                <a:endParaRPr lang="en-US" dirty="0">
                  <a:cs typeface="Arial" pitchFamily="34" charset="0"/>
                </a:endParaRPr>
              </a:p>
            </p:txBody>
          </p:sp>
          <p:sp>
            <p:nvSpPr>
              <p:cNvPr id="618" name="Oval 617"/>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prst="relaxedInse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508" name="Group 73"/>
            <p:cNvGrpSpPr>
              <a:grpSpLocks/>
            </p:cNvGrpSpPr>
            <p:nvPr/>
          </p:nvGrpSpPr>
          <p:grpSpPr bwMode="auto">
            <a:xfrm flipH="1">
              <a:off x="1916794" y="3325787"/>
              <a:ext cx="176213" cy="180975"/>
              <a:chOff x="8053381" y="4195958"/>
              <a:chExt cx="228600" cy="228600"/>
            </a:xfrm>
          </p:grpSpPr>
          <p:sp>
            <p:nvSpPr>
              <p:cNvPr id="615" name="Oval 614"/>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616" name="Oval 615"/>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509" name="Group 76"/>
            <p:cNvGrpSpPr>
              <a:grpSpLocks/>
            </p:cNvGrpSpPr>
            <p:nvPr/>
          </p:nvGrpSpPr>
          <p:grpSpPr bwMode="auto">
            <a:xfrm flipH="1">
              <a:off x="2407332" y="3233712"/>
              <a:ext cx="174625" cy="179388"/>
              <a:chOff x="8053381" y="4195958"/>
              <a:chExt cx="228600" cy="228600"/>
            </a:xfrm>
          </p:grpSpPr>
          <p:sp>
            <p:nvSpPr>
              <p:cNvPr id="613" name="Oval 612"/>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614" name="Oval 613"/>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510" name="Group 79"/>
            <p:cNvGrpSpPr>
              <a:grpSpLocks/>
            </p:cNvGrpSpPr>
            <p:nvPr/>
          </p:nvGrpSpPr>
          <p:grpSpPr bwMode="auto">
            <a:xfrm flipH="1">
              <a:off x="2937557" y="2397100"/>
              <a:ext cx="176212" cy="179387"/>
              <a:chOff x="8053381" y="4195958"/>
              <a:chExt cx="228600" cy="228600"/>
            </a:xfrm>
          </p:grpSpPr>
          <p:sp>
            <p:nvSpPr>
              <p:cNvPr id="611" name="Oval 610"/>
              <p:cNvSpPr/>
              <p:nvPr/>
            </p:nvSpPr>
            <p:spPr bwMode="auto">
              <a:xfrm>
                <a:off x="8053381" y="4195958"/>
                <a:ext cx="228600" cy="228600"/>
              </a:xfrm>
              <a:prstGeom prst="ellipse">
                <a:avLst/>
              </a:prstGeom>
              <a:solidFill>
                <a:srgbClr val="33CC33"/>
              </a:solidFill>
              <a:ln w="9525" cap="flat" cmpd="sng" algn="ctr">
                <a:solidFill>
                  <a:schemeClr val="tx1">
                    <a:lumMod val="95000"/>
                    <a:lumOff val="5000"/>
                  </a:schemeClr>
                </a:solidFill>
                <a:prstDash val="solid"/>
                <a:round/>
                <a:headEnd type="none" w="med" len="med"/>
                <a:tailEnd type="none" w="med" len="med"/>
              </a:ln>
              <a:effectLst/>
              <a:scene3d>
                <a:camera prst="orthographicFront"/>
                <a:lightRig rig="threePt" dir="t"/>
              </a:scene3d>
              <a:sp3d>
                <a:bevelT w="152400" h="50800" prst="softRound"/>
              </a:sp3d>
            </p:spPr>
            <p:txBody>
              <a:bodyPr wrap="none" lIns="0" tIns="0" rIns="0" bIns="0" anchor="ctr"/>
              <a:lstStyle/>
              <a:p>
                <a:pPr algn="ctr" defTabSz="873125" eaLnBrk="0" hangingPunct="0">
                  <a:defRPr/>
                </a:pPr>
                <a:endParaRPr lang="en-US" dirty="0">
                  <a:cs typeface="Arial" pitchFamily="34" charset="0"/>
                </a:endParaRPr>
              </a:p>
            </p:txBody>
          </p:sp>
          <p:sp>
            <p:nvSpPr>
              <p:cNvPr id="612" name="Oval 611"/>
              <p:cNvSpPr/>
              <p:nvPr/>
            </p:nvSpPr>
            <p:spPr bwMode="auto">
              <a:xfrm>
                <a:off x="8109348" y="4253475"/>
                <a:ext cx="116666" cy="114950"/>
              </a:xfrm>
              <a:prstGeom prst="ellipse">
                <a:avLst/>
              </a:prstGeom>
              <a:solidFill>
                <a:srgbClr val="FF0000"/>
              </a:solidFill>
              <a:ln w="9525" cap="flat" cmpd="sng" algn="ctr">
                <a:solidFill>
                  <a:schemeClr val="tx1">
                    <a:lumMod val="95000"/>
                    <a:lumOff val="5000"/>
                  </a:schemeClr>
                </a:solidFill>
                <a:prstDash val="solid"/>
                <a:round/>
                <a:headEnd type="none" w="med" len="med"/>
                <a:tailEnd type="none" w="med" len="med"/>
              </a:ln>
              <a:effectLst/>
              <a:scene3d>
                <a:camera prst="orthographicFront"/>
                <a:lightRig rig="threePt" dir="t"/>
              </a:scene3d>
              <a:sp3d>
                <a:bevelT w="152400" h="50800" prst="softRound"/>
              </a:sp3d>
            </p:spPr>
            <p:txBody>
              <a:bodyPr wrap="none" lIns="0" tIns="0" rIns="0" bIns="0" anchor="ctr"/>
              <a:lstStyle/>
              <a:p>
                <a:pPr algn="ctr" defTabSz="873125" eaLnBrk="0" hangingPunct="0">
                  <a:defRPr/>
                </a:pPr>
                <a:endParaRPr lang="en-US" dirty="0">
                  <a:cs typeface="Arial" pitchFamily="34" charset="0"/>
                </a:endParaRPr>
              </a:p>
            </p:txBody>
          </p:sp>
        </p:grpSp>
        <p:cxnSp>
          <p:nvCxnSpPr>
            <p:cNvPr id="511" name="Straight Connector 84"/>
            <p:cNvCxnSpPr>
              <a:cxnSpLocks noChangeShapeType="1"/>
            </p:cNvCxnSpPr>
            <p:nvPr/>
          </p:nvCxnSpPr>
          <p:spPr bwMode="auto">
            <a:xfrm rot="16200000" flipH="1">
              <a:off x="1831863" y="1700981"/>
              <a:ext cx="193675" cy="306387"/>
            </a:xfrm>
            <a:prstGeom prst="line">
              <a:avLst/>
            </a:prstGeom>
            <a:noFill/>
            <a:ln w="9525" algn="ctr">
              <a:solidFill>
                <a:srgbClr val="969696"/>
              </a:solidFill>
              <a:round/>
              <a:headEnd/>
              <a:tailEnd/>
            </a:ln>
          </p:spPr>
        </p:cxnSp>
        <p:cxnSp>
          <p:nvCxnSpPr>
            <p:cNvPr id="512" name="Straight Connector 86"/>
            <p:cNvCxnSpPr>
              <a:cxnSpLocks noChangeShapeType="1"/>
            </p:cNvCxnSpPr>
            <p:nvPr/>
          </p:nvCxnSpPr>
          <p:spPr bwMode="auto">
            <a:xfrm rot="10800000" flipH="1">
              <a:off x="1702482" y="2014512"/>
              <a:ext cx="352425" cy="9525"/>
            </a:xfrm>
            <a:prstGeom prst="line">
              <a:avLst/>
            </a:prstGeom>
            <a:noFill/>
            <a:ln w="9525" algn="ctr">
              <a:solidFill>
                <a:srgbClr val="969696"/>
              </a:solidFill>
              <a:round/>
              <a:headEnd/>
              <a:tailEnd/>
            </a:ln>
          </p:spPr>
        </p:cxnSp>
        <p:cxnSp>
          <p:nvCxnSpPr>
            <p:cNvPr id="513" name="Straight Connector 88"/>
            <p:cNvCxnSpPr>
              <a:cxnSpLocks noChangeShapeType="1"/>
            </p:cNvCxnSpPr>
            <p:nvPr/>
          </p:nvCxnSpPr>
          <p:spPr bwMode="auto">
            <a:xfrm rot="10800000" flipH="1">
              <a:off x="1810432" y="2078012"/>
              <a:ext cx="271462" cy="303213"/>
            </a:xfrm>
            <a:prstGeom prst="line">
              <a:avLst/>
            </a:prstGeom>
            <a:noFill/>
            <a:ln w="9525" algn="ctr">
              <a:solidFill>
                <a:srgbClr val="969696"/>
              </a:solidFill>
              <a:round/>
              <a:headEnd/>
              <a:tailEnd/>
            </a:ln>
          </p:spPr>
        </p:cxnSp>
        <p:cxnSp>
          <p:nvCxnSpPr>
            <p:cNvPr id="514" name="Straight Connector 97"/>
            <p:cNvCxnSpPr>
              <a:cxnSpLocks noChangeShapeType="1"/>
            </p:cNvCxnSpPr>
            <p:nvPr/>
          </p:nvCxnSpPr>
          <p:spPr bwMode="auto">
            <a:xfrm rot="5400000" flipH="1" flipV="1">
              <a:off x="1723913" y="2564581"/>
              <a:ext cx="88900" cy="249238"/>
            </a:xfrm>
            <a:prstGeom prst="line">
              <a:avLst/>
            </a:prstGeom>
            <a:noFill/>
            <a:ln w="9525" algn="ctr">
              <a:solidFill>
                <a:srgbClr val="969696"/>
              </a:solidFill>
              <a:round/>
              <a:headEnd/>
              <a:tailEnd/>
            </a:ln>
          </p:spPr>
        </p:cxnSp>
        <p:cxnSp>
          <p:nvCxnSpPr>
            <p:cNvPr id="515" name="Straight Connector 101"/>
            <p:cNvCxnSpPr>
              <a:cxnSpLocks noChangeShapeType="1"/>
            </p:cNvCxnSpPr>
            <p:nvPr/>
          </p:nvCxnSpPr>
          <p:spPr bwMode="auto">
            <a:xfrm rot="10800000" flipH="1">
              <a:off x="2067607" y="2625700"/>
              <a:ext cx="212725" cy="19050"/>
            </a:xfrm>
            <a:prstGeom prst="line">
              <a:avLst/>
            </a:prstGeom>
            <a:noFill/>
            <a:ln w="9525" algn="ctr">
              <a:solidFill>
                <a:srgbClr val="969696"/>
              </a:solidFill>
              <a:round/>
              <a:headEnd/>
              <a:tailEnd/>
            </a:ln>
          </p:spPr>
        </p:cxnSp>
        <p:cxnSp>
          <p:nvCxnSpPr>
            <p:cNvPr id="516" name="Straight Connector 106"/>
            <p:cNvCxnSpPr>
              <a:cxnSpLocks noChangeShapeType="1"/>
            </p:cNvCxnSpPr>
            <p:nvPr/>
          </p:nvCxnSpPr>
          <p:spPr bwMode="auto">
            <a:xfrm rot="10800000" flipH="1" flipV="1">
              <a:off x="1658032" y="3319437"/>
              <a:ext cx="258762" cy="96838"/>
            </a:xfrm>
            <a:prstGeom prst="line">
              <a:avLst/>
            </a:prstGeom>
            <a:noFill/>
            <a:ln w="9525" algn="ctr">
              <a:solidFill>
                <a:srgbClr val="969696"/>
              </a:solidFill>
              <a:round/>
              <a:headEnd/>
              <a:tailEnd/>
            </a:ln>
          </p:spPr>
        </p:cxnSp>
        <p:cxnSp>
          <p:nvCxnSpPr>
            <p:cNvPr id="517" name="Straight Connector 108"/>
            <p:cNvCxnSpPr>
              <a:cxnSpLocks noChangeShapeType="1"/>
            </p:cNvCxnSpPr>
            <p:nvPr/>
          </p:nvCxnSpPr>
          <p:spPr bwMode="auto">
            <a:xfrm rot="10800000" flipH="1">
              <a:off x="2093007" y="3322612"/>
              <a:ext cx="314325" cy="93663"/>
            </a:xfrm>
            <a:prstGeom prst="line">
              <a:avLst/>
            </a:prstGeom>
            <a:noFill/>
            <a:ln w="9525" algn="ctr">
              <a:solidFill>
                <a:srgbClr val="969696"/>
              </a:solidFill>
              <a:round/>
              <a:headEnd/>
              <a:tailEnd/>
            </a:ln>
          </p:spPr>
        </p:cxnSp>
        <p:sp>
          <p:nvSpPr>
            <p:cNvPr id="518" name="TextBox 131"/>
            <p:cNvSpPr txBox="1">
              <a:spLocks noChangeArrowheads="1"/>
            </p:cNvSpPr>
            <p:nvPr/>
          </p:nvSpPr>
          <p:spPr bwMode="auto">
            <a:xfrm flipH="1">
              <a:off x="2892402" y="2152625"/>
              <a:ext cx="568325" cy="215900"/>
            </a:xfrm>
            <a:prstGeom prst="rect">
              <a:avLst/>
            </a:prstGeom>
            <a:noFill/>
            <a:ln w="9525">
              <a:noFill/>
              <a:miter lim="800000"/>
              <a:headEnd/>
              <a:tailEnd/>
            </a:ln>
          </p:spPr>
          <p:txBody>
            <a:bodyPr wrap="none">
              <a:spAutoFit/>
            </a:bodyPr>
            <a:lstStyle/>
            <a:p>
              <a:pPr>
                <a:spcBef>
                  <a:spcPct val="50000"/>
                </a:spcBef>
              </a:pPr>
              <a:r>
                <a:rPr lang="en-US" sz="800" b="1" i="0" smtClean="0">
                  <a:latin typeface="Calibri" pitchFamily="34" charset="0"/>
                </a:rPr>
                <a:t>POP MW</a:t>
              </a:r>
              <a:endParaRPr lang="en-US" sz="800" b="1" i="0" dirty="0">
                <a:latin typeface="Calibri" pitchFamily="34" charset="0"/>
              </a:endParaRPr>
            </a:p>
          </p:txBody>
        </p:sp>
        <p:sp>
          <p:nvSpPr>
            <p:cNvPr id="519" name="Oval 518"/>
            <p:cNvSpPr/>
            <p:nvPr/>
          </p:nvSpPr>
          <p:spPr bwMode="auto">
            <a:xfrm flipH="1">
              <a:off x="1962148" y="3870301"/>
              <a:ext cx="174625" cy="180975"/>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20" name="Oval 519"/>
            <p:cNvSpPr/>
            <p:nvPr/>
          </p:nvSpPr>
          <p:spPr bwMode="auto">
            <a:xfrm flipH="1">
              <a:off x="2004901" y="3915835"/>
              <a:ext cx="89120" cy="91002"/>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21" name="Oval 520"/>
            <p:cNvSpPr/>
            <p:nvPr/>
          </p:nvSpPr>
          <p:spPr bwMode="auto">
            <a:xfrm flipH="1">
              <a:off x="1863723" y="4200501"/>
              <a:ext cx="174625" cy="180975"/>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22" name="Oval 521"/>
            <p:cNvSpPr/>
            <p:nvPr/>
          </p:nvSpPr>
          <p:spPr bwMode="auto">
            <a:xfrm flipH="1">
              <a:off x="1906476" y="4246035"/>
              <a:ext cx="89120" cy="91002"/>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23" name="Oval 522"/>
            <p:cNvSpPr/>
            <p:nvPr/>
          </p:nvSpPr>
          <p:spPr bwMode="auto">
            <a:xfrm flipH="1">
              <a:off x="1970085" y="4557688"/>
              <a:ext cx="176213" cy="180975"/>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24" name="Oval 523"/>
            <p:cNvSpPr/>
            <p:nvPr/>
          </p:nvSpPr>
          <p:spPr bwMode="auto">
            <a:xfrm flipH="1">
              <a:off x="2013226" y="4603222"/>
              <a:ext cx="89930" cy="91002"/>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25" name="Oval 524"/>
            <p:cNvSpPr/>
            <p:nvPr/>
          </p:nvSpPr>
          <p:spPr bwMode="auto">
            <a:xfrm flipH="1">
              <a:off x="2390773" y="4190976"/>
              <a:ext cx="176212" cy="180975"/>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26" name="Oval 525"/>
            <p:cNvSpPr/>
            <p:nvPr/>
          </p:nvSpPr>
          <p:spPr bwMode="auto">
            <a:xfrm flipH="1">
              <a:off x="2433914" y="4236510"/>
              <a:ext cx="89930" cy="91002"/>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27" name="Oval 526"/>
            <p:cNvSpPr/>
            <p:nvPr/>
          </p:nvSpPr>
          <p:spPr bwMode="auto">
            <a:xfrm flipH="1">
              <a:off x="2706697" y="4900595"/>
              <a:ext cx="174625" cy="179387"/>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28" name="Oval 527"/>
            <p:cNvSpPr/>
            <p:nvPr/>
          </p:nvSpPr>
          <p:spPr bwMode="auto">
            <a:xfrm flipH="1">
              <a:off x="2749450" y="4945730"/>
              <a:ext cx="89120" cy="90204"/>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29" name="Oval 528"/>
            <p:cNvSpPr/>
            <p:nvPr/>
          </p:nvSpPr>
          <p:spPr bwMode="auto">
            <a:xfrm flipH="1">
              <a:off x="3105160" y="4746607"/>
              <a:ext cx="174625" cy="180975"/>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30" name="Oval 529"/>
            <p:cNvSpPr/>
            <p:nvPr/>
          </p:nvSpPr>
          <p:spPr bwMode="auto">
            <a:xfrm flipH="1">
              <a:off x="3147913" y="4792141"/>
              <a:ext cx="89120" cy="91002"/>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31" name="Oval 530"/>
            <p:cNvSpPr/>
            <p:nvPr/>
          </p:nvSpPr>
          <p:spPr bwMode="auto">
            <a:xfrm flipH="1">
              <a:off x="3492510" y="4727557"/>
              <a:ext cx="176212" cy="179388"/>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32" name="Oval 531"/>
            <p:cNvSpPr/>
            <p:nvPr/>
          </p:nvSpPr>
          <p:spPr bwMode="auto">
            <a:xfrm flipH="1">
              <a:off x="3535651" y="4772692"/>
              <a:ext cx="89930" cy="90204"/>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33" name="Oval 532"/>
            <p:cNvSpPr/>
            <p:nvPr/>
          </p:nvSpPr>
          <p:spPr bwMode="auto">
            <a:xfrm flipH="1">
              <a:off x="3182947" y="5068870"/>
              <a:ext cx="176213" cy="179387"/>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34" name="Oval 533"/>
            <p:cNvSpPr/>
            <p:nvPr/>
          </p:nvSpPr>
          <p:spPr bwMode="auto">
            <a:xfrm flipH="1">
              <a:off x="3226088" y="5114005"/>
              <a:ext cx="89930" cy="90204"/>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35" name="Oval 534"/>
            <p:cNvSpPr/>
            <p:nvPr/>
          </p:nvSpPr>
          <p:spPr bwMode="auto">
            <a:xfrm flipH="1">
              <a:off x="2695585" y="5421295"/>
              <a:ext cx="174625" cy="179387"/>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prst="relaxedInset"/>
            </a:sp3d>
          </p:spPr>
          <p:txBody>
            <a:bodyPr wrap="none" lIns="0" tIns="0" rIns="0" bIns="0" anchor="ctr"/>
            <a:lstStyle/>
            <a:p>
              <a:pPr algn="ctr" defTabSz="873125" eaLnBrk="0" hangingPunct="0">
                <a:defRPr/>
              </a:pPr>
              <a:endParaRPr lang="en-US" dirty="0">
                <a:cs typeface="Arial" pitchFamily="34" charset="0"/>
              </a:endParaRPr>
            </a:p>
          </p:txBody>
        </p:sp>
        <p:sp>
          <p:nvSpPr>
            <p:cNvPr id="536" name="Oval 535"/>
            <p:cNvSpPr/>
            <p:nvPr/>
          </p:nvSpPr>
          <p:spPr bwMode="auto">
            <a:xfrm flipH="1">
              <a:off x="2738338" y="5466430"/>
              <a:ext cx="89120" cy="90204"/>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prst="relaxedInset"/>
            </a:sp3d>
          </p:spPr>
          <p:txBody>
            <a:bodyPr wrap="none" lIns="0" tIns="0" rIns="0" bIns="0" anchor="ctr"/>
            <a:lstStyle/>
            <a:p>
              <a:pPr algn="ctr" defTabSz="873125" eaLnBrk="0" hangingPunct="0">
                <a:defRPr/>
              </a:pPr>
              <a:endParaRPr lang="en-US" dirty="0">
                <a:cs typeface="Arial" pitchFamily="34" charset="0"/>
              </a:endParaRPr>
            </a:p>
          </p:txBody>
        </p:sp>
        <p:sp>
          <p:nvSpPr>
            <p:cNvPr id="537" name="Oval 536"/>
            <p:cNvSpPr/>
            <p:nvPr/>
          </p:nvSpPr>
          <p:spPr bwMode="auto">
            <a:xfrm flipH="1">
              <a:off x="3128972" y="5518132"/>
              <a:ext cx="176213" cy="180975"/>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38" name="Oval 537"/>
            <p:cNvSpPr/>
            <p:nvPr/>
          </p:nvSpPr>
          <p:spPr bwMode="auto">
            <a:xfrm flipH="1">
              <a:off x="3172113" y="5563666"/>
              <a:ext cx="89930" cy="91002"/>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39" name="Oval 538"/>
            <p:cNvSpPr/>
            <p:nvPr/>
          </p:nvSpPr>
          <p:spPr bwMode="auto">
            <a:xfrm flipH="1">
              <a:off x="3619510" y="5426057"/>
              <a:ext cx="174625" cy="179388"/>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40" name="Oval 539"/>
            <p:cNvSpPr/>
            <p:nvPr/>
          </p:nvSpPr>
          <p:spPr bwMode="auto">
            <a:xfrm flipH="1">
              <a:off x="3662263" y="5471192"/>
              <a:ext cx="89120" cy="90204"/>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41" name="Oval 540"/>
            <p:cNvSpPr/>
            <p:nvPr/>
          </p:nvSpPr>
          <p:spPr bwMode="auto">
            <a:xfrm flipH="1">
              <a:off x="4149735" y="4589445"/>
              <a:ext cx="176212" cy="179387"/>
            </a:xfrm>
            <a:prstGeom prst="ellipse">
              <a:avLst/>
            </a:prstGeom>
            <a:solidFill>
              <a:srgbClr val="33CC33"/>
            </a:solidFill>
            <a:ln w="9525" cap="flat" cmpd="sng" algn="ctr">
              <a:solidFill>
                <a:schemeClr val="tx1">
                  <a:lumMod val="95000"/>
                  <a:lumOff val="5000"/>
                </a:schemeClr>
              </a:solidFill>
              <a:prstDash val="solid"/>
              <a:round/>
              <a:headEnd type="none" w="med" len="med"/>
              <a:tailEnd type="none" w="med" len="med"/>
            </a:ln>
            <a:effectLst/>
            <a:scene3d>
              <a:camera prst="orthographicFront"/>
              <a:lightRig rig="threePt" dir="t"/>
            </a:scene3d>
            <a:sp3d>
              <a:bevelT w="152400" h="50800" prst="softRound"/>
            </a:sp3d>
          </p:spPr>
          <p:txBody>
            <a:bodyPr wrap="none" lIns="0" tIns="0" rIns="0" bIns="0" anchor="ctr"/>
            <a:lstStyle/>
            <a:p>
              <a:pPr algn="ctr" defTabSz="873125" eaLnBrk="0" hangingPunct="0">
                <a:defRPr/>
              </a:pPr>
              <a:endParaRPr lang="en-US" dirty="0">
                <a:cs typeface="Arial" pitchFamily="34" charset="0"/>
              </a:endParaRPr>
            </a:p>
          </p:txBody>
        </p:sp>
        <p:sp>
          <p:nvSpPr>
            <p:cNvPr id="542" name="Oval 541"/>
            <p:cNvSpPr/>
            <p:nvPr/>
          </p:nvSpPr>
          <p:spPr bwMode="auto">
            <a:xfrm flipH="1">
              <a:off x="4192876" y="4634580"/>
              <a:ext cx="89930" cy="90204"/>
            </a:xfrm>
            <a:prstGeom prst="ellipse">
              <a:avLst/>
            </a:prstGeom>
            <a:solidFill>
              <a:srgbClr val="FF0000"/>
            </a:solidFill>
            <a:ln w="9525" cap="flat" cmpd="sng" algn="ctr">
              <a:solidFill>
                <a:schemeClr val="tx1">
                  <a:lumMod val="95000"/>
                  <a:lumOff val="5000"/>
                </a:schemeClr>
              </a:solidFill>
              <a:prstDash val="solid"/>
              <a:round/>
              <a:headEnd type="none" w="med" len="med"/>
              <a:tailEnd type="none" w="med" len="med"/>
            </a:ln>
            <a:effectLst/>
            <a:scene3d>
              <a:camera prst="orthographicFront"/>
              <a:lightRig rig="threePt" dir="t"/>
            </a:scene3d>
            <a:sp3d>
              <a:bevelT w="152400" h="50800" prst="softRound"/>
            </a:sp3d>
          </p:spPr>
          <p:txBody>
            <a:bodyPr wrap="none" lIns="0" tIns="0" rIns="0" bIns="0" anchor="ctr"/>
            <a:lstStyle/>
            <a:p>
              <a:pPr algn="ctr" defTabSz="873125" eaLnBrk="0" hangingPunct="0">
                <a:defRPr/>
              </a:pPr>
              <a:endParaRPr lang="en-US" dirty="0">
                <a:cs typeface="Arial" pitchFamily="34" charset="0"/>
              </a:endParaRPr>
            </a:p>
          </p:txBody>
        </p:sp>
        <p:cxnSp>
          <p:nvCxnSpPr>
            <p:cNvPr id="543" name="Straight Connector 97"/>
            <p:cNvCxnSpPr>
              <a:cxnSpLocks noChangeShapeType="1"/>
            </p:cNvCxnSpPr>
            <p:nvPr/>
          </p:nvCxnSpPr>
          <p:spPr bwMode="auto">
            <a:xfrm rot="5400000" flipH="1" flipV="1">
              <a:off x="2936091" y="4756926"/>
              <a:ext cx="88900" cy="249238"/>
            </a:xfrm>
            <a:prstGeom prst="line">
              <a:avLst/>
            </a:prstGeom>
            <a:noFill/>
            <a:ln w="9525" algn="ctr">
              <a:solidFill>
                <a:srgbClr val="969696"/>
              </a:solidFill>
              <a:round/>
              <a:headEnd/>
              <a:tailEnd/>
            </a:ln>
          </p:spPr>
        </p:cxnSp>
        <p:cxnSp>
          <p:nvCxnSpPr>
            <p:cNvPr id="544" name="Straight Connector 101"/>
            <p:cNvCxnSpPr>
              <a:cxnSpLocks noChangeShapeType="1"/>
            </p:cNvCxnSpPr>
            <p:nvPr/>
          </p:nvCxnSpPr>
          <p:spPr bwMode="auto">
            <a:xfrm rot="10800000" flipH="1">
              <a:off x="3279785" y="4818045"/>
              <a:ext cx="212725" cy="19050"/>
            </a:xfrm>
            <a:prstGeom prst="line">
              <a:avLst/>
            </a:prstGeom>
            <a:noFill/>
            <a:ln w="9525" algn="ctr">
              <a:solidFill>
                <a:srgbClr val="969696"/>
              </a:solidFill>
              <a:round/>
              <a:headEnd/>
              <a:tailEnd/>
            </a:ln>
          </p:spPr>
        </p:cxnSp>
        <p:cxnSp>
          <p:nvCxnSpPr>
            <p:cNvPr id="545" name="Straight Connector 104"/>
            <p:cNvCxnSpPr>
              <a:cxnSpLocks noChangeShapeType="1"/>
            </p:cNvCxnSpPr>
            <p:nvPr/>
          </p:nvCxnSpPr>
          <p:spPr bwMode="auto">
            <a:xfrm rot="5400000" flipH="1" flipV="1">
              <a:off x="3318679" y="4895039"/>
              <a:ext cx="212725" cy="185738"/>
            </a:xfrm>
            <a:prstGeom prst="line">
              <a:avLst/>
            </a:prstGeom>
            <a:noFill/>
            <a:ln w="9525" algn="ctr">
              <a:solidFill>
                <a:srgbClr val="969696"/>
              </a:solidFill>
              <a:round/>
              <a:headEnd/>
              <a:tailEnd/>
            </a:ln>
          </p:spPr>
        </p:cxnSp>
        <p:cxnSp>
          <p:nvCxnSpPr>
            <p:cNvPr id="546" name="Straight Connector 106"/>
            <p:cNvCxnSpPr>
              <a:cxnSpLocks noChangeShapeType="1"/>
            </p:cNvCxnSpPr>
            <p:nvPr/>
          </p:nvCxnSpPr>
          <p:spPr bwMode="auto">
            <a:xfrm rot="10800000" flipH="1" flipV="1">
              <a:off x="2870210" y="5511782"/>
              <a:ext cx="258762" cy="96838"/>
            </a:xfrm>
            <a:prstGeom prst="line">
              <a:avLst/>
            </a:prstGeom>
            <a:noFill/>
            <a:ln w="9525" algn="ctr">
              <a:solidFill>
                <a:srgbClr val="969696"/>
              </a:solidFill>
              <a:round/>
              <a:headEnd/>
              <a:tailEnd/>
            </a:ln>
          </p:spPr>
        </p:cxnSp>
        <p:cxnSp>
          <p:nvCxnSpPr>
            <p:cNvPr id="547" name="Straight Connector 108"/>
            <p:cNvCxnSpPr>
              <a:cxnSpLocks noChangeShapeType="1"/>
            </p:cNvCxnSpPr>
            <p:nvPr/>
          </p:nvCxnSpPr>
          <p:spPr bwMode="auto">
            <a:xfrm rot="10800000" flipH="1">
              <a:off x="3305185" y="5514957"/>
              <a:ext cx="314325" cy="93663"/>
            </a:xfrm>
            <a:prstGeom prst="line">
              <a:avLst/>
            </a:prstGeom>
            <a:noFill/>
            <a:ln w="9525" algn="ctr">
              <a:solidFill>
                <a:srgbClr val="969696"/>
              </a:solidFill>
              <a:round/>
              <a:headEnd/>
              <a:tailEnd/>
            </a:ln>
          </p:spPr>
        </p:cxnSp>
        <p:sp>
          <p:nvSpPr>
            <p:cNvPr id="548" name="TextBox 131"/>
            <p:cNvSpPr txBox="1">
              <a:spLocks noChangeArrowheads="1"/>
            </p:cNvSpPr>
            <p:nvPr/>
          </p:nvSpPr>
          <p:spPr bwMode="auto">
            <a:xfrm flipH="1">
              <a:off x="4170357" y="4743468"/>
              <a:ext cx="568325" cy="215900"/>
            </a:xfrm>
            <a:prstGeom prst="rect">
              <a:avLst/>
            </a:prstGeom>
            <a:noFill/>
            <a:ln w="9525">
              <a:noFill/>
              <a:miter lim="800000"/>
              <a:headEnd/>
              <a:tailEnd/>
            </a:ln>
          </p:spPr>
          <p:txBody>
            <a:bodyPr wrap="none">
              <a:spAutoFit/>
            </a:bodyPr>
            <a:lstStyle/>
            <a:p>
              <a:pPr>
                <a:spcBef>
                  <a:spcPct val="50000"/>
                </a:spcBef>
              </a:pPr>
              <a:r>
                <a:rPr lang="en-US" sz="800" b="1" i="0" smtClean="0">
                  <a:latin typeface="Calibri" pitchFamily="34" charset="0"/>
                </a:rPr>
                <a:t>POP MW</a:t>
              </a:r>
              <a:endParaRPr lang="en-US" sz="800" b="1" i="0" dirty="0">
                <a:latin typeface="Calibri" pitchFamily="34" charset="0"/>
              </a:endParaRPr>
            </a:p>
          </p:txBody>
        </p:sp>
        <p:sp>
          <p:nvSpPr>
            <p:cNvPr id="549" name="Oval 548"/>
            <p:cNvSpPr/>
            <p:nvPr/>
          </p:nvSpPr>
          <p:spPr bwMode="auto">
            <a:xfrm>
              <a:off x="4475280" y="3579385"/>
              <a:ext cx="174625" cy="179387"/>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50" name="Oval 549"/>
            <p:cNvSpPr/>
            <p:nvPr/>
          </p:nvSpPr>
          <p:spPr bwMode="auto">
            <a:xfrm>
              <a:off x="4518033" y="3624520"/>
              <a:ext cx="89120" cy="90204"/>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51" name="Oval 550"/>
            <p:cNvSpPr/>
            <p:nvPr/>
          </p:nvSpPr>
          <p:spPr bwMode="auto">
            <a:xfrm>
              <a:off x="3986217" y="2154190"/>
              <a:ext cx="174625" cy="179387"/>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52" name="Oval 551"/>
            <p:cNvSpPr/>
            <p:nvPr/>
          </p:nvSpPr>
          <p:spPr bwMode="auto">
            <a:xfrm>
              <a:off x="4028970" y="2199325"/>
              <a:ext cx="89120" cy="90204"/>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53" name="Oval 552"/>
            <p:cNvSpPr/>
            <p:nvPr/>
          </p:nvSpPr>
          <p:spPr bwMode="auto">
            <a:xfrm>
              <a:off x="4343407" y="2382018"/>
              <a:ext cx="174625" cy="179387"/>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54" name="Oval 553"/>
            <p:cNvSpPr/>
            <p:nvPr/>
          </p:nvSpPr>
          <p:spPr bwMode="auto">
            <a:xfrm>
              <a:off x="4386160" y="2427153"/>
              <a:ext cx="89120" cy="90204"/>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55" name="Oval 554"/>
            <p:cNvSpPr/>
            <p:nvPr/>
          </p:nvSpPr>
          <p:spPr bwMode="auto">
            <a:xfrm>
              <a:off x="3540121" y="2920963"/>
              <a:ext cx="174625" cy="179387"/>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56" name="Oval 555"/>
            <p:cNvSpPr/>
            <p:nvPr/>
          </p:nvSpPr>
          <p:spPr bwMode="auto">
            <a:xfrm>
              <a:off x="3582874" y="2966098"/>
              <a:ext cx="89120" cy="90204"/>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57" name="Oval 556"/>
            <p:cNvSpPr/>
            <p:nvPr/>
          </p:nvSpPr>
          <p:spPr bwMode="auto">
            <a:xfrm>
              <a:off x="6938182" y="4941872"/>
              <a:ext cx="174625" cy="179387"/>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58" name="Oval 557"/>
            <p:cNvSpPr/>
            <p:nvPr/>
          </p:nvSpPr>
          <p:spPr bwMode="auto">
            <a:xfrm>
              <a:off x="6980935" y="4987007"/>
              <a:ext cx="89120" cy="90204"/>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59" name="Oval 558"/>
            <p:cNvSpPr/>
            <p:nvPr/>
          </p:nvSpPr>
          <p:spPr bwMode="auto">
            <a:xfrm>
              <a:off x="6539719" y="4787884"/>
              <a:ext cx="174625" cy="180975"/>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60" name="Oval 559"/>
            <p:cNvSpPr/>
            <p:nvPr/>
          </p:nvSpPr>
          <p:spPr bwMode="auto">
            <a:xfrm>
              <a:off x="6582472" y="4833418"/>
              <a:ext cx="89120" cy="91002"/>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61" name="Oval 560"/>
            <p:cNvSpPr/>
            <p:nvPr/>
          </p:nvSpPr>
          <p:spPr bwMode="auto">
            <a:xfrm>
              <a:off x="6150782" y="4768834"/>
              <a:ext cx="176212" cy="179388"/>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62" name="Oval 561"/>
            <p:cNvSpPr/>
            <p:nvPr/>
          </p:nvSpPr>
          <p:spPr bwMode="auto">
            <a:xfrm>
              <a:off x="6193923" y="4813969"/>
              <a:ext cx="89930" cy="90204"/>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63" name="Oval 562"/>
            <p:cNvSpPr/>
            <p:nvPr/>
          </p:nvSpPr>
          <p:spPr bwMode="auto">
            <a:xfrm>
              <a:off x="6460344" y="5110147"/>
              <a:ext cx="176213" cy="179387"/>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64" name="Oval 563"/>
            <p:cNvSpPr/>
            <p:nvPr/>
          </p:nvSpPr>
          <p:spPr bwMode="auto">
            <a:xfrm>
              <a:off x="6503485" y="5155282"/>
              <a:ext cx="89930" cy="90204"/>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65" name="Oval 564"/>
            <p:cNvSpPr/>
            <p:nvPr/>
          </p:nvSpPr>
          <p:spPr bwMode="auto">
            <a:xfrm>
              <a:off x="6949294" y="5462572"/>
              <a:ext cx="174625" cy="179387"/>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prst="relaxedInset"/>
            </a:sp3d>
          </p:spPr>
          <p:txBody>
            <a:bodyPr wrap="none" lIns="0" tIns="0" rIns="0" bIns="0" anchor="ctr"/>
            <a:lstStyle/>
            <a:p>
              <a:pPr algn="ctr" defTabSz="873125" eaLnBrk="0" hangingPunct="0">
                <a:defRPr/>
              </a:pPr>
              <a:endParaRPr lang="en-US" dirty="0">
                <a:cs typeface="Arial" pitchFamily="34" charset="0"/>
              </a:endParaRPr>
            </a:p>
          </p:txBody>
        </p:sp>
        <p:sp>
          <p:nvSpPr>
            <p:cNvPr id="566" name="Oval 565"/>
            <p:cNvSpPr/>
            <p:nvPr/>
          </p:nvSpPr>
          <p:spPr bwMode="auto">
            <a:xfrm>
              <a:off x="6992047" y="5507707"/>
              <a:ext cx="89120" cy="90204"/>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prst="relaxedInset"/>
            </a:sp3d>
          </p:spPr>
          <p:txBody>
            <a:bodyPr wrap="none" lIns="0" tIns="0" rIns="0" bIns="0" anchor="ctr"/>
            <a:lstStyle/>
            <a:p>
              <a:pPr algn="ctr" defTabSz="873125" eaLnBrk="0" hangingPunct="0">
                <a:defRPr/>
              </a:pPr>
              <a:endParaRPr lang="en-US" dirty="0">
                <a:cs typeface="Arial" pitchFamily="34" charset="0"/>
              </a:endParaRPr>
            </a:p>
          </p:txBody>
        </p:sp>
        <p:sp>
          <p:nvSpPr>
            <p:cNvPr id="567" name="Oval 566"/>
            <p:cNvSpPr/>
            <p:nvPr/>
          </p:nvSpPr>
          <p:spPr bwMode="auto">
            <a:xfrm>
              <a:off x="6514319" y="5559409"/>
              <a:ext cx="176213" cy="180975"/>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68" name="Oval 567"/>
            <p:cNvSpPr/>
            <p:nvPr/>
          </p:nvSpPr>
          <p:spPr bwMode="auto">
            <a:xfrm>
              <a:off x="6557460" y="5604943"/>
              <a:ext cx="89930" cy="91002"/>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69" name="Oval 568"/>
            <p:cNvSpPr/>
            <p:nvPr/>
          </p:nvSpPr>
          <p:spPr bwMode="auto">
            <a:xfrm>
              <a:off x="6025369" y="5467334"/>
              <a:ext cx="174625" cy="179388"/>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70" name="Oval 569"/>
            <p:cNvSpPr/>
            <p:nvPr/>
          </p:nvSpPr>
          <p:spPr bwMode="auto">
            <a:xfrm>
              <a:off x="6068122" y="5512469"/>
              <a:ext cx="89120" cy="90204"/>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571" name="Oval 570"/>
            <p:cNvSpPr/>
            <p:nvPr/>
          </p:nvSpPr>
          <p:spPr bwMode="auto">
            <a:xfrm>
              <a:off x="5493557" y="4630722"/>
              <a:ext cx="176212" cy="179387"/>
            </a:xfrm>
            <a:prstGeom prst="ellipse">
              <a:avLst/>
            </a:prstGeom>
            <a:solidFill>
              <a:srgbClr val="33CC33"/>
            </a:solidFill>
            <a:ln w="9525" cap="flat" cmpd="sng" algn="ctr">
              <a:solidFill>
                <a:schemeClr val="tx1">
                  <a:lumMod val="95000"/>
                  <a:lumOff val="5000"/>
                </a:schemeClr>
              </a:solidFill>
              <a:prstDash val="solid"/>
              <a:round/>
              <a:headEnd type="none" w="med" len="med"/>
              <a:tailEnd type="none" w="med" len="med"/>
            </a:ln>
            <a:effectLst/>
            <a:scene3d>
              <a:camera prst="orthographicFront"/>
              <a:lightRig rig="threePt" dir="t"/>
            </a:scene3d>
            <a:sp3d>
              <a:bevelT w="152400" h="50800" prst="softRound"/>
            </a:sp3d>
          </p:spPr>
          <p:txBody>
            <a:bodyPr wrap="none" lIns="0" tIns="0" rIns="0" bIns="0" anchor="ctr"/>
            <a:lstStyle/>
            <a:p>
              <a:pPr algn="ctr" defTabSz="873125" eaLnBrk="0" hangingPunct="0">
                <a:defRPr/>
              </a:pPr>
              <a:endParaRPr lang="en-US" dirty="0">
                <a:cs typeface="Arial" pitchFamily="34" charset="0"/>
              </a:endParaRPr>
            </a:p>
          </p:txBody>
        </p:sp>
        <p:sp>
          <p:nvSpPr>
            <p:cNvPr id="572" name="Oval 571"/>
            <p:cNvSpPr/>
            <p:nvPr/>
          </p:nvSpPr>
          <p:spPr bwMode="auto">
            <a:xfrm>
              <a:off x="5536698" y="4675857"/>
              <a:ext cx="89930" cy="90204"/>
            </a:xfrm>
            <a:prstGeom prst="ellipse">
              <a:avLst/>
            </a:prstGeom>
            <a:solidFill>
              <a:srgbClr val="FF0000"/>
            </a:solidFill>
            <a:ln w="9525" cap="flat" cmpd="sng" algn="ctr">
              <a:solidFill>
                <a:schemeClr val="tx1">
                  <a:lumMod val="95000"/>
                  <a:lumOff val="5000"/>
                </a:schemeClr>
              </a:solidFill>
              <a:prstDash val="solid"/>
              <a:round/>
              <a:headEnd type="none" w="med" len="med"/>
              <a:tailEnd type="none" w="med" len="med"/>
            </a:ln>
            <a:effectLst/>
            <a:scene3d>
              <a:camera prst="orthographicFront"/>
              <a:lightRig rig="threePt" dir="t"/>
            </a:scene3d>
            <a:sp3d>
              <a:bevelT w="152400" h="50800" prst="softRound"/>
            </a:sp3d>
          </p:spPr>
          <p:txBody>
            <a:bodyPr wrap="none" lIns="0" tIns="0" rIns="0" bIns="0" anchor="ctr"/>
            <a:lstStyle/>
            <a:p>
              <a:pPr algn="ctr" defTabSz="873125" eaLnBrk="0" hangingPunct="0">
                <a:defRPr/>
              </a:pPr>
              <a:endParaRPr lang="en-US" dirty="0">
                <a:cs typeface="Arial" pitchFamily="34" charset="0"/>
              </a:endParaRPr>
            </a:p>
          </p:txBody>
        </p:sp>
        <p:cxnSp>
          <p:nvCxnSpPr>
            <p:cNvPr id="573" name="Straight Connector 97"/>
            <p:cNvCxnSpPr>
              <a:cxnSpLocks noChangeShapeType="1"/>
            </p:cNvCxnSpPr>
            <p:nvPr/>
          </p:nvCxnSpPr>
          <p:spPr bwMode="auto">
            <a:xfrm rot="16200000" flipV="1">
              <a:off x="6794513" y="4798203"/>
              <a:ext cx="88900" cy="249238"/>
            </a:xfrm>
            <a:prstGeom prst="line">
              <a:avLst/>
            </a:prstGeom>
            <a:noFill/>
            <a:ln w="9525" algn="ctr">
              <a:solidFill>
                <a:srgbClr val="969696"/>
              </a:solidFill>
              <a:round/>
              <a:headEnd/>
              <a:tailEnd/>
            </a:ln>
          </p:spPr>
        </p:cxnSp>
        <p:cxnSp>
          <p:nvCxnSpPr>
            <p:cNvPr id="574" name="Straight Connector 101"/>
            <p:cNvCxnSpPr>
              <a:cxnSpLocks noChangeShapeType="1"/>
            </p:cNvCxnSpPr>
            <p:nvPr/>
          </p:nvCxnSpPr>
          <p:spPr bwMode="auto">
            <a:xfrm rot="10800000">
              <a:off x="6326994" y="4859322"/>
              <a:ext cx="212725" cy="19050"/>
            </a:xfrm>
            <a:prstGeom prst="line">
              <a:avLst/>
            </a:prstGeom>
            <a:noFill/>
            <a:ln w="9525" algn="ctr">
              <a:solidFill>
                <a:srgbClr val="969696"/>
              </a:solidFill>
              <a:round/>
              <a:headEnd/>
              <a:tailEnd/>
            </a:ln>
          </p:spPr>
        </p:cxnSp>
        <p:cxnSp>
          <p:nvCxnSpPr>
            <p:cNvPr id="575" name="Straight Connector 104"/>
            <p:cNvCxnSpPr>
              <a:cxnSpLocks noChangeShapeType="1"/>
            </p:cNvCxnSpPr>
            <p:nvPr/>
          </p:nvCxnSpPr>
          <p:spPr bwMode="auto">
            <a:xfrm rot="16200000" flipV="1">
              <a:off x="6288100" y="4936316"/>
              <a:ext cx="212725" cy="185738"/>
            </a:xfrm>
            <a:prstGeom prst="line">
              <a:avLst/>
            </a:prstGeom>
            <a:noFill/>
            <a:ln w="9525" algn="ctr">
              <a:solidFill>
                <a:srgbClr val="969696"/>
              </a:solidFill>
              <a:round/>
              <a:headEnd/>
              <a:tailEnd/>
            </a:ln>
          </p:spPr>
        </p:cxnSp>
        <p:sp>
          <p:nvSpPr>
            <p:cNvPr id="576" name="TextBox 131"/>
            <p:cNvSpPr txBox="1">
              <a:spLocks noChangeArrowheads="1"/>
            </p:cNvSpPr>
            <p:nvPr/>
          </p:nvSpPr>
          <p:spPr bwMode="auto">
            <a:xfrm>
              <a:off x="5119695" y="4779981"/>
              <a:ext cx="568325" cy="215900"/>
            </a:xfrm>
            <a:prstGeom prst="rect">
              <a:avLst/>
            </a:prstGeom>
            <a:noFill/>
            <a:ln w="9525">
              <a:noFill/>
              <a:miter lim="800000"/>
              <a:headEnd/>
              <a:tailEnd/>
            </a:ln>
          </p:spPr>
          <p:txBody>
            <a:bodyPr wrap="none">
              <a:spAutoFit/>
            </a:bodyPr>
            <a:lstStyle/>
            <a:p>
              <a:pPr>
                <a:spcBef>
                  <a:spcPct val="50000"/>
                </a:spcBef>
              </a:pPr>
              <a:r>
                <a:rPr lang="en-US" sz="800" b="1" i="0" smtClean="0">
                  <a:latin typeface="Calibri" pitchFamily="34" charset="0"/>
                </a:rPr>
                <a:t>POP MW</a:t>
              </a:r>
              <a:endParaRPr lang="en-US" sz="800" b="1" i="0" dirty="0">
                <a:latin typeface="Calibri" pitchFamily="34" charset="0"/>
              </a:endParaRPr>
            </a:p>
          </p:txBody>
        </p:sp>
        <p:sp>
          <p:nvSpPr>
            <p:cNvPr id="577" name="Freeform 576"/>
            <p:cNvSpPr/>
            <p:nvPr/>
          </p:nvSpPr>
          <p:spPr bwMode="auto">
            <a:xfrm>
              <a:off x="3113903" y="2471351"/>
              <a:ext cx="1068506" cy="401242"/>
            </a:xfrm>
            <a:custGeom>
              <a:avLst/>
              <a:gdLst>
                <a:gd name="connsiteX0" fmla="*/ 0 w 1068506"/>
                <a:gd name="connsiteY0" fmla="*/ 0 h 401242"/>
                <a:gd name="connsiteX1" fmla="*/ 370702 w 1068506"/>
                <a:gd name="connsiteY1" fmla="*/ 37071 h 401242"/>
                <a:gd name="connsiteX2" fmla="*/ 494270 w 1068506"/>
                <a:gd name="connsiteY2" fmla="*/ 74141 h 401242"/>
                <a:gd name="connsiteX3" fmla="*/ 531340 w 1068506"/>
                <a:gd name="connsiteY3" fmla="*/ 111211 h 401242"/>
                <a:gd name="connsiteX4" fmla="*/ 568411 w 1068506"/>
                <a:gd name="connsiteY4" fmla="*/ 123568 h 401242"/>
                <a:gd name="connsiteX5" fmla="*/ 605481 w 1068506"/>
                <a:gd name="connsiteY5" fmla="*/ 148281 h 401242"/>
                <a:gd name="connsiteX6" fmla="*/ 679621 w 1068506"/>
                <a:gd name="connsiteY6" fmla="*/ 172995 h 401242"/>
                <a:gd name="connsiteX7" fmla="*/ 716692 w 1068506"/>
                <a:gd name="connsiteY7" fmla="*/ 197708 h 401242"/>
                <a:gd name="connsiteX8" fmla="*/ 827902 w 1068506"/>
                <a:gd name="connsiteY8" fmla="*/ 247135 h 401242"/>
                <a:gd name="connsiteX9" fmla="*/ 864973 w 1068506"/>
                <a:gd name="connsiteY9" fmla="*/ 234779 h 401242"/>
                <a:gd name="connsiteX10" fmla="*/ 939113 w 1068506"/>
                <a:gd name="connsiteY10" fmla="*/ 296563 h 401242"/>
                <a:gd name="connsiteX11" fmla="*/ 1025611 w 1068506"/>
                <a:gd name="connsiteY11" fmla="*/ 383060 h 401242"/>
                <a:gd name="connsiteX12" fmla="*/ 1062681 w 1068506"/>
                <a:gd name="connsiteY12" fmla="*/ 395417 h 401242"/>
                <a:gd name="connsiteX13" fmla="*/ 1037967 w 1068506"/>
                <a:gd name="connsiteY13" fmla="*/ 395417 h 401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68506" h="401242">
                  <a:moveTo>
                    <a:pt x="0" y="0"/>
                  </a:moveTo>
                  <a:cubicBezTo>
                    <a:pt x="75497" y="4194"/>
                    <a:pt x="282087" y="7533"/>
                    <a:pt x="370702" y="37071"/>
                  </a:cubicBezTo>
                  <a:cubicBezTo>
                    <a:pt x="460954" y="67154"/>
                    <a:pt x="419570" y="55466"/>
                    <a:pt x="494270" y="74141"/>
                  </a:cubicBezTo>
                  <a:cubicBezTo>
                    <a:pt x="506627" y="86498"/>
                    <a:pt x="516800" y="101518"/>
                    <a:pt x="531340" y="111211"/>
                  </a:cubicBezTo>
                  <a:cubicBezTo>
                    <a:pt x="542178" y="118436"/>
                    <a:pt x="556761" y="117743"/>
                    <a:pt x="568411" y="123568"/>
                  </a:cubicBezTo>
                  <a:cubicBezTo>
                    <a:pt x="581694" y="130209"/>
                    <a:pt x="591910" y="142249"/>
                    <a:pt x="605481" y="148281"/>
                  </a:cubicBezTo>
                  <a:cubicBezTo>
                    <a:pt x="629286" y="158861"/>
                    <a:pt x="654908" y="164757"/>
                    <a:pt x="679621" y="172995"/>
                  </a:cubicBezTo>
                  <a:cubicBezTo>
                    <a:pt x="693710" y="177691"/>
                    <a:pt x="703121" y="191676"/>
                    <a:pt x="716692" y="197708"/>
                  </a:cubicBezTo>
                  <a:cubicBezTo>
                    <a:pt x="849033" y="256526"/>
                    <a:pt x="744009" y="191207"/>
                    <a:pt x="827902" y="247135"/>
                  </a:cubicBezTo>
                  <a:cubicBezTo>
                    <a:pt x="840259" y="243016"/>
                    <a:pt x="852125" y="232638"/>
                    <a:pt x="864973" y="234779"/>
                  </a:cubicBezTo>
                  <a:cubicBezTo>
                    <a:pt x="885619" y="238220"/>
                    <a:pt x="927979" y="285428"/>
                    <a:pt x="939113" y="296563"/>
                  </a:cubicBezTo>
                  <a:cubicBezTo>
                    <a:pt x="960863" y="361811"/>
                    <a:pt x="940632" y="326408"/>
                    <a:pt x="1025611" y="383060"/>
                  </a:cubicBezTo>
                  <a:cubicBezTo>
                    <a:pt x="1036449" y="390285"/>
                    <a:pt x="1053471" y="386206"/>
                    <a:pt x="1062681" y="395417"/>
                  </a:cubicBezTo>
                  <a:cubicBezTo>
                    <a:pt x="1068506" y="401242"/>
                    <a:pt x="1046205" y="395417"/>
                    <a:pt x="1037967" y="395417"/>
                  </a:cubicBezTo>
                </a:path>
              </a:pathLst>
            </a:custGeom>
            <a:solidFill>
              <a:schemeClr val="bg1"/>
            </a:solidFill>
            <a:ln w="38100" cap="flat" cmpd="sng" algn="ctr">
              <a:solidFill>
                <a:srgbClr val="FFC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578" name="Freeform 577"/>
            <p:cNvSpPr/>
            <p:nvPr/>
          </p:nvSpPr>
          <p:spPr bwMode="auto">
            <a:xfrm>
              <a:off x="4374292" y="2842054"/>
              <a:ext cx="1138054" cy="164025"/>
            </a:xfrm>
            <a:custGeom>
              <a:avLst/>
              <a:gdLst>
                <a:gd name="connsiteX0" fmla="*/ 0 w 1138054"/>
                <a:gd name="connsiteY0" fmla="*/ 86497 h 164025"/>
                <a:gd name="connsiteX1" fmla="*/ 926757 w 1138054"/>
                <a:gd name="connsiteY1" fmla="*/ 49427 h 164025"/>
                <a:gd name="connsiteX2" fmla="*/ 976184 w 1138054"/>
                <a:gd name="connsiteY2" fmla="*/ 37070 h 164025"/>
                <a:gd name="connsiteX3" fmla="*/ 1013254 w 1138054"/>
                <a:gd name="connsiteY3" fmla="*/ 24714 h 164025"/>
                <a:gd name="connsiteX4" fmla="*/ 1136822 w 1138054"/>
                <a:gd name="connsiteY4" fmla="*/ 0 h 164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8054" h="164025">
                  <a:moveTo>
                    <a:pt x="0" y="86497"/>
                  </a:moveTo>
                  <a:cubicBezTo>
                    <a:pt x="878664" y="73764"/>
                    <a:pt x="582967" y="164025"/>
                    <a:pt x="926757" y="49427"/>
                  </a:cubicBezTo>
                  <a:cubicBezTo>
                    <a:pt x="942868" y="44057"/>
                    <a:pt x="959855" y="41735"/>
                    <a:pt x="976184" y="37070"/>
                  </a:cubicBezTo>
                  <a:cubicBezTo>
                    <a:pt x="988708" y="33492"/>
                    <a:pt x="1000406" y="26855"/>
                    <a:pt x="1013254" y="24714"/>
                  </a:cubicBezTo>
                  <a:cubicBezTo>
                    <a:pt x="1138054" y="3914"/>
                    <a:pt x="1096873" y="39949"/>
                    <a:pt x="1136822" y="0"/>
                  </a:cubicBezTo>
                </a:path>
              </a:pathLst>
            </a:custGeom>
            <a:solidFill>
              <a:schemeClr val="bg1"/>
            </a:solidFill>
            <a:ln w="38100" cap="flat" cmpd="sng" algn="ctr">
              <a:solidFill>
                <a:srgbClr val="FFC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579" name="Freeform 578"/>
            <p:cNvSpPr/>
            <p:nvPr/>
          </p:nvSpPr>
          <p:spPr bwMode="auto">
            <a:xfrm>
              <a:off x="5460303" y="2903838"/>
              <a:ext cx="174378" cy="1692876"/>
            </a:xfrm>
            <a:custGeom>
              <a:avLst/>
              <a:gdLst>
                <a:gd name="connsiteX0" fmla="*/ 137308 w 174378"/>
                <a:gd name="connsiteY0" fmla="*/ 0 h 1692876"/>
                <a:gd name="connsiteX1" fmla="*/ 112594 w 174378"/>
                <a:gd name="connsiteY1" fmla="*/ 61784 h 1692876"/>
                <a:gd name="connsiteX2" fmla="*/ 50811 w 174378"/>
                <a:gd name="connsiteY2" fmla="*/ 197708 h 1692876"/>
                <a:gd name="connsiteX3" fmla="*/ 26097 w 174378"/>
                <a:gd name="connsiteY3" fmla="*/ 296562 h 1692876"/>
                <a:gd name="connsiteX4" fmla="*/ 1383 w 174378"/>
                <a:gd name="connsiteY4" fmla="*/ 407773 h 1692876"/>
                <a:gd name="connsiteX5" fmla="*/ 26097 w 174378"/>
                <a:gd name="connsiteY5" fmla="*/ 580767 h 1692876"/>
                <a:gd name="connsiteX6" fmla="*/ 50811 w 174378"/>
                <a:gd name="connsiteY6" fmla="*/ 790832 h 1692876"/>
                <a:gd name="connsiteX7" fmla="*/ 124951 w 174378"/>
                <a:gd name="connsiteY7" fmla="*/ 902043 h 1692876"/>
                <a:gd name="connsiteX8" fmla="*/ 174378 w 174378"/>
                <a:gd name="connsiteY8" fmla="*/ 976184 h 1692876"/>
                <a:gd name="connsiteX9" fmla="*/ 162021 w 174378"/>
                <a:gd name="connsiteY9" fmla="*/ 1507524 h 1692876"/>
                <a:gd name="connsiteX10" fmla="*/ 124951 w 174378"/>
                <a:gd name="connsiteY10" fmla="*/ 1581665 h 1692876"/>
                <a:gd name="connsiteX11" fmla="*/ 112594 w 174378"/>
                <a:gd name="connsiteY11" fmla="*/ 1618735 h 1692876"/>
                <a:gd name="connsiteX12" fmla="*/ 112594 w 174378"/>
                <a:gd name="connsiteY12" fmla="*/ 1692876 h 1692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4378" h="1692876">
                  <a:moveTo>
                    <a:pt x="137308" y="0"/>
                  </a:moveTo>
                  <a:cubicBezTo>
                    <a:pt x="129070" y="20595"/>
                    <a:pt x="121773" y="41591"/>
                    <a:pt x="112594" y="61784"/>
                  </a:cubicBezTo>
                  <a:cubicBezTo>
                    <a:pt x="87771" y="116395"/>
                    <a:pt x="67991" y="141874"/>
                    <a:pt x="50811" y="197708"/>
                  </a:cubicBezTo>
                  <a:cubicBezTo>
                    <a:pt x="40822" y="230172"/>
                    <a:pt x="33214" y="263350"/>
                    <a:pt x="26097" y="296562"/>
                  </a:cubicBezTo>
                  <a:cubicBezTo>
                    <a:pt x="0" y="418346"/>
                    <a:pt x="27693" y="328845"/>
                    <a:pt x="1383" y="407773"/>
                  </a:cubicBezTo>
                  <a:cubicBezTo>
                    <a:pt x="9621" y="465438"/>
                    <a:pt x="19891" y="522848"/>
                    <a:pt x="26097" y="580767"/>
                  </a:cubicBezTo>
                  <a:cubicBezTo>
                    <a:pt x="29293" y="610595"/>
                    <a:pt x="22445" y="734100"/>
                    <a:pt x="50811" y="790832"/>
                  </a:cubicBezTo>
                  <a:cubicBezTo>
                    <a:pt x="80679" y="850568"/>
                    <a:pt x="88732" y="850301"/>
                    <a:pt x="124951" y="902043"/>
                  </a:cubicBezTo>
                  <a:cubicBezTo>
                    <a:pt x="141984" y="926376"/>
                    <a:pt x="174378" y="976184"/>
                    <a:pt x="174378" y="976184"/>
                  </a:cubicBezTo>
                  <a:cubicBezTo>
                    <a:pt x="170259" y="1153297"/>
                    <a:pt x="169716" y="1330530"/>
                    <a:pt x="162021" y="1507524"/>
                  </a:cubicBezTo>
                  <a:cubicBezTo>
                    <a:pt x="160542" y="1541542"/>
                    <a:pt x="139133" y="1553301"/>
                    <a:pt x="124951" y="1581665"/>
                  </a:cubicBezTo>
                  <a:cubicBezTo>
                    <a:pt x="119126" y="1593315"/>
                    <a:pt x="116713" y="1606378"/>
                    <a:pt x="112594" y="1618735"/>
                  </a:cubicBezTo>
                  <a:cubicBezTo>
                    <a:pt x="126093" y="1686231"/>
                    <a:pt x="139802" y="1665668"/>
                    <a:pt x="112594" y="1692876"/>
                  </a:cubicBezTo>
                </a:path>
              </a:pathLst>
            </a:custGeom>
            <a:solidFill>
              <a:schemeClr val="bg1"/>
            </a:solidFill>
            <a:ln w="38100" cap="flat" cmpd="sng" algn="ctr">
              <a:solidFill>
                <a:srgbClr val="FFC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580" name="Freeform 579"/>
            <p:cNvSpPr/>
            <p:nvPr/>
          </p:nvSpPr>
          <p:spPr bwMode="auto">
            <a:xfrm>
              <a:off x="2458995" y="2570205"/>
              <a:ext cx="593124" cy="1594022"/>
            </a:xfrm>
            <a:custGeom>
              <a:avLst/>
              <a:gdLst>
                <a:gd name="connsiteX0" fmla="*/ 593124 w 593124"/>
                <a:gd name="connsiteY0" fmla="*/ 0 h 1594022"/>
                <a:gd name="connsiteX1" fmla="*/ 580767 w 593124"/>
                <a:gd name="connsiteY1" fmla="*/ 395417 h 1594022"/>
                <a:gd name="connsiteX2" fmla="*/ 568410 w 593124"/>
                <a:gd name="connsiteY2" fmla="*/ 432487 h 1594022"/>
                <a:gd name="connsiteX3" fmla="*/ 543697 w 593124"/>
                <a:gd name="connsiteY3" fmla="*/ 469557 h 1594022"/>
                <a:gd name="connsiteX4" fmla="*/ 506627 w 593124"/>
                <a:gd name="connsiteY4" fmla="*/ 556054 h 1594022"/>
                <a:gd name="connsiteX5" fmla="*/ 469556 w 593124"/>
                <a:gd name="connsiteY5" fmla="*/ 568411 h 1594022"/>
                <a:gd name="connsiteX6" fmla="*/ 420129 w 593124"/>
                <a:gd name="connsiteY6" fmla="*/ 679622 h 1594022"/>
                <a:gd name="connsiteX7" fmla="*/ 407773 w 593124"/>
                <a:gd name="connsiteY7" fmla="*/ 716692 h 1594022"/>
                <a:gd name="connsiteX8" fmla="*/ 395416 w 593124"/>
                <a:gd name="connsiteY8" fmla="*/ 840260 h 1594022"/>
                <a:gd name="connsiteX9" fmla="*/ 345989 w 593124"/>
                <a:gd name="connsiteY9" fmla="*/ 914400 h 1594022"/>
                <a:gd name="connsiteX10" fmla="*/ 333632 w 593124"/>
                <a:gd name="connsiteY10" fmla="*/ 951471 h 1594022"/>
                <a:gd name="connsiteX11" fmla="*/ 308919 w 593124"/>
                <a:gd name="connsiteY11" fmla="*/ 988541 h 1594022"/>
                <a:gd name="connsiteX12" fmla="*/ 271848 w 593124"/>
                <a:gd name="connsiteY12" fmla="*/ 1062681 h 1594022"/>
                <a:gd name="connsiteX13" fmla="*/ 234778 w 593124"/>
                <a:gd name="connsiteY13" fmla="*/ 1087395 h 1594022"/>
                <a:gd name="connsiteX14" fmla="*/ 172994 w 593124"/>
                <a:gd name="connsiteY14" fmla="*/ 1161536 h 1594022"/>
                <a:gd name="connsiteX15" fmla="*/ 123567 w 593124"/>
                <a:gd name="connsiteY15" fmla="*/ 1235676 h 1594022"/>
                <a:gd name="connsiteX16" fmla="*/ 111210 w 593124"/>
                <a:gd name="connsiteY16" fmla="*/ 1285103 h 1594022"/>
                <a:gd name="connsiteX17" fmla="*/ 98854 w 593124"/>
                <a:gd name="connsiteY17" fmla="*/ 1322173 h 1594022"/>
                <a:gd name="connsiteX18" fmla="*/ 74140 w 593124"/>
                <a:gd name="connsiteY18" fmla="*/ 1445741 h 1594022"/>
                <a:gd name="connsiteX19" fmla="*/ 24713 w 593124"/>
                <a:gd name="connsiteY19" fmla="*/ 1519881 h 1594022"/>
                <a:gd name="connsiteX20" fmla="*/ 0 w 593124"/>
                <a:gd name="connsiteY20" fmla="*/ 1556952 h 1594022"/>
                <a:gd name="connsiteX21" fmla="*/ 0 w 593124"/>
                <a:gd name="connsiteY21" fmla="*/ 1594022 h 1594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93124" h="1594022">
                  <a:moveTo>
                    <a:pt x="593124" y="0"/>
                  </a:moveTo>
                  <a:cubicBezTo>
                    <a:pt x="589005" y="131806"/>
                    <a:pt x="588290" y="263762"/>
                    <a:pt x="580767" y="395417"/>
                  </a:cubicBezTo>
                  <a:cubicBezTo>
                    <a:pt x="580024" y="408421"/>
                    <a:pt x="574235" y="420837"/>
                    <a:pt x="568410" y="432487"/>
                  </a:cubicBezTo>
                  <a:cubicBezTo>
                    <a:pt x="561769" y="445770"/>
                    <a:pt x="551935" y="457200"/>
                    <a:pt x="543697" y="469557"/>
                  </a:cubicBezTo>
                  <a:cubicBezTo>
                    <a:pt x="536277" y="499236"/>
                    <a:pt x="533293" y="534721"/>
                    <a:pt x="506627" y="556054"/>
                  </a:cubicBezTo>
                  <a:cubicBezTo>
                    <a:pt x="496456" y="564191"/>
                    <a:pt x="481913" y="564292"/>
                    <a:pt x="469556" y="568411"/>
                  </a:cubicBezTo>
                  <a:cubicBezTo>
                    <a:pt x="430394" y="627155"/>
                    <a:pt x="449538" y="591394"/>
                    <a:pt x="420129" y="679622"/>
                  </a:cubicBezTo>
                  <a:lnTo>
                    <a:pt x="407773" y="716692"/>
                  </a:lnTo>
                  <a:cubicBezTo>
                    <a:pt x="403654" y="757881"/>
                    <a:pt x="407763" y="800750"/>
                    <a:pt x="395416" y="840260"/>
                  </a:cubicBezTo>
                  <a:cubicBezTo>
                    <a:pt x="386557" y="868610"/>
                    <a:pt x="362465" y="889687"/>
                    <a:pt x="345989" y="914400"/>
                  </a:cubicBezTo>
                  <a:cubicBezTo>
                    <a:pt x="338764" y="925238"/>
                    <a:pt x="339457" y="939821"/>
                    <a:pt x="333632" y="951471"/>
                  </a:cubicBezTo>
                  <a:cubicBezTo>
                    <a:pt x="326991" y="964754"/>
                    <a:pt x="315560" y="975258"/>
                    <a:pt x="308919" y="988541"/>
                  </a:cubicBezTo>
                  <a:cubicBezTo>
                    <a:pt x="288819" y="1028742"/>
                    <a:pt x="307261" y="1027268"/>
                    <a:pt x="271848" y="1062681"/>
                  </a:cubicBezTo>
                  <a:cubicBezTo>
                    <a:pt x="261347" y="1073182"/>
                    <a:pt x="247135" y="1079157"/>
                    <a:pt x="234778" y="1087395"/>
                  </a:cubicBezTo>
                  <a:cubicBezTo>
                    <a:pt x="146459" y="1219870"/>
                    <a:pt x="284003" y="1018810"/>
                    <a:pt x="172994" y="1161536"/>
                  </a:cubicBezTo>
                  <a:cubicBezTo>
                    <a:pt x="154759" y="1184981"/>
                    <a:pt x="123567" y="1235676"/>
                    <a:pt x="123567" y="1235676"/>
                  </a:cubicBezTo>
                  <a:cubicBezTo>
                    <a:pt x="119448" y="1252152"/>
                    <a:pt x="115875" y="1268774"/>
                    <a:pt x="111210" y="1285103"/>
                  </a:cubicBezTo>
                  <a:cubicBezTo>
                    <a:pt x="107632" y="1297627"/>
                    <a:pt x="101408" y="1309401"/>
                    <a:pt x="98854" y="1322173"/>
                  </a:cubicBezTo>
                  <a:cubicBezTo>
                    <a:pt x="93865" y="1347117"/>
                    <a:pt x="91589" y="1414334"/>
                    <a:pt x="74140" y="1445741"/>
                  </a:cubicBezTo>
                  <a:cubicBezTo>
                    <a:pt x="59715" y="1471705"/>
                    <a:pt x="41188" y="1495168"/>
                    <a:pt x="24713" y="1519881"/>
                  </a:cubicBezTo>
                  <a:cubicBezTo>
                    <a:pt x="16475" y="1532238"/>
                    <a:pt x="0" y="1542101"/>
                    <a:pt x="0" y="1556952"/>
                  </a:cubicBezTo>
                  <a:lnTo>
                    <a:pt x="0" y="1594022"/>
                  </a:lnTo>
                </a:path>
              </a:pathLst>
            </a:custGeom>
            <a:solidFill>
              <a:schemeClr val="bg1"/>
            </a:solidFill>
            <a:ln w="38100" cap="flat" cmpd="sng" algn="ctr">
              <a:solidFill>
                <a:srgbClr val="FFC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581" name="Freeform 580"/>
            <p:cNvSpPr/>
            <p:nvPr/>
          </p:nvSpPr>
          <p:spPr bwMode="auto">
            <a:xfrm>
              <a:off x="2557849" y="4312251"/>
              <a:ext cx="1569308" cy="303673"/>
            </a:xfrm>
            <a:custGeom>
              <a:avLst/>
              <a:gdLst>
                <a:gd name="connsiteX0" fmla="*/ 0 w 1569308"/>
                <a:gd name="connsiteY0" fmla="*/ 257 h 303673"/>
                <a:gd name="connsiteX1" fmla="*/ 370702 w 1569308"/>
                <a:gd name="connsiteY1" fmla="*/ 12614 h 303673"/>
                <a:gd name="connsiteX2" fmla="*/ 531340 w 1569308"/>
                <a:gd name="connsiteY2" fmla="*/ 74398 h 303673"/>
                <a:gd name="connsiteX3" fmla="*/ 605481 w 1569308"/>
                <a:gd name="connsiteY3" fmla="*/ 111468 h 303673"/>
                <a:gd name="connsiteX4" fmla="*/ 654908 w 1569308"/>
                <a:gd name="connsiteY4" fmla="*/ 123825 h 303673"/>
                <a:gd name="connsiteX5" fmla="*/ 1025610 w 1569308"/>
                <a:gd name="connsiteY5" fmla="*/ 160895 h 303673"/>
                <a:gd name="connsiteX6" fmla="*/ 1087394 w 1569308"/>
                <a:gd name="connsiteY6" fmla="*/ 185608 h 303673"/>
                <a:gd name="connsiteX7" fmla="*/ 1149178 w 1569308"/>
                <a:gd name="connsiteY7" fmla="*/ 197965 h 303673"/>
                <a:gd name="connsiteX8" fmla="*/ 1371600 w 1569308"/>
                <a:gd name="connsiteY8" fmla="*/ 222679 h 303673"/>
                <a:gd name="connsiteX9" fmla="*/ 1421027 w 1569308"/>
                <a:gd name="connsiteY9" fmla="*/ 235035 h 303673"/>
                <a:gd name="connsiteX10" fmla="*/ 1458097 w 1569308"/>
                <a:gd name="connsiteY10" fmla="*/ 247392 h 303673"/>
                <a:gd name="connsiteX11" fmla="*/ 1519881 w 1569308"/>
                <a:gd name="connsiteY11" fmla="*/ 259749 h 303673"/>
                <a:gd name="connsiteX12" fmla="*/ 1569308 w 1569308"/>
                <a:gd name="connsiteY12" fmla="*/ 296819 h 303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69308" h="303673">
                  <a:moveTo>
                    <a:pt x="0" y="257"/>
                  </a:moveTo>
                  <a:cubicBezTo>
                    <a:pt x="123567" y="4376"/>
                    <a:pt x="247711" y="0"/>
                    <a:pt x="370702" y="12614"/>
                  </a:cubicBezTo>
                  <a:cubicBezTo>
                    <a:pt x="408787" y="16520"/>
                    <a:pt x="489673" y="50588"/>
                    <a:pt x="531340" y="74398"/>
                  </a:cubicBezTo>
                  <a:cubicBezTo>
                    <a:pt x="585495" y="105344"/>
                    <a:pt x="548842" y="95285"/>
                    <a:pt x="605481" y="111468"/>
                  </a:cubicBezTo>
                  <a:cubicBezTo>
                    <a:pt x="621810" y="116134"/>
                    <a:pt x="638641" y="118945"/>
                    <a:pt x="654908" y="123825"/>
                  </a:cubicBezTo>
                  <a:cubicBezTo>
                    <a:pt x="844586" y="180728"/>
                    <a:pt x="620696" y="144023"/>
                    <a:pt x="1025610" y="160895"/>
                  </a:cubicBezTo>
                  <a:cubicBezTo>
                    <a:pt x="1046205" y="169133"/>
                    <a:pt x="1066148" y="179234"/>
                    <a:pt x="1087394" y="185608"/>
                  </a:cubicBezTo>
                  <a:cubicBezTo>
                    <a:pt x="1107511" y="191643"/>
                    <a:pt x="1128514" y="194208"/>
                    <a:pt x="1149178" y="197965"/>
                  </a:cubicBezTo>
                  <a:cubicBezTo>
                    <a:pt x="1253309" y="216898"/>
                    <a:pt x="1235832" y="211365"/>
                    <a:pt x="1371600" y="222679"/>
                  </a:cubicBezTo>
                  <a:cubicBezTo>
                    <a:pt x="1388076" y="226798"/>
                    <a:pt x="1404698" y="230370"/>
                    <a:pt x="1421027" y="235035"/>
                  </a:cubicBezTo>
                  <a:cubicBezTo>
                    <a:pt x="1433551" y="238613"/>
                    <a:pt x="1445461" y="244233"/>
                    <a:pt x="1458097" y="247392"/>
                  </a:cubicBezTo>
                  <a:cubicBezTo>
                    <a:pt x="1478472" y="252486"/>
                    <a:pt x="1499286" y="255630"/>
                    <a:pt x="1519881" y="259749"/>
                  </a:cubicBezTo>
                  <a:cubicBezTo>
                    <a:pt x="1549164" y="303673"/>
                    <a:pt x="1529743" y="296819"/>
                    <a:pt x="1569308" y="296819"/>
                  </a:cubicBezTo>
                </a:path>
              </a:pathLst>
            </a:custGeom>
            <a:solidFill>
              <a:schemeClr val="bg1"/>
            </a:solidFill>
            <a:ln w="38100" cap="flat" cmpd="sng" algn="ctr">
              <a:solidFill>
                <a:srgbClr val="FFC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582" name="Freeform 581"/>
            <p:cNvSpPr/>
            <p:nvPr/>
          </p:nvSpPr>
          <p:spPr bwMode="auto">
            <a:xfrm>
              <a:off x="4312508" y="4643000"/>
              <a:ext cx="1161535" cy="81079"/>
            </a:xfrm>
            <a:custGeom>
              <a:avLst/>
              <a:gdLst>
                <a:gd name="connsiteX0" fmla="*/ 0 w 1161535"/>
                <a:gd name="connsiteY0" fmla="*/ 40211 h 81079"/>
                <a:gd name="connsiteX1" fmla="*/ 86497 w 1161535"/>
                <a:gd name="connsiteY1" fmla="*/ 27854 h 81079"/>
                <a:gd name="connsiteX2" fmla="*/ 148281 w 1161535"/>
                <a:gd name="connsiteY2" fmla="*/ 3141 h 81079"/>
                <a:gd name="connsiteX3" fmla="*/ 345989 w 1161535"/>
                <a:gd name="connsiteY3" fmla="*/ 15497 h 81079"/>
                <a:gd name="connsiteX4" fmla="*/ 605481 w 1161535"/>
                <a:gd name="connsiteY4" fmla="*/ 27854 h 81079"/>
                <a:gd name="connsiteX5" fmla="*/ 815546 w 1161535"/>
                <a:gd name="connsiteY5" fmla="*/ 40211 h 81079"/>
                <a:gd name="connsiteX6" fmla="*/ 852616 w 1161535"/>
                <a:gd name="connsiteY6" fmla="*/ 52568 h 81079"/>
                <a:gd name="connsiteX7" fmla="*/ 1161535 w 1161535"/>
                <a:gd name="connsiteY7" fmla="*/ 64924 h 81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1535" h="81079">
                  <a:moveTo>
                    <a:pt x="0" y="40211"/>
                  </a:moveTo>
                  <a:cubicBezTo>
                    <a:pt x="28832" y="36092"/>
                    <a:pt x="58242" y="34918"/>
                    <a:pt x="86497" y="27854"/>
                  </a:cubicBezTo>
                  <a:cubicBezTo>
                    <a:pt x="108016" y="22474"/>
                    <a:pt x="126125" y="4196"/>
                    <a:pt x="148281" y="3141"/>
                  </a:cubicBezTo>
                  <a:cubicBezTo>
                    <a:pt x="214238" y="0"/>
                    <a:pt x="280054" y="11933"/>
                    <a:pt x="345989" y="15497"/>
                  </a:cubicBezTo>
                  <a:lnTo>
                    <a:pt x="605481" y="27854"/>
                  </a:lnTo>
                  <a:lnTo>
                    <a:pt x="815546" y="40211"/>
                  </a:lnTo>
                  <a:cubicBezTo>
                    <a:pt x="827903" y="44330"/>
                    <a:pt x="839980" y="49409"/>
                    <a:pt x="852616" y="52568"/>
                  </a:cubicBezTo>
                  <a:cubicBezTo>
                    <a:pt x="966661" y="81079"/>
                    <a:pt x="1005253" y="64924"/>
                    <a:pt x="1161535" y="64924"/>
                  </a:cubicBezTo>
                </a:path>
              </a:pathLst>
            </a:custGeom>
            <a:solidFill>
              <a:schemeClr val="bg1"/>
            </a:solidFill>
            <a:ln w="38100" cap="flat" cmpd="sng" algn="ctr">
              <a:solidFill>
                <a:srgbClr val="FFC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583" name="TextBox 131"/>
            <p:cNvSpPr txBox="1">
              <a:spLocks noChangeArrowheads="1"/>
            </p:cNvSpPr>
            <p:nvPr/>
          </p:nvSpPr>
          <p:spPr bwMode="auto">
            <a:xfrm>
              <a:off x="2490759" y="4075088"/>
              <a:ext cx="568325" cy="215900"/>
            </a:xfrm>
            <a:prstGeom prst="rect">
              <a:avLst/>
            </a:prstGeom>
            <a:noFill/>
            <a:ln w="9525">
              <a:noFill/>
              <a:miter lim="800000"/>
              <a:headEnd/>
              <a:tailEnd/>
            </a:ln>
          </p:spPr>
          <p:txBody>
            <a:bodyPr wrap="none">
              <a:spAutoFit/>
            </a:bodyPr>
            <a:lstStyle/>
            <a:p>
              <a:pPr>
                <a:spcBef>
                  <a:spcPct val="50000"/>
                </a:spcBef>
              </a:pPr>
              <a:r>
                <a:rPr lang="en-US" sz="800" b="1" i="0" smtClean="0">
                  <a:latin typeface="Calibri" pitchFamily="34" charset="0"/>
                </a:rPr>
                <a:t>POP MW</a:t>
              </a:r>
              <a:endParaRPr lang="en-US" sz="800" b="1" i="0" dirty="0">
                <a:latin typeface="Calibri" pitchFamily="34" charset="0"/>
              </a:endParaRPr>
            </a:p>
          </p:txBody>
        </p:sp>
        <p:sp>
          <p:nvSpPr>
            <p:cNvPr id="584" name="Freeform 583"/>
            <p:cNvSpPr/>
            <p:nvPr/>
          </p:nvSpPr>
          <p:spPr bwMode="auto">
            <a:xfrm>
              <a:off x="2520778" y="2541210"/>
              <a:ext cx="476470" cy="683904"/>
            </a:xfrm>
            <a:custGeom>
              <a:avLst/>
              <a:gdLst>
                <a:gd name="connsiteX0" fmla="*/ 457200 w 476470"/>
                <a:gd name="connsiteY0" fmla="*/ 4282 h 683904"/>
                <a:gd name="connsiteX1" fmla="*/ 345990 w 476470"/>
                <a:gd name="connsiteY1" fmla="*/ 28995 h 683904"/>
                <a:gd name="connsiteX2" fmla="*/ 308919 w 476470"/>
                <a:gd name="connsiteY2" fmla="*/ 41352 h 683904"/>
                <a:gd name="connsiteX3" fmla="*/ 271849 w 476470"/>
                <a:gd name="connsiteY3" fmla="*/ 66066 h 683904"/>
                <a:gd name="connsiteX4" fmla="*/ 259492 w 476470"/>
                <a:gd name="connsiteY4" fmla="*/ 103136 h 683904"/>
                <a:gd name="connsiteX5" fmla="*/ 234779 w 476470"/>
                <a:gd name="connsiteY5" fmla="*/ 152563 h 683904"/>
                <a:gd name="connsiteX6" fmla="*/ 197708 w 476470"/>
                <a:gd name="connsiteY6" fmla="*/ 461482 h 683904"/>
                <a:gd name="connsiteX7" fmla="*/ 185352 w 476470"/>
                <a:gd name="connsiteY7" fmla="*/ 535622 h 683904"/>
                <a:gd name="connsiteX8" fmla="*/ 111211 w 476470"/>
                <a:gd name="connsiteY8" fmla="*/ 585049 h 683904"/>
                <a:gd name="connsiteX9" fmla="*/ 24714 w 476470"/>
                <a:gd name="connsiteY9" fmla="*/ 634476 h 683904"/>
                <a:gd name="connsiteX10" fmla="*/ 0 w 476470"/>
                <a:gd name="connsiteY10" fmla="*/ 683904 h 683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6470" h="683904">
                  <a:moveTo>
                    <a:pt x="457200" y="4282"/>
                  </a:moveTo>
                  <a:cubicBezTo>
                    <a:pt x="373751" y="32099"/>
                    <a:pt x="476470" y="0"/>
                    <a:pt x="345990" y="28995"/>
                  </a:cubicBezTo>
                  <a:cubicBezTo>
                    <a:pt x="333275" y="31821"/>
                    <a:pt x="321276" y="37233"/>
                    <a:pt x="308919" y="41352"/>
                  </a:cubicBezTo>
                  <a:cubicBezTo>
                    <a:pt x="296562" y="49590"/>
                    <a:pt x="281126" y="54469"/>
                    <a:pt x="271849" y="66066"/>
                  </a:cubicBezTo>
                  <a:cubicBezTo>
                    <a:pt x="263712" y="76237"/>
                    <a:pt x="264623" y="91164"/>
                    <a:pt x="259492" y="103136"/>
                  </a:cubicBezTo>
                  <a:cubicBezTo>
                    <a:pt x="252236" y="120067"/>
                    <a:pt x="243017" y="136087"/>
                    <a:pt x="234779" y="152563"/>
                  </a:cubicBezTo>
                  <a:cubicBezTo>
                    <a:pt x="220427" y="396535"/>
                    <a:pt x="239434" y="294580"/>
                    <a:pt x="197708" y="461482"/>
                  </a:cubicBezTo>
                  <a:cubicBezTo>
                    <a:pt x="191631" y="485788"/>
                    <a:pt x="195527" y="512727"/>
                    <a:pt x="185352" y="535622"/>
                  </a:cubicBezTo>
                  <a:cubicBezTo>
                    <a:pt x="167068" y="576761"/>
                    <a:pt x="143993" y="571000"/>
                    <a:pt x="111211" y="585049"/>
                  </a:cubicBezTo>
                  <a:cubicBezTo>
                    <a:pt x="67318" y="603860"/>
                    <a:pt x="61941" y="609659"/>
                    <a:pt x="24714" y="634476"/>
                  </a:cubicBezTo>
                  <a:cubicBezTo>
                    <a:pt x="10515" y="677073"/>
                    <a:pt x="21567" y="662337"/>
                    <a:pt x="0" y="683904"/>
                  </a:cubicBezTo>
                </a:path>
              </a:pathLst>
            </a:custGeom>
            <a:noFill/>
            <a:ln w="12700" cap="flat" cmpd="sng" algn="ctr">
              <a:solidFill>
                <a:srgbClr val="FFC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585" name="Freeform 584"/>
            <p:cNvSpPr/>
            <p:nvPr/>
          </p:nvSpPr>
          <p:spPr bwMode="auto">
            <a:xfrm>
              <a:off x="2113005" y="3014639"/>
              <a:ext cx="353644" cy="210475"/>
            </a:xfrm>
            <a:custGeom>
              <a:avLst/>
              <a:gdLst>
                <a:gd name="connsiteX0" fmla="*/ 345990 w 353644"/>
                <a:gd name="connsiteY0" fmla="*/ 210475 h 210475"/>
                <a:gd name="connsiteX1" fmla="*/ 321276 w 353644"/>
                <a:gd name="connsiteY1" fmla="*/ 62193 h 210475"/>
                <a:gd name="connsiteX2" fmla="*/ 210065 w 353644"/>
                <a:gd name="connsiteY2" fmla="*/ 49837 h 210475"/>
                <a:gd name="connsiteX3" fmla="*/ 172995 w 353644"/>
                <a:gd name="connsiteY3" fmla="*/ 37480 h 210475"/>
                <a:gd name="connsiteX4" fmla="*/ 135925 w 353644"/>
                <a:gd name="connsiteY4" fmla="*/ 12766 h 210475"/>
                <a:gd name="connsiteX5" fmla="*/ 0 w 353644"/>
                <a:gd name="connsiteY5" fmla="*/ 410 h 210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3644" h="210475">
                  <a:moveTo>
                    <a:pt x="345990" y="210475"/>
                  </a:moveTo>
                  <a:cubicBezTo>
                    <a:pt x="337752" y="161048"/>
                    <a:pt x="353644" y="100446"/>
                    <a:pt x="321276" y="62193"/>
                  </a:cubicBezTo>
                  <a:cubicBezTo>
                    <a:pt x="297183" y="33720"/>
                    <a:pt x="246856" y="55969"/>
                    <a:pt x="210065" y="49837"/>
                  </a:cubicBezTo>
                  <a:cubicBezTo>
                    <a:pt x="197217" y="47696"/>
                    <a:pt x="184645" y="43305"/>
                    <a:pt x="172995" y="37480"/>
                  </a:cubicBezTo>
                  <a:cubicBezTo>
                    <a:pt x="159712" y="30838"/>
                    <a:pt x="150396" y="16105"/>
                    <a:pt x="135925" y="12766"/>
                  </a:cubicBezTo>
                  <a:cubicBezTo>
                    <a:pt x="80606" y="0"/>
                    <a:pt x="46553" y="410"/>
                    <a:pt x="0" y="410"/>
                  </a:cubicBezTo>
                </a:path>
              </a:pathLst>
            </a:custGeom>
            <a:noFill/>
            <a:ln w="12700" cap="flat" cmpd="sng" algn="ctr">
              <a:solidFill>
                <a:srgbClr val="FFC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586" name="Freeform 585"/>
            <p:cNvSpPr/>
            <p:nvPr/>
          </p:nvSpPr>
          <p:spPr bwMode="auto">
            <a:xfrm>
              <a:off x="2063578" y="2718486"/>
              <a:ext cx="293345" cy="148282"/>
            </a:xfrm>
            <a:custGeom>
              <a:avLst/>
              <a:gdLst>
                <a:gd name="connsiteX0" fmla="*/ 0 w 293345"/>
                <a:gd name="connsiteY0" fmla="*/ 148282 h 148282"/>
                <a:gd name="connsiteX1" fmla="*/ 247136 w 293345"/>
                <a:gd name="connsiteY1" fmla="*/ 123568 h 148282"/>
                <a:gd name="connsiteX2" fmla="*/ 259492 w 293345"/>
                <a:gd name="connsiteY2" fmla="*/ 86498 h 148282"/>
                <a:gd name="connsiteX3" fmla="*/ 284206 w 293345"/>
                <a:gd name="connsiteY3" fmla="*/ 0 h 148282"/>
              </a:gdLst>
              <a:ahLst/>
              <a:cxnLst>
                <a:cxn ang="0">
                  <a:pos x="connsiteX0" y="connsiteY0"/>
                </a:cxn>
                <a:cxn ang="0">
                  <a:pos x="connsiteX1" y="connsiteY1"/>
                </a:cxn>
                <a:cxn ang="0">
                  <a:pos x="connsiteX2" y="connsiteY2"/>
                </a:cxn>
                <a:cxn ang="0">
                  <a:pos x="connsiteX3" y="connsiteY3"/>
                </a:cxn>
              </a:cxnLst>
              <a:rect l="l" t="t" r="r" b="b"/>
              <a:pathLst>
                <a:path w="293345" h="148282">
                  <a:moveTo>
                    <a:pt x="0" y="148282"/>
                  </a:moveTo>
                  <a:cubicBezTo>
                    <a:pt x="82379" y="140044"/>
                    <a:pt x="166598" y="142744"/>
                    <a:pt x="247136" y="123568"/>
                  </a:cubicBezTo>
                  <a:cubicBezTo>
                    <a:pt x="259807" y="120551"/>
                    <a:pt x="253667" y="98148"/>
                    <a:pt x="259492" y="86498"/>
                  </a:cubicBezTo>
                  <a:cubicBezTo>
                    <a:pt x="293345" y="18791"/>
                    <a:pt x="284206" y="83059"/>
                    <a:pt x="284206" y="0"/>
                  </a:cubicBezTo>
                </a:path>
              </a:pathLst>
            </a:custGeom>
            <a:noFill/>
            <a:ln w="12700" cap="flat" cmpd="sng" algn="ctr">
              <a:solidFill>
                <a:srgbClr val="FFC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587" name="Freeform 586"/>
            <p:cNvSpPr/>
            <p:nvPr/>
          </p:nvSpPr>
          <p:spPr bwMode="auto">
            <a:xfrm>
              <a:off x="2150076" y="2100649"/>
              <a:ext cx="210065" cy="432486"/>
            </a:xfrm>
            <a:custGeom>
              <a:avLst/>
              <a:gdLst>
                <a:gd name="connsiteX0" fmla="*/ 210065 w 210065"/>
                <a:gd name="connsiteY0" fmla="*/ 432486 h 432486"/>
                <a:gd name="connsiteX1" fmla="*/ 197708 w 210065"/>
                <a:gd name="connsiteY1" fmla="*/ 321275 h 432486"/>
                <a:gd name="connsiteX2" fmla="*/ 185351 w 210065"/>
                <a:gd name="connsiteY2" fmla="*/ 284205 h 432486"/>
                <a:gd name="connsiteX3" fmla="*/ 135924 w 210065"/>
                <a:gd name="connsiteY3" fmla="*/ 247135 h 432486"/>
                <a:gd name="connsiteX4" fmla="*/ 111210 w 210065"/>
                <a:gd name="connsiteY4" fmla="*/ 210065 h 432486"/>
                <a:gd name="connsiteX5" fmla="*/ 61783 w 210065"/>
                <a:gd name="connsiteY5" fmla="*/ 61783 h 432486"/>
                <a:gd name="connsiteX6" fmla="*/ 37070 w 210065"/>
                <a:gd name="connsiteY6" fmla="*/ 24713 h 432486"/>
                <a:gd name="connsiteX7" fmla="*/ 0 w 210065"/>
                <a:gd name="connsiteY7" fmla="*/ 0 h 432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0065" h="432486">
                  <a:moveTo>
                    <a:pt x="210065" y="432486"/>
                  </a:moveTo>
                  <a:cubicBezTo>
                    <a:pt x="205946" y="395416"/>
                    <a:pt x="203840" y="358066"/>
                    <a:pt x="197708" y="321275"/>
                  </a:cubicBezTo>
                  <a:cubicBezTo>
                    <a:pt x="195567" y="308427"/>
                    <a:pt x="193690" y="294211"/>
                    <a:pt x="185351" y="284205"/>
                  </a:cubicBezTo>
                  <a:cubicBezTo>
                    <a:pt x="172167" y="268384"/>
                    <a:pt x="150487" y="261697"/>
                    <a:pt x="135924" y="247135"/>
                  </a:cubicBezTo>
                  <a:cubicBezTo>
                    <a:pt x="125423" y="236634"/>
                    <a:pt x="119448" y="222422"/>
                    <a:pt x="111210" y="210065"/>
                  </a:cubicBezTo>
                  <a:lnTo>
                    <a:pt x="61783" y="61783"/>
                  </a:lnTo>
                  <a:cubicBezTo>
                    <a:pt x="57087" y="47694"/>
                    <a:pt x="47571" y="35214"/>
                    <a:pt x="37070" y="24713"/>
                  </a:cubicBezTo>
                  <a:cubicBezTo>
                    <a:pt x="26569" y="14212"/>
                    <a:pt x="0" y="0"/>
                    <a:pt x="0" y="0"/>
                  </a:cubicBezTo>
                </a:path>
              </a:pathLst>
            </a:custGeom>
            <a:noFill/>
            <a:ln w="12700" cap="flat" cmpd="sng" algn="ctr">
              <a:solidFill>
                <a:srgbClr val="FFC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588" name="Freeform 587"/>
            <p:cNvSpPr/>
            <p:nvPr/>
          </p:nvSpPr>
          <p:spPr bwMode="auto">
            <a:xfrm>
              <a:off x="2211859" y="1977081"/>
              <a:ext cx="753763" cy="420130"/>
            </a:xfrm>
            <a:custGeom>
              <a:avLst/>
              <a:gdLst>
                <a:gd name="connsiteX0" fmla="*/ 0 w 753763"/>
                <a:gd name="connsiteY0" fmla="*/ 0 h 420130"/>
                <a:gd name="connsiteX1" fmla="*/ 222422 w 753763"/>
                <a:gd name="connsiteY1" fmla="*/ 12357 h 420130"/>
                <a:gd name="connsiteX2" fmla="*/ 296563 w 753763"/>
                <a:gd name="connsiteY2" fmla="*/ 37070 h 420130"/>
                <a:gd name="connsiteX3" fmla="*/ 333633 w 753763"/>
                <a:gd name="connsiteY3" fmla="*/ 61784 h 420130"/>
                <a:gd name="connsiteX4" fmla="*/ 407773 w 753763"/>
                <a:gd name="connsiteY4" fmla="*/ 86497 h 420130"/>
                <a:gd name="connsiteX5" fmla="*/ 481914 w 753763"/>
                <a:gd name="connsiteY5" fmla="*/ 135924 h 420130"/>
                <a:gd name="connsiteX6" fmla="*/ 518984 w 753763"/>
                <a:gd name="connsiteY6" fmla="*/ 148281 h 420130"/>
                <a:gd name="connsiteX7" fmla="*/ 593125 w 753763"/>
                <a:gd name="connsiteY7" fmla="*/ 185351 h 420130"/>
                <a:gd name="connsiteX8" fmla="*/ 654909 w 753763"/>
                <a:gd name="connsiteY8" fmla="*/ 259492 h 420130"/>
                <a:gd name="connsiteX9" fmla="*/ 667265 w 753763"/>
                <a:gd name="connsiteY9" fmla="*/ 296562 h 420130"/>
                <a:gd name="connsiteX10" fmla="*/ 691979 w 753763"/>
                <a:gd name="connsiteY10" fmla="*/ 333633 h 420130"/>
                <a:gd name="connsiteX11" fmla="*/ 716692 w 753763"/>
                <a:gd name="connsiteY11" fmla="*/ 407773 h 420130"/>
                <a:gd name="connsiteX12" fmla="*/ 753763 w 753763"/>
                <a:gd name="connsiteY12" fmla="*/ 420130 h 420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53763" h="420130">
                  <a:moveTo>
                    <a:pt x="0" y="0"/>
                  </a:moveTo>
                  <a:cubicBezTo>
                    <a:pt x="74141" y="4119"/>
                    <a:pt x="148740" y="3147"/>
                    <a:pt x="222422" y="12357"/>
                  </a:cubicBezTo>
                  <a:cubicBezTo>
                    <a:pt x="248271" y="15588"/>
                    <a:pt x="296563" y="37070"/>
                    <a:pt x="296563" y="37070"/>
                  </a:cubicBezTo>
                  <a:cubicBezTo>
                    <a:pt x="308920" y="45308"/>
                    <a:pt x="320062" y="55752"/>
                    <a:pt x="333633" y="61784"/>
                  </a:cubicBezTo>
                  <a:cubicBezTo>
                    <a:pt x="357438" y="72364"/>
                    <a:pt x="407773" y="86497"/>
                    <a:pt x="407773" y="86497"/>
                  </a:cubicBezTo>
                  <a:cubicBezTo>
                    <a:pt x="432487" y="102973"/>
                    <a:pt x="453736" y="126531"/>
                    <a:pt x="481914" y="135924"/>
                  </a:cubicBezTo>
                  <a:cubicBezTo>
                    <a:pt x="494271" y="140043"/>
                    <a:pt x="507334" y="142456"/>
                    <a:pt x="518984" y="148281"/>
                  </a:cubicBezTo>
                  <a:cubicBezTo>
                    <a:pt x="614792" y="196186"/>
                    <a:pt x="499957" y="154297"/>
                    <a:pt x="593125" y="185351"/>
                  </a:cubicBezTo>
                  <a:cubicBezTo>
                    <a:pt x="620450" y="212677"/>
                    <a:pt x="637707" y="225088"/>
                    <a:pt x="654909" y="259492"/>
                  </a:cubicBezTo>
                  <a:cubicBezTo>
                    <a:pt x="660734" y="271142"/>
                    <a:pt x="661440" y="284912"/>
                    <a:pt x="667265" y="296562"/>
                  </a:cubicBezTo>
                  <a:cubicBezTo>
                    <a:pt x="673907" y="309845"/>
                    <a:pt x="685947" y="320062"/>
                    <a:pt x="691979" y="333633"/>
                  </a:cubicBezTo>
                  <a:cubicBezTo>
                    <a:pt x="702559" y="357438"/>
                    <a:pt x="708454" y="383060"/>
                    <a:pt x="716692" y="407773"/>
                  </a:cubicBezTo>
                  <a:cubicBezTo>
                    <a:pt x="720811" y="420130"/>
                    <a:pt x="753763" y="420130"/>
                    <a:pt x="753763" y="420130"/>
                  </a:cubicBezTo>
                </a:path>
              </a:pathLst>
            </a:custGeom>
            <a:noFill/>
            <a:ln w="12700" cap="flat" cmpd="sng" algn="ctr">
              <a:solidFill>
                <a:srgbClr val="FFC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589" name="Freeform 588"/>
            <p:cNvSpPr/>
            <p:nvPr/>
          </p:nvSpPr>
          <p:spPr bwMode="auto">
            <a:xfrm>
              <a:off x="4324865" y="3076832"/>
              <a:ext cx="259492" cy="506627"/>
            </a:xfrm>
            <a:custGeom>
              <a:avLst/>
              <a:gdLst>
                <a:gd name="connsiteX0" fmla="*/ 259492 w 259492"/>
                <a:gd name="connsiteY0" fmla="*/ 506627 h 506627"/>
                <a:gd name="connsiteX1" fmla="*/ 247135 w 259492"/>
                <a:gd name="connsiteY1" fmla="*/ 457200 h 506627"/>
                <a:gd name="connsiteX2" fmla="*/ 185351 w 259492"/>
                <a:gd name="connsiteY2" fmla="*/ 395417 h 506627"/>
                <a:gd name="connsiteX3" fmla="*/ 111211 w 259492"/>
                <a:gd name="connsiteY3" fmla="*/ 333633 h 506627"/>
                <a:gd name="connsiteX4" fmla="*/ 74140 w 259492"/>
                <a:gd name="connsiteY4" fmla="*/ 111211 h 506627"/>
                <a:gd name="connsiteX5" fmla="*/ 24713 w 259492"/>
                <a:gd name="connsiteY5" fmla="*/ 37071 h 506627"/>
                <a:gd name="connsiteX6" fmla="*/ 0 w 259492"/>
                <a:gd name="connsiteY6" fmla="*/ 0 h 506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9492" h="506627">
                  <a:moveTo>
                    <a:pt x="259492" y="506627"/>
                  </a:moveTo>
                  <a:cubicBezTo>
                    <a:pt x="255373" y="490151"/>
                    <a:pt x="253825" y="472810"/>
                    <a:pt x="247135" y="457200"/>
                  </a:cubicBezTo>
                  <a:cubicBezTo>
                    <a:pt x="226997" y="410213"/>
                    <a:pt x="221964" y="425928"/>
                    <a:pt x="185351" y="395417"/>
                  </a:cubicBezTo>
                  <a:cubicBezTo>
                    <a:pt x="90209" y="316131"/>
                    <a:pt x="203248" y="394990"/>
                    <a:pt x="111211" y="333633"/>
                  </a:cubicBezTo>
                  <a:cubicBezTo>
                    <a:pt x="39347" y="225839"/>
                    <a:pt x="140863" y="391446"/>
                    <a:pt x="74140" y="111211"/>
                  </a:cubicBezTo>
                  <a:cubicBezTo>
                    <a:pt x="67260" y="82317"/>
                    <a:pt x="41188" y="61784"/>
                    <a:pt x="24713" y="37071"/>
                  </a:cubicBezTo>
                  <a:lnTo>
                    <a:pt x="0" y="0"/>
                  </a:lnTo>
                </a:path>
              </a:pathLst>
            </a:custGeom>
            <a:noFill/>
            <a:ln w="12700" cap="flat" cmpd="sng" algn="ctr">
              <a:solidFill>
                <a:srgbClr val="FFC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590" name="Freeform 589"/>
            <p:cNvSpPr/>
            <p:nvPr/>
          </p:nvSpPr>
          <p:spPr bwMode="auto">
            <a:xfrm>
              <a:off x="4077730" y="3076832"/>
              <a:ext cx="148281" cy="358346"/>
            </a:xfrm>
            <a:custGeom>
              <a:avLst/>
              <a:gdLst>
                <a:gd name="connsiteX0" fmla="*/ 0 w 148281"/>
                <a:gd name="connsiteY0" fmla="*/ 358346 h 358346"/>
                <a:gd name="connsiteX1" fmla="*/ 24713 w 148281"/>
                <a:gd name="connsiteY1" fmla="*/ 197709 h 358346"/>
                <a:gd name="connsiteX2" fmla="*/ 49427 w 148281"/>
                <a:gd name="connsiteY2" fmla="*/ 123568 h 358346"/>
                <a:gd name="connsiteX3" fmla="*/ 74140 w 148281"/>
                <a:gd name="connsiteY3" fmla="*/ 86498 h 358346"/>
                <a:gd name="connsiteX4" fmla="*/ 123567 w 148281"/>
                <a:gd name="connsiteY4" fmla="*/ 37071 h 358346"/>
                <a:gd name="connsiteX5" fmla="*/ 148281 w 148281"/>
                <a:gd name="connsiteY5" fmla="*/ 0 h 358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8281" h="358346">
                  <a:moveTo>
                    <a:pt x="0" y="358346"/>
                  </a:moveTo>
                  <a:cubicBezTo>
                    <a:pt x="8702" y="280025"/>
                    <a:pt x="5827" y="260660"/>
                    <a:pt x="24713" y="197709"/>
                  </a:cubicBezTo>
                  <a:cubicBezTo>
                    <a:pt x="32199" y="172757"/>
                    <a:pt x="34977" y="145243"/>
                    <a:pt x="49427" y="123568"/>
                  </a:cubicBezTo>
                  <a:cubicBezTo>
                    <a:pt x="57665" y="111211"/>
                    <a:pt x="67499" y="99781"/>
                    <a:pt x="74140" y="86498"/>
                  </a:cubicBezTo>
                  <a:cubicBezTo>
                    <a:pt x="100501" y="33776"/>
                    <a:pt x="64255" y="56841"/>
                    <a:pt x="123567" y="37071"/>
                  </a:cubicBezTo>
                  <a:lnTo>
                    <a:pt x="148281" y="0"/>
                  </a:lnTo>
                </a:path>
              </a:pathLst>
            </a:custGeom>
            <a:noFill/>
            <a:ln w="12700" cap="flat" cmpd="sng" algn="ctr">
              <a:solidFill>
                <a:srgbClr val="FFC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591" name="Freeform 590"/>
            <p:cNvSpPr/>
            <p:nvPr/>
          </p:nvSpPr>
          <p:spPr bwMode="auto">
            <a:xfrm>
              <a:off x="4090086" y="2310714"/>
              <a:ext cx="135925" cy="531340"/>
            </a:xfrm>
            <a:custGeom>
              <a:avLst/>
              <a:gdLst>
                <a:gd name="connsiteX0" fmla="*/ 0 w 135925"/>
                <a:gd name="connsiteY0" fmla="*/ 0 h 531340"/>
                <a:gd name="connsiteX1" fmla="*/ 12357 w 135925"/>
                <a:gd name="connsiteY1" fmla="*/ 185351 h 531340"/>
                <a:gd name="connsiteX2" fmla="*/ 37071 w 135925"/>
                <a:gd name="connsiteY2" fmla="*/ 222421 h 531340"/>
                <a:gd name="connsiteX3" fmla="*/ 49428 w 135925"/>
                <a:gd name="connsiteY3" fmla="*/ 271848 h 531340"/>
                <a:gd name="connsiteX4" fmla="*/ 61784 w 135925"/>
                <a:gd name="connsiteY4" fmla="*/ 308918 h 531340"/>
                <a:gd name="connsiteX5" fmla="*/ 74141 w 135925"/>
                <a:gd name="connsiteY5" fmla="*/ 370702 h 531340"/>
                <a:gd name="connsiteX6" fmla="*/ 86498 w 135925"/>
                <a:gd name="connsiteY6" fmla="*/ 407772 h 531340"/>
                <a:gd name="connsiteX7" fmla="*/ 111211 w 135925"/>
                <a:gd name="connsiteY7" fmla="*/ 494270 h 531340"/>
                <a:gd name="connsiteX8" fmla="*/ 135925 w 135925"/>
                <a:gd name="connsiteY8" fmla="*/ 531340 h 531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925" h="531340">
                  <a:moveTo>
                    <a:pt x="0" y="0"/>
                  </a:moveTo>
                  <a:cubicBezTo>
                    <a:pt x="4119" y="61784"/>
                    <a:pt x="2177" y="124273"/>
                    <a:pt x="12357" y="185351"/>
                  </a:cubicBezTo>
                  <a:cubicBezTo>
                    <a:pt x="14799" y="200000"/>
                    <a:pt x="31221" y="208771"/>
                    <a:pt x="37071" y="222421"/>
                  </a:cubicBezTo>
                  <a:cubicBezTo>
                    <a:pt x="43761" y="238031"/>
                    <a:pt x="44763" y="255519"/>
                    <a:pt x="49428" y="271848"/>
                  </a:cubicBezTo>
                  <a:cubicBezTo>
                    <a:pt x="53006" y="284372"/>
                    <a:pt x="58625" y="296282"/>
                    <a:pt x="61784" y="308918"/>
                  </a:cubicBezTo>
                  <a:cubicBezTo>
                    <a:pt x="66878" y="329293"/>
                    <a:pt x="69047" y="350327"/>
                    <a:pt x="74141" y="370702"/>
                  </a:cubicBezTo>
                  <a:cubicBezTo>
                    <a:pt x="77300" y="383338"/>
                    <a:pt x="82920" y="395248"/>
                    <a:pt x="86498" y="407772"/>
                  </a:cubicBezTo>
                  <a:cubicBezTo>
                    <a:pt x="91775" y="426241"/>
                    <a:pt x="101337" y="474523"/>
                    <a:pt x="111211" y="494270"/>
                  </a:cubicBezTo>
                  <a:cubicBezTo>
                    <a:pt x="117853" y="507553"/>
                    <a:pt x="135925" y="531340"/>
                    <a:pt x="135925" y="531340"/>
                  </a:cubicBezTo>
                </a:path>
              </a:pathLst>
            </a:custGeom>
            <a:noFill/>
            <a:ln w="12700" cap="flat" cmpd="sng" algn="ctr">
              <a:solidFill>
                <a:srgbClr val="FFC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592" name="Freeform 591"/>
            <p:cNvSpPr/>
            <p:nvPr/>
          </p:nvSpPr>
          <p:spPr bwMode="auto">
            <a:xfrm>
              <a:off x="4300151" y="2557849"/>
              <a:ext cx="111211" cy="284205"/>
            </a:xfrm>
            <a:custGeom>
              <a:avLst/>
              <a:gdLst>
                <a:gd name="connsiteX0" fmla="*/ 111211 w 111211"/>
                <a:gd name="connsiteY0" fmla="*/ 0 h 284205"/>
                <a:gd name="connsiteX1" fmla="*/ 74141 w 111211"/>
                <a:gd name="connsiteY1" fmla="*/ 24713 h 284205"/>
                <a:gd name="connsiteX2" fmla="*/ 37071 w 111211"/>
                <a:gd name="connsiteY2" fmla="*/ 37070 h 284205"/>
                <a:gd name="connsiteX3" fmla="*/ 0 w 111211"/>
                <a:gd name="connsiteY3" fmla="*/ 111210 h 284205"/>
                <a:gd name="connsiteX4" fmla="*/ 12357 w 111211"/>
                <a:gd name="connsiteY4" fmla="*/ 284205 h 2842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211" h="284205">
                  <a:moveTo>
                    <a:pt x="111211" y="0"/>
                  </a:moveTo>
                  <a:cubicBezTo>
                    <a:pt x="98854" y="8238"/>
                    <a:pt x="87424" y="18072"/>
                    <a:pt x="74141" y="24713"/>
                  </a:cubicBezTo>
                  <a:cubicBezTo>
                    <a:pt x="62491" y="30538"/>
                    <a:pt x="47242" y="28933"/>
                    <a:pt x="37071" y="37070"/>
                  </a:cubicBezTo>
                  <a:cubicBezTo>
                    <a:pt x="15294" y="54491"/>
                    <a:pt x="8141" y="86789"/>
                    <a:pt x="0" y="111210"/>
                  </a:cubicBezTo>
                  <a:cubicBezTo>
                    <a:pt x="16435" y="226251"/>
                    <a:pt x="12357" y="168583"/>
                    <a:pt x="12357" y="284205"/>
                  </a:cubicBezTo>
                </a:path>
              </a:pathLst>
            </a:custGeom>
            <a:noFill/>
            <a:ln w="12700" cap="flat" cmpd="sng" algn="ctr">
              <a:solidFill>
                <a:srgbClr val="FFC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593" name="Freeform 592"/>
            <p:cNvSpPr/>
            <p:nvPr/>
          </p:nvSpPr>
          <p:spPr bwMode="auto">
            <a:xfrm>
              <a:off x="5684108" y="2360141"/>
              <a:ext cx="729049" cy="370702"/>
            </a:xfrm>
            <a:custGeom>
              <a:avLst/>
              <a:gdLst>
                <a:gd name="connsiteX0" fmla="*/ 0 w 729049"/>
                <a:gd name="connsiteY0" fmla="*/ 370702 h 370702"/>
                <a:gd name="connsiteX1" fmla="*/ 111211 w 729049"/>
                <a:gd name="connsiteY1" fmla="*/ 358345 h 370702"/>
                <a:gd name="connsiteX2" fmla="*/ 148281 w 729049"/>
                <a:gd name="connsiteY2" fmla="*/ 321275 h 370702"/>
                <a:gd name="connsiteX3" fmla="*/ 185351 w 729049"/>
                <a:gd name="connsiteY3" fmla="*/ 296562 h 370702"/>
                <a:gd name="connsiteX4" fmla="*/ 210065 w 729049"/>
                <a:gd name="connsiteY4" fmla="*/ 259491 h 370702"/>
                <a:gd name="connsiteX5" fmla="*/ 247135 w 729049"/>
                <a:gd name="connsiteY5" fmla="*/ 185351 h 370702"/>
                <a:gd name="connsiteX6" fmla="*/ 321276 w 729049"/>
                <a:gd name="connsiteY6" fmla="*/ 172994 h 370702"/>
                <a:gd name="connsiteX7" fmla="*/ 395416 w 729049"/>
                <a:gd name="connsiteY7" fmla="*/ 148281 h 370702"/>
                <a:gd name="connsiteX8" fmla="*/ 420130 w 729049"/>
                <a:gd name="connsiteY8" fmla="*/ 111210 h 370702"/>
                <a:gd name="connsiteX9" fmla="*/ 457200 w 729049"/>
                <a:gd name="connsiteY9" fmla="*/ 74140 h 370702"/>
                <a:gd name="connsiteX10" fmla="*/ 580768 w 729049"/>
                <a:gd name="connsiteY10" fmla="*/ 61783 h 370702"/>
                <a:gd name="connsiteX11" fmla="*/ 654908 w 729049"/>
                <a:gd name="connsiteY11" fmla="*/ 49427 h 370702"/>
                <a:gd name="connsiteX12" fmla="*/ 691978 w 729049"/>
                <a:gd name="connsiteY12" fmla="*/ 12356 h 370702"/>
                <a:gd name="connsiteX13" fmla="*/ 729049 w 729049"/>
                <a:gd name="connsiteY13" fmla="*/ 0 h 370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9049" h="370702">
                  <a:moveTo>
                    <a:pt x="0" y="370702"/>
                  </a:moveTo>
                  <a:cubicBezTo>
                    <a:pt x="37070" y="366583"/>
                    <a:pt x="75827" y="370140"/>
                    <a:pt x="111211" y="358345"/>
                  </a:cubicBezTo>
                  <a:cubicBezTo>
                    <a:pt x="127789" y="352819"/>
                    <a:pt x="134856" y="332462"/>
                    <a:pt x="148281" y="321275"/>
                  </a:cubicBezTo>
                  <a:cubicBezTo>
                    <a:pt x="159690" y="311768"/>
                    <a:pt x="172994" y="304800"/>
                    <a:pt x="185351" y="296562"/>
                  </a:cubicBezTo>
                  <a:cubicBezTo>
                    <a:pt x="193589" y="284205"/>
                    <a:pt x="203423" y="272774"/>
                    <a:pt x="210065" y="259491"/>
                  </a:cubicBezTo>
                  <a:cubicBezTo>
                    <a:pt x="219812" y="239998"/>
                    <a:pt x="223528" y="197155"/>
                    <a:pt x="247135" y="185351"/>
                  </a:cubicBezTo>
                  <a:cubicBezTo>
                    <a:pt x="269544" y="174146"/>
                    <a:pt x="296562" y="177113"/>
                    <a:pt x="321276" y="172994"/>
                  </a:cubicBezTo>
                  <a:lnTo>
                    <a:pt x="395416" y="148281"/>
                  </a:lnTo>
                  <a:cubicBezTo>
                    <a:pt x="409505" y="143585"/>
                    <a:pt x="410622" y="122619"/>
                    <a:pt x="420130" y="111210"/>
                  </a:cubicBezTo>
                  <a:cubicBezTo>
                    <a:pt x="431317" y="97785"/>
                    <a:pt x="440498" y="79279"/>
                    <a:pt x="457200" y="74140"/>
                  </a:cubicBezTo>
                  <a:cubicBezTo>
                    <a:pt x="496764" y="61966"/>
                    <a:pt x="539693" y="66917"/>
                    <a:pt x="580768" y="61783"/>
                  </a:cubicBezTo>
                  <a:cubicBezTo>
                    <a:pt x="605629" y="58675"/>
                    <a:pt x="630195" y="53546"/>
                    <a:pt x="654908" y="49427"/>
                  </a:cubicBezTo>
                  <a:cubicBezTo>
                    <a:pt x="667265" y="37070"/>
                    <a:pt x="677438" y="22049"/>
                    <a:pt x="691978" y="12356"/>
                  </a:cubicBezTo>
                  <a:cubicBezTo>
                    <a:pt x="702816" y="5131"/>
                    <a:pt x="729049" y="0"/>
                    <a:pt x="729049" y="0"/>
                  </a:cubicBezTo>
                </a:path>
              </a:pathLst>
            </a:custGeom>
            <a:noFill/>
            <a:ln w="9525" cap="flat" cmpd="sng" algn="ctr">
              <a:solidFill>
                <a:srgbClr val="FFC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594" name="Freeform 593"/>
            <p:cNvSpPr/>
            <p:nvPr/>
          </p:nvSpPr>
          <p:spPr bwMode="auto">
            <a:xfrm>
              <a:off x="6292192" y="2396212"/>
              <a:ext cx="182749" cy="470556"/>
            </a:xfrm>
            <a:custGeom>
              <a:avLst/>
              <a:gdLst>
                <a:gd name="connsiteX0" fmla="*/ 182749 w 182749"/>
                <a:gd name="connsiteY0" fmla="*/ 25712 h 470556"/>
                <a:gd name="connsiteX1" fmla="*/ 145678 w 182749"/>
                <a:gd name="connsiteY1" fmla="*/ 38069 h 470556"/>
                <a:gd name="connsiteX2" fmla="*/ 83894 w 182749"/>
                <a:gd name="connsiteY2" fmla="*/ 297561 h 470556"/>
                <a:gd name="connsiteX3" fmla="*/ 9754 w 182749"/>
                <a:gd name="connsiteY3" fmla="*/ 359345 h 470556"/>
                <a:gd name="connsiteX4" fmla="*/ 9754 w 182749"/>
                <a:gd name="connsiteY4" fmla="*/ 470556 h 470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49" h="470556">
                  <a:moveTo>
                    <a:pt x="182749" y="25712"/>
                  </a:moveTo>
                  <a:cubicBezTo>
                    <a:pt x="170392" y="29831"/>
                    <a:pt x="158202" y="34491"/>
                    <a:pt x="145678" y="38069"/>
                  </a:cubicBezTo>
                  <a:cubicBezTo>
                    <a:pt x="8296" y="77321"/>
                    <a:pt x="135644" y="0"/>
                    <a:pt x="83894" y="297561"/>
                  </a:cubicBezTo>
                  <a:cubicBezTo>
                    <a:pt x="57335" y="450273"/>
                    <a:pt x="43506" y="235584"/>
                    <a:pt x="9754" y="359345"/>
                  </a:cubicBezTo>
                  <a:cubicBezTo>
                    <a:pt x="0" y="395109"/>
                    <a:pt x="9754" y="433486"/>
                    <a:pt x="9754" y="470556"/>
                  </a:cubicBezTo>
                </a:path>
              </a:pathLst>
            </a:custGeom>
            <a:noFill/>
            <a:ln w="9525" cap="flat" cmpd="sng" algn="ctr">
              <a:solidFill>
                <a:srgbClr val="FFC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595" name="Freeform 594"/>
            <p:cNvSpPr/>
            <p:nvPr/>
          </p:nvSpPr>
          <p:spPr bwMode="auto">
            <a:xfrm>
              <a:off x="6174382" y="3015049"/>
              <a:ext cx="102850" cy="624723"/>
            </a:xfrm>
            <a:custGeom>
              <a:avLst/>
              <a:gdLst>
                <a:gd name="connsiteX0" fmla="*/ 102850 w 102850"/>
                <a:gd name="connsiteY0" fmla="*/ 0 h 624723"/>
                <a:gd name="connsiteX1" fmla="*/ 65780 w 102850"/>
                <a:gd name="connsiteY1" fmla="*/ 148281 h 624723"/>
                <a:gd name="connsiteX2" fmla="*/ 53423 w 102850"/>
                <a:gd name="connsiteY2" fmla="*/ 185351 h 624723"/>
                <a:gd name="connsiteX3" fmla="*/ 28710 w 102850"/>
                <a:gd name="connsiteY3" fmla="*/ 222421 h 624723"/>
                <a:gd name="connsiteX4" fmla="*/ 16353 w 102850"/>
                <a:gd name="connsiteY4" fmla="*/ 444843 h 624723"/>
                <a:gd name="connsiteX5" fmla="*/ 3996 w 102850"/>
                <a:gd name="connsiteY5" fmla="*/ 543697 h 624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850" h="624723">
                  <a:moveTo>
                    <a:pt x="102850" y="0"/>
                  </a:moveTo>
                  <a:cubicBezTo>
                    <a:pt x="86212" y="99835"/>
                    <a:pt x="98417" y="50372"/>
                    <a:pt x="65780" y="148281"/>
                  </a:cubicBezTo>
                  <a:cubicBezTo>
                    <a:pt x="61661" y="160638"/>
                    <a:pt x="60648" y="174513"/>
                    <a:pt x="53423" y="185351"/>
                  </a:cubicBezTo>
                  <a:lnTo>
                    <a:pt x="28710" y="222421"/>
                  </a:lnTo>
                  <a:cubicBezTo>
                    <a:pt x="24591" y="296562"/>
                    <a:pt x="23076" y="370893"/>
                    <a:pt x="16353" y="444843"/>
                  </a:cubicBezTo>
                  <a:cubicBezTo>
                    <a:pt x="0" y="624723"/>
                    <a:pt x="3996" y="366236"/>
                    <a:pt x="3996" y="543697"/>
                  </a:cubicBezTo>
                </a:path>
              </a:pathLst>
            </a:custGeom>
            <a:noFill/>
            <a:ln w="9525" cap="flat" cmpd="sng" algn="ctr">
              <a:solidFill>
                <a:srgbClr val="FFC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596" name="Freeform 595"/>
            <p:cNvSpPr/>
            <p:nvPr/>
          </p:nvSpPr>
          <p:spPr bwMode="auto">
            <a:xfrm>
              <a:off x="5622324" y="3756454"/>
              <a:ext cx="495574" cy="902043"/>
            </a:xfrm>
            <a:custGeom>
              <a:avLst/>
              <a:gdLst>
                <a:gd name="connsiteX0" fmla="*/ 0 w 495574"/>
                <a:gd name="connsiteY0" fmla="*/ 902043 h 902043"/>
                <a:gd name="connsiteX1" fmla="*/ 37071 w 495574"/>
                <a:gd name="connsiteY1" fmla="*/ 864973 h 902043"/>
                <a:gd name="connsiteX2" fmla="*/ 111211 w 495574"/>
                <a:gd name="connsiteY2" fmla="*/ 753762 h 902043"/>
                <a:gd name="connsiteX3" fmla="*/ 185352 w 495574"/>
                <a:gd name="connsiteY3" fmla="*/ 679622 h 902043"/>
                <a:gd name="connsiteX4" fmla="*/ 197708 w 495574"/>
                <a:gd name="connsiteY4" fmla="*/ 642551 h 902043"/>
                <a:gd name="connsiteX5" fmla="*/ 210065 w 495574"/>
                <a:gd name="connsiteY5" fmla="*/ 518984 h 902043"/>
                <a:gd name="connsiteX6" fmla="*/ 247135 w 495574"/>
                <a:gd name="connsiteY6" fmla="*/ 469557 h 902043"/>
                <a:gd name="connsiteX7" fmla="*/ 271849 w 495574"/>
                <a:gd name="connsiteY7" fmla="*/ 432487 h 902043"/>
                <a:gd name="connsiteX8" fmla="*/ 308919 w 495574"/>
                <a:gd name="connsiteY8" fmla="*/ 383060 h 902043"/>
                <a:gd name="connsiteX9" fmla="*/ 358346 w 495574"/>
                <a:gd name="connsiteY9" fmla="*/ 308919 h 902043"/>
                <a:gd name="connsiteX10" fmla="*/ 383060 w 495574"/>
                <a:gd name="connsiteY10" fmla="*/ 210065 h 902043"/>
                <a:gd name="connsiteX11" fmla="*/ 395417 w 495574"/>
                <a:gd name="connsiteY11" fmla="*/ 172995 h 902043"/>
                <a:gd name="connsiteX12" fmla="*/ 432487 w 495574"/>
                <a:gd name="connsiteY12" fmla="*/ 123568 h 902043"/>
                <a:gd name="connsiteX13" fmla="*/ 481914 w 495574"/>
                <a:gd name="connsiteY13" fmla="*/ 49427 h 902043"/>
                <a:gd name="connsiteX14" fmla="*/ 494271 w 495574"/>
                <a:gd name="connsiteY14" fmla="*/ 0 h 902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95574" h="902043">
                  <a:moveTo>
                    <a:pt x="0" y="902043"/>
                  </a:moveTo>
                  <a:cubicBezTo>
                    <a:pt x="12357" y="889686"/>
                    <a:pt x="26342" y="878767"/>
                    <a:pt x="37071" y="864973"/>
                  </a:cubicBezTo>
                  <a:cubicBezTo>
                    <a:pt x="37074" y="864970"/>
                    <a:pt x="98853" y="772299"/>
                    <a:pt x="111211" y="753762"/>
                  </a:cubicBezTo>
                  <a:cubicBezTo>
                    <a:pt x="130598" y="724682"/>
                    <a:pt x="185352" y="679622"/>
                    <a:pt x="185352" y="679622"/>
                  </a:cubicBezTo>
                  <a:cubicBezTo>
                    <a:pt x="189471" y="667265"/>
                    <a:pt x="195727" y="655425"/>
                    <a:pt x="197708" y="642551"/>
                  </a:cubicBezTo>
                  <a:cubicBezTo>
                    <a:pt x="204002" y="601638"/>
                    <a:pt x="198693" y="558786"/>
                    <a:pt x="210065" y="518984"/>
                  </a:cubicBezTo>
                  <a:cubicBezTo>
                    <a:pt x="215723" y="499182"/>
                    <a:pt x="235165" y="486315"/>
                    <a:pt x="247135" y="469557"/>
                  </a:cubicBezTo>
                  <a:cubicBezTo>
                    <a:pt x="255767" y="457472"/>
                    <a:pt x="263217" y="444572"/>
                    <a:pt x="271849" y="432487"/>
                  </a:cubicBezTo>
                  <a:cubicBezTo>
                    <a:pt x="283819" y="415729"/>
                    <a:pt x="297109" y="399932"/>
                    <a:pt x="308919" y="383060"/>
                  </a:cubicBezTo>
                  <a:cubicBezTo>
                    <a:pt x="325952" y="358727"/>
                    <a:pt x="358346" y="308919"/>
                    <a:pt x="358346" y="308919"/>
                  </a:cubicBezTo>
                  <a:cubicBezTo>
                    <a:pt x="366584" y="275968"/>
                    <a:pt x="372319" y="242287"/>
                    <a:pt x="383060" y="210065"/>
                  </a:cubicBezTo>
                  <a:cubicBezTo>
                    <a:pt x="387179" y="197708"/>
                    <a:pt x="388955" y="184304"/>
                    <a:pt x="395417" y="172995"/>
                  </a:cubicBezTo>
                  <a:cubicBezTo>
                    <a:pt x="405635" y="155114"/>
                    <a:pt x="420677" y="140440"/>
                    <a:pt x="432487" y="123568"/>
                  </a:cubicBezTo>
                  <a:cubicBezTo>
                    <a:pt x="449520" y="99235"/>
                    <a:pt x="465438" y="74141"/>
                    <a:pt x="481914" y="49427"/>
                  </a:cubicBezTo>
                  <a:cubicBezTo>
                    <a:pt x="495574" y="28938"/>
                    <a:pt x="494271" y="18903"/>
                    <a:pt x="494271" y="0"/>
                  </a:cubicBezTo>
                </a:path>
              </a:pathLst>
            </a:custGeom>
            <a:noFill/>
            <a:ln w="9525" cap="flat" cmpd="sng" algn="ctr">
              <a:solidFill>
                <a:srgbClr val="FFC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597" name="Freeform 596"/>
            <p:cNvSpPr/>
            <p:nvPr/>
          </p:nvSpPr>
          <p:spPr bwMode="auto">
            <a:xfrm>
              <a:off x="3602906" y="4654645"/>
              <a:ext cx="511894" cy="121498"/>
            </a:xfrm>
            <a:custGeom>
              <a:avLst/>
              <a:gdLst>
                <a:gd name="connsiteX0" fmla="*/ 42337 w 511894"/>
                <a:gd name="connsiteY0" fmla="*/ 102706 h 121498"/>
                <a:gd name="connsiteX1" fmla="*/ 474824 w 511894"/>
                <a:gd name="connsiteY1" fmla="*/ 65636 h 121498"/>
                <a:gd name="connsiteX2" fmla="*/ 499537 w 511894"/>
                <a:gd name="connsiteY2" fmla="*/ 28566 h 121498"/>
                <a:gd name="connsiteX3" fmla="*/ 511894 w 511894"/>
                <a:gd name="connsiteY3" fmla="*/ 16209 h 121498"/>
              </a:gdLst>
              <a:ahLst/>
              <a:cxnLst>
                <a:cxn ang="0">
                  <a:pos x="connsiteX0" y="connsiteY0"/>
                </a:cxn>
                <a:cxn ang="0">
                  <a:pos x="connsiteX1" y="connsiteY1"/>
                </a:cxn>
                <a:cxn ang="0">
                  <a:pos x="connsiteX2" y="connsiteY2"/>
                </a:cxn>
                <a:cxn ang="0">
                  <a:pos x="connsiteX3" y="connsiteY3"/>
                </a:cxn>
              </a:cxnLst>
              <a:rect l="l" t="t" r="r" b="b"/>
              <a:pathLst>
                <a:path w="511894" h="121498">
                  <a:moveTo>
                    <a:pt x="42337" y="102706"/>
                  </a:moveTo>
                  <a:cubicBezTo>
                    <a:pt x="196403" y="0"/>
                    <a:pt x="0" y="121498"/>
                    <a:pt x="474824" y="65636"/>
                  </a:cubicBezTo>
                  <a:cubicBezTo>
                    <a:pt x="489573" y="63901"/>
                    <a:pt x="490627" y="40447"/>
                    <a:pt x="499537" y="28566"/>
                  </a:cubicBezTo>
                  <a:cubicBezTo>
                    <a:pt x="503032" y="23906"/>
                    <a:pt x="507775" y="20328"/>
                    <a:pt x="511894" y="16209"/>
                  </a:cubicBezTo>
                </a:path>
              </a:pathLst>
            </a:custGeom>
            <a:noFill/>
            <a:ln w="9525" cap="flat" cmpd="sng" algn="ctr">
              <a:solidFill>
                <a:srgbClr val="FFC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598" name="Freeform 597"/>
            <p:cNvSpPr/>
            <p:nvPr/>
          </p:nvSpPr>
          <p:spPr bwMode="auto">
            <a:xfrm>
              <a:off x="3586087" y="4828667"/>
              <a:ext cx="96227" cy="595949"/>
            </a:xfrm>
            <a:custGeom>
              <a:avLst/>
              <a:gdLst>
                <a:gd name="connsiteX0" fmla="*/ 9729 w 96227"/>
                <a:gd name="connsiteY0" fmla="*/ 39895 h 595949"/>
                <a:gd name="connsiteX1" fmla="*/ 34443 w 96227"/>
                <a:gd name="connsiteY1" fmla="*/ 287030 h 595949"/>
                <a:gd name="connsiteX2" fmla="*/ 71513 w 96227"/>
                <a:gd name="connsiteY2" fmla="*/ 422955 h 595949"/>
                <a:gd name="connsiteX3" fmla="*/ 83870 w 96227"/>
                <a:gd name="connsiteY3" fmla="*/ 558879 h 595949"/>
                <a:gd name="connsiteX4" fmla="*/ 96227 w 96227"/>
                <a:gd name="connsiteY4" fmla="*/ 595949 h 5959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27" h="595949">
                  <a:moveTo>
                    <a:pt x="9729" y="39895"/>
                  </a:moveTo>
                  <a:cubicBezTo>
                    <a:pt x="48227" y="155386"/>
                    <a:pt x="0" y="0"/>
                    <a:pt x="34443" y="287030"/>
                  </a:cubicBezTo>
                  <a:cubicBezTo>
                    <a:pt x="39669" y="330583"/>
                    <a:pt x="57100" y="379715"/>
                    <a:pt x="71513" y="422955"/>
                  </a:cubicBezTo>
                  <a:cubicBezTo>
                    <a:pt x="75632" y="468263"/>
                    <a:pt x="77436" y="513841"/>
                    <a:pt x="83870" y="558879"/>
                  </a:cubicBezTo>
                  <a:cubicBezTo>
                    <a:pt x="85712" y="571773"/>
                    <a:pt x="96227" y="595949"/>
                    <a:pt x="96227" y="595949"/>
                  </a:cubicBezTo>
                </a:path>
              </a:pathLst>
            </a:custGeom>
            <a:noFill/>
            <a:ln w="9525" cap="flat" cmpd="sng" algn="ctr">
              <a:solidFill>
                <a:srgbClr val="FFC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599" name="Freeform 598"/>
            <p:cNvSpPr/>
            <p:nvPr/>
          </p:nvSpPr>
          <p:spPr bwMode="auto">
            <a:xfrm>
              <a:off x="3781168" y="5498757"/>
              <a:ext cx="2236573" cy="226207"/>
            </a:xfrm>
            <a:custGeom>
              <a:avLst/>
              <a:gdLst>
                <a:gd name="connsiteX0" fmla="*/ 0 w 2236573"/>
                <a:gd name="connsiteY0" fmla="*/ 0 h 226207"/>
                <a:gd name="connsiteX1" fmla="*/ 271848 w 2236573"/>
                <a:gd name="connsiteY1" fmla="*/ 12357 h 226207"/>
                <a:gd name="connsiteX2" fmla="*/ 321275 w 2236573"/>
                <a:gd name="connsiteY2" fmla="*/ 24713 h 226207"/>
                <a:gd name="connsiteX3" fmla="*/ 383059 w 2236573"/>
                <a:gd name="connsiteY3" fmla="*/ 37070 h 226207"/>
                <a:gd name="connsiteX4" fmla="*/ 506627 w 2236573"/>
                <a:gd name="connsiteY4" fmla="*/ 74140 h 226207"/>
                <a:gd name="connsiteX5" fmla="*/ 1396313 w 2236573"/>
                <a:gd name="connsiteY5" fmla="*/ 74140 h 226207"/>
                <a:gd name="connsiteX6" fmla="*/ 1433383 w 2236573"/>
                <a:gd name="connsiteY6" fmla="*/ 86497 h 226207"/>
                <a:gd name="connsiteX7" fmla="*/ 1544594 w 2236573"/>
                <a:gd name="connsiteY7" fmla="*/ 123567 h 226207"/>
                <a:gd name="connsiteX8" fmla="*/ 2014151 w 2236573"/>
                <a:gd name="connsiteY8" fmla="*/ 135924 h 226207"/>
                <a:gd name="connsiteX9" fmla="*/ 2051221 w 2236573"/>
                <a:gd name="connsiteY9" fmla="*/ 111211 h 226207"/>
                <a:gd name="connsiteX10" fmla="*/ 2100648 w 2236573"/>
                <a:gd name="connsiteY10" fmla="*/ 98854 h 226207"/>
                <a:gd name="connsiteX11" fmla="*/ 2236573 w 2236573"/>
                <a:gd name="connsiteY11" fmla="*/ 86497 h 22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36573" h="226207">
                  <a:moveTo>
                    <a:pt x="0" y="0"/>
                  </a:moveTo>
                  <a:cubicBezTo>
                    <a:pt x="90616" y="4119"/>
                    <a:pt x="181406" y="5400"/>
                    <a:pt x="271848" y="12357"/>
                  </a:cubicBezTo>
                  <a:cubicBezTo>
                    <a:pt x="288781" y="13659"/>
                    <a:pt x="304697" y="21029"/>
                    <a:pt x="321275" y="24713"/>
                  </a:cubicBezTo>
                  <a:cubicBezTo>
                    <a:pt x="341777" y="29269"/>
                    <a:pt x="362942" y="31035"/>
                    <a:pt x="383059" y="37070"/>
                  </a:cubicBezTo>
                  <a:cubicBezTo>
                    <a:pt x="545614" y="85837"/>
                    <a:pt x="346140" y="42045"/>
                    <a:pt x="506627" y="74140"/>
                  </a:cubicBezTo>
                  <a:cubicBezTo>
                    <a:pt x="892308" y="65375"/>
                    <a:pt x="1043201" y="51359"/>
                    <a:pt x="1396313" y="74140"/>
                  </a:cubicBezTo>
                  <a:cubicBezTo>
                    <a:pt x="1409311" y="74979"/>
                    <a:pt x="1421187" y="81923"/>
                    <a:pt x="1433383" y="86497"/>
                  </a:cubicBezTo>
                  <a:cubicBezTo>
                    <a:pt x="1526442" y="121395"/>
                    <a:pt x="1461775" y="102864"/>
                    <a:pt x="1544594" y="123567"/>
                  </a:cubicBezTo>
                  <a:cubicBezTo>
                    <a:pt x="1698550" y="226207"/>
                    <a:pt x="1597041" y="168853"/>
                    <a:pt x="2014151" y="135924"/>
                  </a:cubicBezTo>
                  <a:cubicBezTo>
                    <a:pt x="2028956" y="134755"/>
                    <a:pt x="2037571" y="117061"/>
                    <a:pt x="2051221" y="111211"/>
                  </a:cubicBezTo>
                  <a:cubicBezTo>
                    <a:pt x="2066831" y="104521"/>
                    <a:pt x="2083836" y="101256"/>
                    <a:pt x="2100648" y="98854"/>
                  </a:cubicBezTo>
                  <a:cubicBezTo>
                    <a:pt x="2190014" y="86087"/>
                    <a:pt x="2186632" y="86497"/>
                    <a:pt x="2236573" y="86497"/>
                  </a:cubicBezTo>
                </a:path>
              </a:pathLst>
            </a:custGeom>
            <a:noFill/>
            <a:ln w="9525" cap="flat" cmpd="sng" algn="ctr">
              <a:solidFill>
                <a:srgbClr val="FFC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600" name="Freeform 599"/>
            <p:cNvSpPr/>
            <p:nvPr/>
          </p:nvSpPr>
          <p:spPr bwMode="auto">
            <a:xfrm>
              <a:off x="6116595" y="4930346"/>
              <a:ext cx="112512" cy="543697"/>
            </a:xfrm>
            <a:custGeom>
              <a:avLst/>
              <a:gdLst>
                <a:gd name="connsiteX0" fmla="*/ 0 w 112512"/>
                <a:gd name="connsiteY0" fmla="*/ 543697 h 543697"/>
                <a:gd name="connsiteX1" fmla="*/ 12356 w 112512"/>
                <a:gd name="connsiteY1" fmla="*/ 370703 h 543697"/>
                <a:gd name="connsiteX2" fmla="*/ 37070 w 112512"/>
                <a:gd name="connsiteY2" fmla="*/ 333632 h 543697"/>
                <a:gd name="connsiteX3" fmla="*/ 49427 w 112512"/>
                <a:gd name="connsiteY3" fmla="*/ 296562 h 543697"/>
                <a:gd name="connsiteX4" fmla="*/ 61783 w 112512"/>
                <a:gd name="connsiteY4" fmla="*/ 222422 h 543697"/>
                <a:gd name="connsiteX5" fmla="*/ 74140 w 112512"/>
                <a:gd name="connsiteY5" fmla="*/ 123568 h 543697"/>
                <a:gd name="connsiteX6" fmla="*/ 98854 w 112512"/>
                <a:gd name="connsiteY6" fmla="*/ 49427 h 543697"/>
                <a:gd name="connsiteX7" fmla="*/ 111210 w 112512"/>
                <a:gd name="connsiteY7" fmla="*/ 0 h 543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512" h="543697">
                  <a:moveTo>
                    <a:pt x="0" y="543697"/>
                  </a:moveTo>
                  <a:cubicBezTo>
                    <a:pt x="4119" y="486032"/>
                    <a:pt x="2309" y="427635"/>
                    <a:pt x="12356" y="370703"/>
                  </a:cubicBezTo>
                  <a:cubicBezTo>
                    <a:pt x="14937" y="356078"/>
                    <a:pt x="30428" y="346915"/>
                    <a:pt x="37070" y="333632"/>
                  </a:cubicBezTo>
                  <a:cubicBezTo>
                    <a:pt x="42895" y="321982"/>
                    <a:pt x="45308" y="308919"/>
                    <a:pt x="49427" y="296562"/>
                  </a:cubicBezTo>
                  <a:cubicBezTo>
                    <a:pt x="53546" y="271849"/>
                    <a:pt x="58240" y="247224"/>
                    <a:pt x="61783" y="222422"/>
                  </a:cubicBezTo>
                  <a:cubicBezTo>
                    <a:pt x="66479" y="189548"/>
                    <a:pt x="67182" y="156039"/>
                    <a:pt x="74140" y="123568"/>
                  </a:cubicBezTo>
                  <a:cubicBezTo>
                    <a:pt x="79598" y="98096"/>
                    <a:pt x="90616" y="74141"/>
                    <a:pt x="98854" y="49427"/>
                  </a:cubicBezTo>
                  <a:cubicBezTo>
                    <a:pt x="112512" y="8451"/>
                    <a:pt x="111210" y="25381"/>
                    <a:pt x="111210" y="0"/>
                  </a:cubicBezTo>
                </a:path>
              </a:pathLst>
            </a:custGeom>
            <a:noFill/>
            <a:ln w="9525" cap="flat" cmpd="sng" algn="ctr">
              <a:solidFill>
                <a:srgbClr val="FFC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601" name="Freeform 600"/>
            <p:cNvSpPr/>
            <p:nvPr/>
          </p:nvSpPr>
          <p:spPr bwMode="auto">
            <a:xfrm>
              <a:off x="5671751" y="4707924"/>
              <a:ext cx="531341" cy="86498"/>
            </a:xfrm>
            <a:custGeom>
              <a:avLst/>
              <a:gdLst>
                <a:gd name="connsiteX0" fmla="*/ 0 w 531341"/>
                <a:gd name="connsiteY0" fmla="*/ 0 h 86498"/>
                <a:gd name="connsiteX1" fmla="*/ 172995 w 531341"/>
                <a:gd name="connsiteY1" fmla="*/ 12357 h 86498"/>
                <a:gd name="connsiteX2" fmla="*/ 259492 w 531341"/>
                <a:gd name="connsiteY2" fmla="*/ 37071 h 86498"/>
                <a:gd name="connsiteX3" fmla="*/ 481914 w 531341"/>
                <a:gd name="connsiteY3" fmla="*/ 61784 h 86498"/>
                <a:gd name="connsiteX4" fmla="*/ 531341 w 531341"/>
                <a:gd name="connsiteY4" fmla="*/ 86498 h 86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341" h="86498">
                  <a:moveTo>
                    <a:pt x="0" y="0"/>
                  </a:moveTo>
                  <a:cubicBezTo>
                    <a:pt x="57665" y="4119"/>
                    <a:pt x="115537" y="5973"/>
                    <a:pt x="172995" y="12357"/>
                  </a:cubicBezTo>
                  <a:cubicBezTo>
                    <a:pt x="226826" y="18338"/>
                    <a:pt x="212625" y="26656"/>
                    <a:pt x="259492" y="37071"/>
                  </a:cubicBezTo>
                  <a:cubicBezTo>
                    <a:pt x="333323" y="53477"/>
                    <a:pt x="406129" y="55468"/>
                    <a:pt x="481914" y="61784"/>
                  </a:cubicBezTo>
                  <a:cubicBezTo>
                    <a:pt x="524510" y="75983"/>
                    <a:pt x="509774" y="64931"/>
                    <a:pt x="531341" y="86498"/>
                  </a:cubicBezTo>
                </a:path>
              </a:pathLst>
            </a:custGeom>
            <a:noFill/>
            <a:ln w="9525" cap="flat" cmpd="sng" algn="ctr">
              <a:solidFill>
                <a:srgbClr val="FFC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602" name="Freeform 601"/>
            <p:cNvSpPr/>
            <p:nvPr/>
          </p:nvSpPr>
          <p:spPr bwMode="auto">
            <a:xfrm>
              <a:off x="2113005" y="4015946"/>
              <a:ext cx="284206" cy="211368"/>
            </a:xfrm>
            <a:custGeom>
              <a:avLst/>
              <a:gdLst>
                <a:gd name="connsiteX0" fmla="*/ 0 w 284206"/>
                <a:gd name="connsiteY0" fmla="*/ 0 h 211368"/>
                <a:gd name="connsiteX1" fmla="*/ 74141 w 284206"/>
                <a:gd name="connsiteY1" fmla="*/ 49427 h 211368"/>
                <a:gd name="connsiteX2" fmla="*/ 160638 w 284206"/>
                <a:gd name="connsiteY2" fmla="*/ 86497 h 211368"/>
                <a:gd name="connsiteX3" fmla="*/ 222422 w 284206"/>
                <a:gd name="connsiteY3" fmla="*/ 160638 h 211368"/>
                <a:gd name="connsiteX4" fmla="*/ 234779 w 284206"/>
                <a:gd name="connsiteY4" fmla="*/ 197708 h 211368"/>
                <a:gd name="connsiteX5" fmla="*/ 284206 w 284206"/>
                <a:gd name="connsiteY5" fmla="*/ 210065 h 211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4206" h="211368">
                  <a:moveTo>
                    <a:pt x="0" y="0"/>
                  </a:moveTo>
                  <a:cubicBezTo>
                    <a:pt x="24714" y="16476"/>
                    <a:pt x="45963" y="40034"/>
                    <a:pt x="74141" y="49427"/>
                  </a:cubicBezTo>
                  <a:cubicBezTo>
                    <a:pt x="128686" y="67609"/>
                    <a:pt x="99561" y="55959"/>
                    <a:pt x="160638" y="86497"/>
                  </a:cubicBezTo>
                  <a:cubicBezTo>
                    <a:pt x="187967" y="113826"/>
                    <a:pt x="205218" y="126230"/>
                    <a:pt x="222422" y="160638"/>
                  </a:cubicBezTo>
                  <a:cubicBezTo>
                    <a:pt x="228247" y="172288"/>
                    <a:pt x="225569" y="188498"/>
                    <a:pt x="234779" y="197708"/>
                  </a:cubicBezTo>
                  <a:cubicBezTo>
                    <a:pt x="248439" y="211368"/>
                    <a:pt x="267463" y="210065"/>
                    <a:pt x="284206" y="210065"/>
                  </a:cubicBezTo>
                </a:path>
              </a:pathLst>
            </a:custGeom>
            <a:noFill/>
            <a:ln w="9525" cap="flat" cmpd="sng" algn="ctr">
              <a:solidFill>
                <a:srgbClr val="FFC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603" name="Freeform 602"/>
            <p:cNvSpPr/>
            <p:nvPr/>
          </p:nvSpPr>
          <p:spPr bwMode="auto">
            <a:xfrm>
              <a:off x="2075935" y="4337222"/>
              <a:ext cx="322578" cy="234778"/>
            </a:xfrm>
            <a:custGeom>
              <a:avLst/>
              <a:gdLst>
                <a:gd name="connsiteX0" fmla="*/ 0 w 322578"/>
                <a:gd name="connsiteY0" fmla="*/ 234778 h 234778"/>
                <a:gd name="connsiteX1" fmla="*/ 111211 w 322578"/>
                <a:gd name="connsiteY1" fmla="*/ 222421 h 234778"/>
                <a:gd name="connsiteX2" fmla="*/ 148281 w 322578"/>
                <a:gd name="connsiteY2" fmla="*/ 197708 h 234778"/>
                <a:gd name="connsiteX3" fmla="*/ 197708 w 322578"/>
                <a:gd name="connsiteY3" fmla="*/ 185351 h 234778"/>
                <a:gd name="connsiteX4" fmla="*/ 234779 w 322578"/>
                <a:gd name="connsiteY4" fmla="*/ 172994 h 234778"/>
                <a:gd name="connsiteX5" fmla="*/ 284206 w 322578"/>
                <a:gd name="connsiteY5" fmla="*/ 86497 h 234778"/>
                <a:gd name="connsiteX6" fmla="*/ 308919 w 322578"/>
                <a:gd name="connsiteY6" fmla="*/ 49427 h 234778"/>
                <a:gd name="connsiteX7" fmla="*/ 321276 w 322578"/>
                <a:gd name="connsiteY7" fmla="*/ 0 h 23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2578" h="234778">
                  <a:moveTo>
                    <a:pt x="0" y="234778"/>
                  </a:moveTo>
                  <a:cubicBezTo>
                    <a:pt x="37070" y="230659"/>
                    <a:pt x="75026" y="231467"/>
                    <a:pt x="111211" y="222421"/>
                  </a:cubicBezTo>
                  <a:cubicBezTo>
                    <a:pt x="125618" y="218819"/>
                    <a:pt x="134631" y="203558"/>
                    <a:pt x="148281" y="197708"/>
                  </a:cubicBezTo>
                  <a:cubicBezTo>
                    <a:pt x="163891" y="191018"/>
                    <a:pt x="181379" y="190017"/>
                    <a:pt x="197708" y="185351"/>
                  </a:cubicBezTo>
                  <a:cubicBezTo>
                    <a:pt x="210232" y="181773"/>
                    <a:pt x="222422" y="177113"/>
                    <a:pt x="234779" y="172994"/>
                  </a:cubicBezTo>
                  <a:cubicBezTo>
                    <a:pt x="305202" y="102571"/>
                    <a:pt x="246868" y="173620"/>
                    <a:pt x="284206" y="86497"/>
                  </a:cubicBezTo>
                  <a:cubicBezTo>
                    <a:pt x="290056" y="72847"/>
                    <a:pt x="302278" y="62710"/>
                    <a:pt x="308919" y="49427"/>
                  </a:cubicBezTo>
                  <a:cubicBezTo>
                    <a:pt x="322578" y="22108"/>
                    <a:pt x="321276" y="21062"/>
                    <a:pt x="321276" y="0"/>
                  </a:cubicBezTo>
                </a:path>
              </a:pathLst>
            </a:custGeom>
            <a:noFill/>
            <a:ln w="9525" cap="flat" cmpd="sng" algn="ctr">
              <a:solidFill>
                <a:srgbClr val="FFC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cxnSp>
          <p:nvCxnSpPr>
            <p:cNvPr id="604" name="Straight Connector 86"/>
            <p:cNvCxnSpPr>
              <a:cxnSpLocks noChangeShapeType="1"/>
            </p:cNvCxnSpPr>
            <p:nvPr/>
          </p:nvCxnSpPr>
          <p:spPr bwMode="auto">
            <a:xfrm rot="10800000" flipH="1">
              <a:off x="2038348" y="4281463"/>
              <a:ext cx="352425" cy="9525"/>
            </a:xfrm>
            <a:prstGeom prst="line">
              <a:avLst/>
            </a:prstGeom>
            <a:noFill/>
            <a:ln w="9525" algn="ctr">
              <a:solidFill>
                <a:srgbClr val="969696"/>
              </a:solidFill>
              <a:round/>
              <a:headEnd/>
              <a:tailEnd/>
            </a:ln>
          </p:spPr>
        </p:cxnSp>
        <p:cxnSp>
          <p:nvCxnSpPr>
            <p:cNvPr id="605" name="Straight Connector 114"/>
            <p:cNvCxnSpPr>
              <a:cxnSpLocks noChangeShapeType="1"/>
            </p:cNvCxnSpPr>
            <p:nvPr/>
          </p:nvCxnSpPr>
          <p:spPr bwMode="auto">
            <a:xfrm flipV="1">
              <a:off x="3714746" y="2968594"/>
              <a:ext cx="440163" cy="42063"/>
            </a:xfrm>
            <a:prstGeom prst="line">
              <a:avLst/>
            </a:prstGeom>
            <a:noFill/>
            <a:ln w="9525" algn="ctr">
              <a:solidFill>
                <a:srgbClr val="969696"/>
              </a:solidFill>
              <a:round/>
              <a:headEnd/>
              <a:tailEnd/>
            </a:ln>
          </p:spPr>
        </p:cxnSp>
        <p:sp>
          <p:nvSpPr>
            <p:cNvPr id="606" name="Freeform 605"/>
            <p:cNvSpPr/>
            <p:nvPr/>
          </p:nvSpPr>
          <p:spPr bwMode="auto">
            <a:xfrm>
              <a:off x="4150895" y="3549316"/>
              <a:ext cx="300789" cy="78863"/>
            </a:xfrm>
            <a:custGeom>
              <a:avLst/>
              <a:gdLst>
                <a:gd name="connsiteX0" fmla="*/ 0 w 300789"/>
                <a:gd name="connsiteY0" fmla="*/ 0 h 78863"/>
                <a:gd name="connsiteX1" fmla="*/ 156410 w 300789"/>
                <a:gd name="connsiteY1" fmla="*/ 12031 h 78863"/>
                <a:gd name="connsiteX2" fmla="*/ 264694 w 300789"/>
                <a:gd name="connsiteY2" fmla="*/ 72189 h 78863"/>
                <a:gd name="connsiteX3" fmla="*/ 300789 w 300789"/>
                <a:gd name="connsiteY3" fmla="*/ 72189 h 78863"/>
              </a:gdLst>
              <a:ahLst/>
              <a:cxnLst>
                <a:cxn ang="0">
                  <a:pos x="connsiteX0" y="connsiteY0"/>
                </a:cxn>
                <a:cxn ang="0">
                  <a:pos x="connsiteX1" y="connsiteY1"/>
                </a:cxn>
                <a:cxn ang="0">
                  <a:pos x="connsiteX2" y="connsiteY2"/>
                </a:cxn>
                <a:cxn ang="0">
                  <a:pos x="connsiteX3" y="connsiteY3"/>
                </a:cxn>
              </a:cxnLst>
              <a:rect l="l" t="t" r="r" b="b"/>
              <a:pathLst>
                <a:path w="300789" h="78863">
                  <a:moveTo>
                    <a:pt x="0" y="0"/>
                  </a:moveTo>
                  <a:cubicBezTo>
                    <a:pt x="52137" y="4010"/>
                    <a:pt x="104523" y="5545"/>
                    <a:pt x="156410" y="12031"/>
                  </a:cubicBezTo>
                  <a:cubicBezTo>
                    <a:pt x="195505" y="16918"/>
                    <a:pt x="237674" y="54176"/>
                    <a:pt x="264694" y="72189"/>
                  </a:cubicBezTo>
                  <a:cubicBezTo>
                    <a:pt x="274705" y="78863"/>
                    <a:pt x="288757" y="72189"/>
                    <a:pt x="300789" y="72189"/>
                  </a:cubicBezTo>
                </a:path>
              </a:pathLst>
            </a:custGeom>
            <a:solidFill>
              <a:schemeClr val="bg1"/>
            </a:solidFill>
            <a:ln w="9525" cap="flat" cmpd="sng" algn="ctr">
              <a:solidFill>
                <a:srgbClr val="FFC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607" name="Freeform 606"/>
            <p:cNvSpPr/>
            <p:nvPr/>
          </p:nvSpPr>
          <p:spPr bwMode="auto">
            <a:xfrm>
              <a:off x="6256421" y="3645568"/>
              <a:ext cx="324853" cy="60773"/>
            </a:xfrm>
            <a:custGeom>
              <a:avLst/>
              <a:gdLst>
                <a:gd name="connsiteX0" fmla="*/ 0 w 324853"/>
                <a:gd name="connsiteY0" fmla="*/ 0 h 60773"/>
                <a:gd name="connsiteX1" fmla="*/ 108284 w 324853"/>
                <a:gd name="connsiteY1" fmla="*/ 36095 h 60773"/>
                <a:gd name="connsiteX2" fmla="*/ 144379 w 324853"/>
                <a:gd name="connsiteY2" fmla="*/ 48127 h 60773"/>
                <a:gd name="connsiteX3" fmla="*/ 324853 w 324853"/>
                <a:gd name="connsiteY3" fmla="*/ 60158 h 60773"/>
              </a:gdLst>
              <a:ahLst/>
              <a:cxnLst>
                <a:cxn ang="0">
                  <a:pos x="connsiteX0" y="connsiteY0"/>
                </a:cxn>
                <a:cxn ang="0">
                  <a:pos x="connsiteX1" y="connsiteY1"/>
                </a:cxn>
                <a:cxn ang="0">
                  <a:pos x="connsiteX2" y="connsiteY2"/>
                </a:cxn>
                <a:cxn ang="0">
                  <a:pos x="connsiteX3" y="connsiteY3"/>
                </a:cxn>
              </a:cxnLst>
              <a:rect l="l" t="t" r="r" b="b"/>
              <a:pathLst>
                <a:path w="324853" h="60773">
                  <a:moveTo>
                    <a:pt x="0" y="0"/>
                  </a:moveTo>
                  <a:lnTo>
                    <a:pt x="108284" y="36095"/>
                  </a:lnTo>
                  <a:cubicBezTo>
                    <a:pt x="120316" y="40106"/>
                    <a:pt x="131734" y="47154"/>
                    <a:pt x="144379" y="48127"/>
                  </a:cubicBezTo>
                  <a:cubicBezTo>
                    <a:pt x="308787" y="60773"/>
                    <a:pt x="248499" y="60158"/>
                    <a:pt x="324853" y="60158"/>
                  </a:cubicBezTo>
                </a:path>
              </a:pathLst>
            </a:custGeom>
            <a:solidFill>
              <a:schemeClr val="bg1"/>
            </a:solidFill>
            <a:ln w="9525" cap="flat" cmpd="sng" algn="ctr">
              <a:solidFill>
                <a:srgbClr val="FFC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608" name="Freeform 607"/>
            <p:cNvSpPr/>
            <p:nvPr/>
          </p:nvSpPr>
          <p:spPr bwMode="auto">
            <a:xfrm>
              <a:off x="6160168" y="5582653"/>
              <a:ext cx="336885" cy="75191"/>
            </a:xfrm>
            <a:custGeom>
              <a:avLst/>
              <a:gdLst>
                <a:gd name="connsiteX0" fmla="*/ 0 w 336885"/>
                <a:gd name="connsiteY0" fmla="*/ 0 h 75191"/>
                <a:gd name="connsiteX1" fmla="*/ 108285 w 336885"/>
                <a:gd name="connsiteY1" fmla="*/ 36094 h 75191"/>
                <a:gd name="connsiteX2" fmla="*/ 192506 w 336885"/>
                <a:gd name="connsiteY2" fmla="*/ 72189 h 75191"/>
                <a:gd name="connsiteX3" fmla="*/ 336885 w 336885"/>
                <a:gd name="connsiteY3" fmla="*/ 72189 h 75191"/>
              </a:gdLst>
              <a:ahLst/>
              <a:cxnLst>
                <a:cxn ang="0">
                  <a:pos x="connsiteX0" y="connsiteY0"/>
                </a:cxn>
                <a:cxn ang="0">
                  <a:pos x="connsiteX1" y="connsiteY1"/>
                </a:cxn>
                <a:cxn ang="0">
                  <a:pos x="connsiteX2" y="connsiteY2"/>
                </a:cxn>
                <a:cxn ang="0">
                  <a:pos x="connsiteX3" y="connsiteY3"/>
                </a:cxn>
              </a:cxnLst>
              <a:rect l="l" t="t" r="r" b="b"/>
              <a:pathLst>
                <a:path w="336885" h="75191">
                  <a:moveTo>
                    <a:pt x="0" y="0"/>
                  </a:moveTo>
                  <a:cubicBezTo>
                    <a:pt x="45953" y="11487"/>
                    <a:pt x="62979" y="13441"/>
                    <a:pt x="108285" y="36094"/>
                  </a:cubicBezTo>
                  <a:cubicBezTo>
                    <a:pt x="153840" y="58872"/>
                    <a:pt x="135265" y="68612"/>
                    <a:pt x="192506" y="72189"/>
                  </a:cubicBezTo>
                  <a:cubicBezTo>
                    <a:pt x="240539" y="75191"/>
                    <a:pt x="288759" y="72189"/>
                    <a:pt x="336885" y="72189"/>
                  </a:cubicBezTo>
                </a:path>
              </a:pathLst>
            </a:custGeom>
            <a:solidFill>
              <a:schemeClr val="bg1"/>
            </a:solidFill>
            <a:ln w="9525" cap="flat" cmpd="sng" algn="ctr">
              <a:solidFill>
                <a:srgbClr val="FFC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609" name="Freeform 608"/>
            <p:cNvSpPr/>
            <p:nvPr/>
          </p:nvSpPr>
          <p:spPr bwMode="auto">
            <a:xfrm>
              <a:off x="6545179" y="2055175"/>
              <a:ext cx="334795" cy="182699"/>
            </a:xfrm>
            <a:custGeom>
              <a:avLst/>
              <a:gdLst>
                <a:gd name="connsiteX0" fmla="*/ 0 w 334795"/>
                <a:gd name="connsiteY0" fmla="*/ 182699 h 182699"/>
                <a:gd name="connsiteX1" fmla="*/ 72189 w 334795"/>
                <a:gd name="connsiteY1" fmla="*/ 170667 h 182699"/>
                <a:gd name="connsiteX2" fmla="*/ 108284 w 334795"/>
                <a:gd name="connsiteY2" fmla="*/ 110509 h 182699"/>
                <a:gd name="connsiteX3" fmla="*/ 168442 w 334795"/>
                <a:gd name="connsiteY3" fmla="*/ 62383 h 182699"/>
                <a:gd name="connsiteX4" fmla="*/ 264695 w 334795"/>
                <a:gd name="connsiteY4" fmla="*/ 26288 h 182699"/>
                <a:gd name="connsiteX5" fmla="*/ 312821 w 334795"/>
                <a:gd name="connsiteY5" fmla="*/ 2225 h 182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4795" h="182699">
                  <a:moveTo>
                    <a:pt x="0" y="182699"/>
                  </a:moveTo>
                  <a:cubicBezTo>
                    <a:pt x="24063" y="178688"/>
                    <a:pt x="49347" y="179233"/>
                    <a:pt x="72189" y="170667"/>
                  </a:cubicBezTo>
                  <a:cubicBezTo>
                    <a:pt x="101115" y="159820"/>
                    <a:pt x="97257" y="132564"/>
                    <a:pt x="108284" y="110509"/>
                  </a:cubicBezTo>
                  <a:cubicBezTo>
                    <a:pt x="130052" y="66971"/>
                    <a:pt x="126811" y="76259"/>
                    <a:pt x="168442" y="62383"/>
                  </a:cubicBezTo>
                  <a:cubicBezTo>
                    <a:pt x="253092" y="5950"/>
                    <a:pt x="145753" y="70892"/>
                    <a:pt x="264695" y="26288"/>
                  </a:cubicBezTo>
                  <a:cubicBezTo>
                    <a:pt x="334795" y="0"/>
                    <a:pt x="277823" y="2225"/>
                    <a:pt x="312821" y="2225"/>
                  </a:cubicBezTo>
                </a:path>
              </a:pathLst>
            </a:custGeom>
            <a:noFill/>
            <a:ln w="9525" cap="flat" cmpd="sng" algn="ctr">
              <a:solidFill>
                <a:srgbClr val="FFC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610" name="Freeform 609"/>
            <p:cNvSpPr/>
            <p:nvPr/>
          </p:nvSpPr>
          <p:spPr bwMode="auto">
            <a:xfrm>
              <a:off x="6677526" y="5527966"/>
              <a:ext cx="264695" cy="90781"/>
            </a:xfrm>
            <a:custGeom>
              <a:avLst/>
              <a:gdLst>
                <a:gd name="connsiteX0" fmla="*/ 0 w 264695"/>
                <a:gd name="connsiteY0" fmla="*/ 90781 h 90781"/>
                <a:gd name="connsiteX1" fmla="*/ 60158 w 264695"/>
                <a:gd name="connsiteY1" fmla="*/ 30623 h 90781"/>
                <a:gd name="connsiteX2" fmla="*/ 96253 w 264695"/>
                <a:gd name="connsiteY2" fmla="*/ 6560 h 90781"/>
                <a:gd name="connsiteX3" fmla="*/ 264695 w 264695"/>
                <a:gd name="connsiteY3" fmla="*/ 6560 h 90781"/>
              </a:gdLst>
              <a:ahLst/>
              <a:cxnLst>
                <a:cxn ang="0">
                  <a:pos x="connsiteX0" y="connsiteY0"/>
                </a:cxn>
                <a:cxn ang="0">
                  <a:pos x="connsiteX1" y="connsiteY1"/>
                </a:cxn>
                <a:cxn ang="0">
                  <a:pos x="connsiteX2" y="connsiteY2"/>
                </a:cxn>
                <a:cxn ang="0">
                  <a:pos x="connsiteX3" y="connsiteY3"/>
                </a:cxn>
              </a:cxnLst>
              <a:rect l="l" t="t" r="r" b="b"/>
              <a:pathLst>
                <a:path w="264695" h="90781">
                  <a:moveTo>
                    <a:pt x="0" y="90781"/>
                  </a:moveTo>
                  <a:lnTo>
                    <a:pt x="60158" y="30623"/>
                  </a:lnTo>
                  <a:cubicBezTo>
                    <a:pt x="70383" y="20398"/>
                    <a:pt x="81892" y="8250"/>
                    <a:pt x="96253" y="6560"/>
                  </a:cubicBezTo>
                  <a:cubicBezTo>
                    <a:pt x="152016" y="0"/>
                    <a:pt x="208548" y="6560"/>
                    <a:pt x="264695" y="6560"/>
                  </a:cubicBezTo>
                </a:path>
              </a:pathLst>
            </a:custGeom>
            <a:noFill/>
            <a:ln w="9525" cap="flat" cmpd="sng" algn="ctr">
              <a:solidFill>
                <a:srgbClr val="FFC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grpSp>
      <p:grpSp>
        <p:nvGrpSpPr>
          <p:cNvPr id="635" name="Group 624"/>
          <p:cNvGrpSpPr/>
          <p:nvPr/>
        </p:nvGrpSpPr>
        <p:grpSpPr>
          <a:xfrm>
            <a:off x="372101" y="3570671"/>
            <a:ext cx="4648129" cy="2647109"/>
            <a:chOff x="1065133" y="2251192"/>
            <a:chExt cx="7959833" cy="4463956"/>
          </a:xfrm>
        </p:grpSpPr>
        <p:sp>
          <p:nvSpPr>
            <p:cNvPr id="636" name="Rounded Rectangle 635"/>
            <p:cNvSpPr/>
            <p:nvPr/>
          </p:nvSpPr>
          <p:spPr bwMode="auto">
            <a:xfrm>
              <a:off x="1065133" y="2251192"/>
              <a:ext cx="7959833" cy="4463956"/>
            </a:xfrm>
            <a:prstGeom prst="roundRect">
              <a:avLst>
                <a:gd name="adj" fmla="val 4957"/>
              </a:avLst>
            </a:prstGeom>
            <a:solidFill>
              <a:schemeClr val="bg1"/>
            </a:solidFill>
            <a:ln w="9525" cap="flat" cmpd="sng" algn="ctr">
              <a:solidFill>
                <a:srgbClr val="969696"/>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grpSp>
          <p:nvGrpSpPr>
            <p:cNvPr id="637" name="Group 48"/>
            <p:cNvGrpSpPr>
              <a:grpSpLocks/>
            </p:cNvGrpSpPr>
            <p:nvPr/>
          </p:nvGrpSpPr>
          <p:grpSpPr bwMode="auto">
            <a:xfrm>
              <a:off x="7300900" y="2776254"/>
              <a:ext cx="174625" cy="180975"/>
              <a:chOff x="8053381" y="4195958"/>
              <a:chExt cx="228600" cy="228600"/>
            </a:xfrm>
          </p:grpSpPr>
          <p:sp>
            <p:nvSpPr>
              <p:cNvPr id="840" name="Oval 839"/>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841" name="Oval 840"/>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638" name="Group 49"/>
            <p:cNvGrpSpPr>
              <a:grpSpLocks/>
            </p:cNvGrpSpPr>
            <p:nvPr/>
          </p:nvGrpSpPr>
          <p:grpSpPr bwMode="auto">
            <a:xfrm>
              <a:off x="7399325" y="3106454"/>
              <a:ext cx="174625" cy="180975"/>
              <a:chOff x="8053381" y="4195958"/>
              <a:chExt cx="228600" cy="228600"/>
            </a:xfrm>
          </p:grpSpPr>
          <p:sp>
            <p:nvSpPr>
              <p:cNvPr id="838" name="Oval 837"/>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839" name="Oval 838"/>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639" name="Group 52"/>
            <p:cNvGrpSpPr>
              <a:grpSpLocks/>
            </p:cNvGrpSpPr>
            <p:nvPr/>
          </p:nvGrpSpPr>
          <p:grpSpPr bwMode="auto">
            <a:xfrm>
              <a:off x="7291375" y="3463641"/>
              <a:ext cx="176213" cy="180975"/>
              <a:chOff x="8053381" y="4195958"/>
              <a:chExt cx="228600" cy="228600"/>
            </a:xfrm>
          </p:grpSpPr>
          <p:sp>
            <p:nvSpPr>
              <p:cNvPr id="836" name="Oval 835"/>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837" name="Oval 836"/>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640" name="Group 55"/>
            <p:cNvGrpSpPr>
              <a:grpSpLocks/>
            </p:cNvGrpSpPr>
            <p:nvPr/>
          </p:nvGrpSpPr>
          <p:grpSpPr bwMode="auto">
            <a:xfrm>
              <a:off x="6870688" y="3096929"/>
              <a:ext cx="176212" cy="180975"/>
              <a:chOff x="8053381" y="4195958"/>
              <a:chExt cx="228600" cy="228600"/>
            </a:xfrm>
          </p:grpSpPr>
          <p:sp>
            <p:nvSpPr>
              <p:cNvPr id="834" name="Oval 833"/>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835" name="Oval 834"/>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641" name="Group 58"/>
            <p:cNvGrpSpPr>
              <a:grpSpLocks/>
            </p:cNvGrpSpPr>
            <p:nvPr/>
          </p:nvGrpSpPr>
          <p:grpSpPr bwMode="auto">
            <a:xfrm>
              <a:off x="7432663" y="3881154"/>
              <a:ext cx="174625" cy="179387"/>
              <a:chOff x="8053381" y="4195958"/>
              <a:chExt cx="228600" cy="228600"/>
            </a:xfrm>
          </p:grpSpPr>
          <p:sp>
            <p:nvSpPr>
              <p:cNvPr id="832" name="Oval 831"/>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833" name="Oval 832"/>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642" name="Group 61"/>
            <p:cNvGrpSpPr>
              <a:grpSpLocks/>
            </p:cNvGrpSpPr>
            <p:nvPr/>
          </p:nvGrpSpPr>
          <p:grpSpPr bwMode="auto">
            <a:xfrm>
              <a:off x="7034200" y="3727166"/>
              <a:ext cx="174625" cy="180975"/>
              <a:chOff x="8053381" y="4195958"/>
              <a:chExt cx="228600" cy="228600"/>
            </a:xfrm>
          </p:grpSpPr>
          <p:sp>
            <p:nvSpPr>
              <p:cNvPr id="830" name="Oval 829"/>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831" name="Oval 830"/>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643" name="Group 64"/>
            <p:cNvGrpSpPr>
              <a:grpSpLocks/>
            </p:cNvGrpSpPr>
            <p:nvPr/>
          </p:nvGrpSpPr>
          <p:grpSpPr bwMode="auto">
            <a:xfrm>
              <a:off x="6645263" y="3708116"/>
              <a:ext cx="176212" cy="179388"/>
              <a:chOff x="8053381" y="4195958"/>
              <a:chExt cx="228600" cy="228600"/>
            </a:xfrm>
          </p:grpSpPr>
          <p:sp>
            <p:nvSpPr>
              <p:cNvPr id="828" name="Oval 827"/>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829" name="Oval 828"/>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644" name="Group 67"/>
            <p:cNvGrpSpPr>
              <a:grpSpLocks/>
            </p:cNvGrpSpPr>
            <p:nvPr/>
          </p:nvGrpSpPr>
          <p:grpSpPr bwMode="auto">
            <a:xfrm>
              <a:off x="6954825" y="4049429"/>
              <a:ext cx="176213" cy="179387"/>
              <a:chOff x="8053381" y="4195958"/>
              <a:chExt cx="228600" cy="228600"/>
            </a:xfrm>
          </p:grpSpPr>
          <p:sp>
            <p:nvSpPr>
              <p:cNvPr id="826" name="Oval 825"/>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827" name="Oval 826"/>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645" name="Group 70"/>
            <p:cNvGrpSpPr>
              <a:grpSpLocks/>
            </p:cNvGrpSpPr>
            <p:nvPr/>
          </p:nvGrpSpPr>
          <p:grpSpPr bwMode="auto">
            <a:xfrm>
              <a:off x="7443775" y="4401854"/>
              <a:ext cx="174625" cy="179387"/>
              <a:chOff x="8053381" y="4195958"/>
              <a:chExt cx="228600" cy="228600"/>
            </a:xfrm>
          </p:grpSpPr>
          <p:sp>
            <p:nvSpPr>
              <p:cNvPr id="824" name="Oval 823"/>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prst="relaxedInset"/>
              </a:sp3d>
            </p:spPr>
            <p:txBody>
              <a:bodyPr wrap="none" lIns="0" tIns="0" rIns="0" bIns="0" anchor="ctr"/>
              <a:lstStyle/>
              <a:p>
                <a:pPr algn="ctr" defTabSz="873125" eaLnBrk="0" hangingPunct="0">
                  <a:defRPr/>
                </a:pPr>
                <a:endParaRPr lang="en-US" dirty="0">
                  <a:cs typeface="Arial" pitchFamily="34" charset="0"/>
                </a:endParaRPr>
              </a:p>
            </p:txBody>
          </p:sp>
          <p:sp>
            <p:nvSpPr>
              <p:cNvPr id="825" name="Oval 824"/>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prst="relaxedInse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646" name="Group 73"/>
            <p:cNvGrpSpPr>
              <a:grpSpLocks/>
            </p:cNvGrpSpPr>
            <p:nvPr/>
          </p:nvGrpSpPr>
          <p:grpSpPr bwMode="auto">
            <a:xfrm>
              <a:off x="7008800" y="4498691"/>
              <a:ext cx="176213" cy="180975"/>
              <a:chOff x="8053381" y="4195958"/>
              <a:chExt cx="228600" cy="228600"/>
            </a:xfrm>
          </p:grpSpPr>
          <p:sp>
            <p:nvSpPr>
              <p:cNvPr id="822" name="Oval 821"/>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823" name="Oval 822"/>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647" name="Group 76"/>
            <p:cNvGrpSpPr>
              <a:grpSpLocks/>
            </p:cNvGrpSpPr>
            <p:nvPr/>
          </p:nvGrpSpPr>
          <p:grpSpPr bwMode="auto">
            <a:xfrm>
              <a:off x="6519850" y="4406616"/>
              <a:ext cx="174625" cy="179388"/>
              <a:chOff x="8053381" y="4195958"/>
              <a:chExt cx="228600" cy="228600"/>
            </a:xfrm>
          </p:grpSpPr>
          <p:sp>
            <p:nvSpPr>
              <p:cNvPr id="820" name="Oval 819"/>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821" name="Oval 820"/>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648" name="Group 79"/>
            <p:cNvGrpSpPr>
              <a:grpSpLocks/>
            </p:cNvGrpSpPr>
            <p:nvPr/>
          </p:nvGrpSpPr>
          <p:grpSpPr bwMode="auto">
            <a:xfrm>
              <a:off x="5988038" y="3570004"/>
              <a:ext cx="176212" cy="179387"/>
              <a:chOff x="8053381" y="4195958"/>
              <a:chExt cx="228600" cy="228600"/>
            </a:xfrm>
          </p:grpSpPr>
          <p:sp>
            <p:nvSpPr>
              <p:cNvPr id="818" name="Oval 817"/>
              <p:cNvSpPr/>
              <p:nvPr/>
            </p:nvSpPr>
            <p:spPr bwMode="auto">
              <a:xfrm>
                <a:off x="8053381" y="4195958"/>
                <a:ext cx="228600" cy="228600"/>
              </a:xfrm>
              <a:prstGeom prst="ellipse">
                <a:avLst/>
              </a:prstGeom>
              <a:solidFill>
                <a:srgbClr val="33CC33"/>
              </a:solidFill>
              <a:ln w="9525" cap="flat" cmpd="sng" algn="ctr">
                <a:solidFill>
                  <a:schemeClr val="tx1">
                    <a:lumMod val="95000"/>
                    <a:lumOff val="5000"/>
                  </a:schemeClr>
                </a:solidFill>
                <a:prstDash val="solid"/>
                <a:round/>
                <a:headEnd type="none" w="med" len="med"/>
                <a:tailEnd type="none" w="med" len="med"/>
              </a:ln>
              <a:effectLst/>
              <a:scene3d>
                <a:camera prst="orthographicFront"/>
                <a:lightRig rig="threePt" dir="t"/>
              </a:scene3d>
              <a:sp3d>
                <a:bevelT w="152400" h="50800" prst="softRound"/>
              </a:sp3d>
            </p:spPr>
            <p:txBody>
              <a:bodyPr wrap="none" lIns="0" tIns="0" rIns="0" bIns="0" anchor="ctr"/>
              <a:lstStyle/>
              <a:p>
                <a:pPr algn="ctr" defTabSz="873125" eaLnBrk="0" hangingPunct="0">
                  <a:defRPr/>
                </a:pPr>
                <a:endParaRPr lang="en-US" dirty="0">
                  <a:cs typeface="Arial" pitchFamily="34" charset="0"/>
                </a:endParaRPr>
              </a:p>
            </p:txBody>
          </p:sp>
          <p:sp>
            <p:nvSpPr>
              <p:cNvPr id="819" name="Oval 818"/>
              <p:cNvSpPr/>
              <p:nvPr/>
            </p:nvSpPr>
            <p:spPr bwMode="auto">
              <a:xfrm>
                <a:off x="8109348" y="4253475"/>
                <a:ext cx="116666" cy="114950"/>
              </a:xfrm>
              <a:prstGeom prst="ellipse">
                <a:avLst/>
              </a:prstGeom>
              <a:solidFill>
                <a:srgbClr val="FF0000"/>
              </a:solidFill>
              <a:ln w="9525" cap="flat" cmpd="sng" algn="ctr">
                <a:solidFill>
                  <a:schemeClr val="tx1">
                    <a:lumMod val="95000"/>
                    <a:lumOff val="5000"/>
                  </a:schemeClr>
                </a:solidFill>
                <a:prstDash val="solid"/>
                <a:round/>
                <a:headEnd type="none" w="med" len="med"/>
                <a:tailEnd type="none" w="med" len="med"/>
              </a:ln>
              <a:effectLst/>
              <a:scene3d>
                <a:camera prst="orthographicFront"/>
                <a:lightRig rig="threePt" dir="t"/>
              </a:scene3d>
              <a:sp3d>
                <a:bevelT w="152400" h="50800" prst="softRound"/>
              </a:sp3d>
            </p:spPr>
            <p:txBody>
              <a:bodyPr wrap="none" lIns="0" tIns="0" rIns="0" bIns="0" anchor="ctr"/>
              <a:lstStyle/>
              <a:p>
                <a:pPr algn="ctr" defTabSz="873125" eaLnBrk="0" hangingPunct="0">
                  <a:defRPr/>
                </a:pPr>
                <a:endParaRPr lang="en-US" dirty="0">
                  <a:cs typeface="Arial" pitchFamily="34" charset="0"/>
                </a:endParaRPr>
              </a:p>
            </p:txBody>
          </p:sp>
        </p:grpSp>
        <p:sp>
          <p:nvSpPr>
            <p:cNvPr id="649" name="Rounded Rectangle 648"/>
            <p:cNvSpPr/>
            <p:nvPr/>
          </p:nvSpPr>
          <p:spPr bwMode="auto">
            <a:xfrm>
              <a:off x="4591446" y="3700968"/>
              <a:ext cx="220772" cy="196066"/>
            </a:xfrm>
            <a:prstGeom prst="roundRect">
              <a:avLst/>
            </a:prstGeom>
            <a:solidFill>
              <a:srgbClr val="FFC000"/>
            </a:solidFill>
            <a:ln w="9525" cap="flat" cmpd="sng" algn="ctr">
              <a:solidFill>
                <a:srgbClr val="969696"/>
              </a:solidFill>
              <a:prstDash val="solid"/>
              <a:round/>
              <a:headEnd type="none" w="med" len="med"/>
              <a:tailEnd type="none" w="med" len="med"/>
            </a:ln>
            <a:effectLst/>
            <a:scene3d>
              <a:camera prst="orthographicFront"/>
              <a:lightRig rig="threePt" dir="t"/>
            </a:scene3d>
            <a:sp3d>
              <a:bevelT prst="relaxedInset"/>
            </a:sp3d>
          </p:spPr>
          <p:txBody>
            <a:bodyPr wrap="none" lIns="0" tIns="0" rIns="0" bIns="0" anchor="ctr"/>
            <a:lstStyle/>
            <a:p>
              <a:pPr algn="ctr" defTabSz="873125" eaLnBrk="0" hangingPunct="0">
                <a:defRPr/>
              </a:pPr>
              <a:endParaRPr lang="en-US" dirty="0">
                <a:cs typeface="Arial" pitchFamily="34" charset="0"/>
              </a:endParaRPr>
            </a:p>
          </p:txBody>
        </p:sp>
        <p:cxnSp>
          <p:nvCxnSpPr>
            <p:cNvPr id="650" name="Straight Connector 84"/>
            <p:cNvCxnSpPr>
              <a:cxnSpLocks noChangeShapeType="1"/>
            </p:cNvCxnSpPr>
            <p:nvPr/>
          </p:nvCxnSpPr>
          <p:spPr bwMode="auto">
            <a:xfrm rot="5400000">
              <a:off x="7076269" y="2873885"/>
              <a:ext cx="193675" cy="306387"/>
            </a:xfrm>
            <a:prstGeom prst="line">
              <a:avLst/>
            </a:prstGeom>
            <a:noFill/>
            <a:ln w="9525" algn="ctr">
              <a:solidFill>
                <a:srgbClr val="969696"/>
              </a:solidFill>
              <a:round/>
              <a:headEnd/>
              <a:tailEnd/>
            </a:ln>
          </p:spPr>
        </p:cxnSp>
        <p:cxnSp>
          <p:nvCxnSpPr>
            <p:cNvPr id="651" name="Straight Connector 86"/>
            <p:cNvCxnSpPr>
              <a:cxnSpLocks noChangeShapeType="1"/>
            </p:cNvCxnSpPr>
            <p:nvPr/>
          </p:nvCxnSpPr>
          <p:spPr bwMode="auto">
            <a:xfrm rot="10800000">
              <a:off x="7046900" y="3187416"/>
              <a:ext cx="352425" cy="9525"/>
            </a:xfrm>
            <a:prstGeom prst="line">
              <a:avLst/>
            </a:prstGeom>
            <a:noFill/>
            <a:ln w="9525" algn="ctr">
              <a:solidFill>
                <a:srgbClr val="969696"/>
              </a:solidFill>
              <a:round/>
              <a:headEnd/>
              <a:tailEnd/>
            </a:ln>
          </p:spPr>
        </p:cxnSp>
        <p:cxnSp>
          <p:nvCxnSpPr>
            <p:cNvPr id="652" name="Straight Connector 88"/>
            <p:cNvCxnSpPr>
              <a:cxnSpLocks noChangeShapeType="1"/>
            </p:cNvCxnSpPr>
            <p:nvPr/>
          </p:nvCxnSpPr>
          <p:spPr bwMode="auto">
            <a:xfrm rot="10800000">
              <a:off x="7019913" y="3250916"/>
              <a:ext cx="271462" cy="303213"/>
            </a:xfrm>
            <a:prstGeom prst="line">
              <a:avLst/>
            </a:prstGeom>
            <a:noFill/>
            <a:ln w="9525" algn="ctr">
              <a:solidFill>
                <a:srgbClr val="969696"/>
              </a:solidFill>
              <a:round/>
              <a:headEnd/>
              <a:tailEnd/>
            </a:ln>
          </p:spPr>
        </p:cxnSp>
        <p:cxnSp>
          <p:nvCxnSpPr>
            <p:cNvPr id="653" name="Straight Connector 90"/>
            <p:cNvCxnSpPr>
              <a:cxnSpLocks noChangeShapeType="1"/>
            </p:cNvCxnSpPr>
            <p:nvPr/>
          </p:nvCxnSpPr>
          <p:spPr bwMode="auto">
            <a:xfrm rot="10800000" flipV="1">
              <a:off x="6137263" y="3187416"/>
              <a:ext cx="733425" cy="407988"/>
            </a:xfrm>
            <a:prstGeom prst="line">
              <a:avLst/>
            </a:prstGeom>
            <a:noFill/>
            <a:ln w="9525" algn="ctr">
              <a:solidFill>
                <a:srgbClr val="969696"/>
              </a:solidFill>
              <a:round/>
              <a:headEnd/>
              <a:tailEnd/>
            </a:ln>
          </p:spPr>
        </p:cxnSp>
        <p:cxnSp>
          <p:nvCxnSpPr>
            <p:cNvPr id="654" name="Straight Connector 92"/>
            <p:cNvCxnSpPr>
              <a:cxnSpLocks noChangeShapeType="1"/>
            </p:cNvCxnSpPr>
            <p:nvPr/>
          </p:nvCxnSpPr>
          <p:spPr bwMode="auto">
            <a:xfrm rot="10800000">
              <a:off x="6121388" y="3660491"/>
              <a:ext cx="523875" cy="138113"/>
            </a:xfrm>
            <a:prstGeom prst="line">
              <a:avLst/>
            </a:prstGeom>
            <a:noFill/>
            <a:ln w="9525" algn="ctr">
              <a:solidFill>
                <a:srgbClr val="969696"/>
              </a:solidFill>
              <a:round/>
              <a:headEnd/>
              <a:tailEnd/>
            </a:ln>
          </p:spPr>
        </p:cxnSp>
        <p:cxnSp>
          <p:nvCxnSpPr>
            <p:cNvPr id="655" name="Straight Connector 97"/>
            <p:cNvCxnSpPr>
              <a:cxnSpLocks noChangeShapeType="1"/>
            </p:cNvCxnSpPr>
            <p:nvPr/>
          </p:nvCxnSpPr>
          <p:spPr bwMode="auto">
            <a:xfrm rot="16200000" flipV="1">
              <a:off x="7288994" y="3737485"/>
              <a:ext cx="88900" cy="249238"/>
            </a:xfrm>
            <a:prstGeom prst="line">
              <a:avLst/>
            </a:prstGeom>
            <a:noFill/>
            <a:ln w="9525" algn="ctr">
              <a:solidFill>
                <a:srgbClr val="969696"/>
              </a:solidFill>
              <a:round/>
              <a:headEnd/>
              <a:tailEnd/>
            </a:ln>
          </p:spPr>
        </p:cxnSp>
        <p:cxnSp>
          <p:nvCxnSpPr>
            <p:cNvPr id="656" name="Straight Connector 101"/>
            <p:cNvCxnSpPr>
              <a:cxnSpLocks noChangeShapeType="1"/>
            </p:cNvCxnSpPr>
            <p:nvPr/>
          </p:nvCxnSpPr>
          <p:spPr bwMode="auto">
            <a:xfrm rot="10800000">
              <a:off x="6821475" y="3798604"/>
              <a:ext cx="212725" cy="19050"/>
            </a:xfrm>
            <a:prstGeom prst="line">
              <a:avLst/>
            </a:prstGeom>
            <a:noFill/>
            <a:ln w="9525" algn="ctr">
              <a:solidFill>
                <a:srgbClr val="969696"/>
              </a:solidFill>
              <a:round/>
              <a:headEnd/>
              <a:tailEnd/>
            </a:ln>
          </p:spPr>
        </p:cxnSp>
        <p:cxnSp>
          <p:nvCxnSpPr>
            <p:cNvPr id="657" name="Straight Connector 104"/>
            <p:cNvCxnSpPr>
              <a:cxnSpLocks noChangeShapeType="1"/>
            </p:cNvCxnSpPr>
            <p:nvPr/>
          </p:nvCxnSpPr>
          <p:spPr bwMode="auto">
            <a:xfrm rot="16200000" flipV="1">
              <a:off x="6782581" y="3875598"/>
              <a:ext cx="212725" cy="185738"/>
            </a:xfrm>
            <a:prstGeom prst="line">
              <a:avLst/>
            </a:prstGeom>
            <a:noFill/>
            <a:ln w="9525" algn="ctr">
              <a:solidFill>
                <a:srgbClr val="969696"/>
              </a:solidFill>
              <a:round/>
              <a:headEnd/>
              <a:tailEnd/>
            </a:ln>
          </p:spPr>
        </p:cxnSp>
        <p:cxnSp>
          <p:nvCxnSpPr>
            <p:cNvPr id="658" name="Straight Connector 106"/>
            <p:cNvCxnSpPr>
              <a:cxnSpLocks noChangeShapeType="1"/>
            </p:cNvCxnSpPr>
            <p:nvPr/>
          </p:nvCxnSpPr>
          <p:spPr bwMode="auto">
            <a:xfrm rot="10800000" flipV="1">
              <a:off x="7185013" y="4492341"/>
              <a:ext cx="258762" cy="96838"/>
            </a:xfrm>
            <a:prstGeom prst="line">
              <a:avLst/>
            </a:prstGeom>
            <a:noFill/>
            <a:ln w="9525" algn="ctr">
              <a:solidFill>
                <a:srgbClr val="969696"/>
              </a:solidFill>
              <a:round/>
              <a:headEnd/>
              <a:tailEnd/>
            </a:ln>
          </p:spPr>
        </p:cxnSp>
        <p:cxnSp>
          <p:nvCxnSpPr>
            <p:cNvPr id="659" name="Straight Connector 108"/>
            <p:cNvCxnSpPr>
              <a:cxnSpLocks noChangeShapeType="1"/>
            </p:cNvCxnSpPr>
            <p:nvPr/>
          </p:nvCxnSpPr>
          <p:spPr bwMode="auto">
            <a:xfrm rot="10800000">
              <a:off x="6694475" y="4495516"/>
              <a:ext cx="314325" cy="93663"/>
            </a:xfrm>
            <a:prstGeom prst="line">
              <a:avLst/>
            </a:prstGeom>
            <a:noFill/>
            <a:ln w="9525" algn="ctr">
              <a:solidFill>
                <a:srgbClr val="969696"/>
              </a:solidFill>
              <a:round/>
              <a:headEnd/>
              <a:tailEnd/>
            </a:ln>
          </p:spPr>
        </p:cxnSp>
        <p:cxnSp>
          <p:nvCxnSpPr>
            <p:cNvPr id="660" name="Straight Connector 110"/>
            <p:cNvCxnSpPr>
              <a:cxnSpLocks noChangeShapeType="1"/>
            </p:cNvCxnSpPr>
            <p:nvPr/>
          </p:nvCxnSpPr>
          <p:spPr bwMode="auto">
            <a:xfrm rot="16200000" flipV="1">
              <a:off x="5968987" y="3855754"/>
              <a:ext cx="682625" cy="469900"/>
            </a:xfrm>
            <a:prstGeom prst="line">
              <a:avLst/>
            </a:prstGeom>
            <a:noFill/>
            <a:ln w="9525" algn="ctr">
              <a:solidFill>
                <a:srgbClr val="969696"/>
              </a:solidFill>
              <a:round/>
              <a:headEnd/>
              <a:tailEnd/>
            </a:ln>
          </p:spPr>
        </p:cxnSp>
        <p:grpSp>
          <p:nvGrpSpPr>
            <p:cNvPr id="661" name="Group 111"/>
            <p:cNvGrpSpPr>
              <a:grpSpLocks/>
            </p:cNvGrpSpPr>
            <p:nvPr/>
          </p:nvGrpSpPr>
          <p:grpSpPr bwMode="auto">
            <a:xfrm>
              <a:off x="4416821" y="4285966"/>
              <a:ext cx="174625" cy="179387"/>
              <a:chOff x="8053381" y="4195958"/>
              <a:chExt cx="228600" cy="228600"/>
            </a:xfrm>
          </p:grpSpPr>
          <p:sp>
            <p:nvSpPr>
              <p:cNvPr id="816" name="Oval 815"/>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817" name="Oval 816"/>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cxnSp>
          <p:nvCxnSpPr>
            <p:cNvPr id="662" name="Straight Connector 114"/>
            <p:cNvCxnSpPr>
              <a:cxnSpLocks noChangeShapeType="1"/>
              <a:endCxn id="649" idx="2"/>
            </p:cNvCxnSpPr>
            <p:nvPr/>
          </p:nvCxnSpPr>
          <p:spPr bwMode="auto">
            <a:xfrm rot="5400000" flipH="1" flipV="1">
              <a:off x="4408517" y="3992651"/>
              <a:ext cx="388932" cy="197698"/>
            </a:xfrm>
            <a:prstGeom prst="line">
              <a:avLst/>
            </a:prstGeom>
            <a:noFill/>
            <a:ln w="9525" algn="ctr">
              <a:solidFill>
                <a:srgbClr val="969696"/>
              </a:solidFill>
              <a:round/>
              <a:headEnd/>
              <a:tailEnd/>
            </a:ln>
          </p:spPr>
        </p:cxnSp>
        <p:sp>
          <p:nvSpPr>
            <p:cNvPr id="663" name="TextBox 127"/>
            <p:cNvSpPr txBox="1">
              <a:spLocks noChangeArrowheads="1"/>
            </p:cNvSpPr>
            <p:nvPr/>
          </p:nvSpPr>
          <p:spPr bwMode="auto">
            <a:xfrm>
              <a:off x="4701833" y="3503732"/>
              <a:ext cx="739775" cy="214312"/>
            </a:xfrm>
            <a:prstGeom prst="rect">
              <a:avLst/>
            </a:prstGeom>
            <a:noFill/>
            <a:ln w="9525">
              <a:noFill/>
              <a:miter lim="800000"/>
              <a:headEnd/>
              <a:tailEnd/>
            </a:ln>
          </p:spPr>
          <p:txBody>
            <a:bodyPr wrap="none">
              <a:spAutoFit/>
            </a:bodyPr>
            <a:lstStyle/>
            <a:p>
              <a:pPr>
                <a:spcBef>
                  <a:spcPct val="50000"/>
                </a:spcBef>
              </a:pPr>
              <a:r>
                <a:rPr lang="en-US" sz="800" b="1" i="0" smtClean="0">
                  <a:latin typeface="Calibri" pitchFamily="34" charset="0"/>
                </a:rPr>
                <a:t>BSC-RNC Site</a:t>
              </a:r>
              <a:endParaRPr lang="en-US" sz="800" b="1" i="0" dirty="0">
                <a:latin typeface="Calibri" pitchFamily="34" charset="0"/>
              </a:endParaRPr>
            </a:p>
          </p:txBody>
        </p:sp>
        <p:sp>
          <p:nvSpPr>
            <p:cNvPr id="664" name="TextBox 131"/>
            <p:cNvSpPr txBox="1">
              <a:spLocks noChangeArrowheads="1"/>
            </p:cNvSpPr>
            <p:nvPr/>
          </p:nvSpPr>
          <p:spPr bwMode="auto">
            <a:xfrm>
              <a:off x="5788013" y="3325529"/>
              <a:ext cx="568325" cy="215900"/>
            </a:xfrm>
            <a:prstGeom prst="rect">
              <a:avLst/>
            </a:prstGeom>
            <a:noFill/>
            <a:ln w="9525">
              <a:noFill/>
              <a:miter lim="800000"/>
              <a:headEnd/>
              <a:tailEnd/>
            </a:ln>
          </p:spPr>
          <p:txBody>
            <a:bodyPr wrap="none">
              <a:spAutoFit/>
            </a:bodyPr>
            <a:lstStyle/>
            <a:p>
              <a:pPr>
                <a:spcBef>
                  <a:spcPct val="50000"/>
                </a:spcBef>
              </a:pPr>
              <a:r>
                <a:rPr lang="en-US" sz="800" b="1" i="0" smtClean="0">
                  <a:latin typeface="Calibri" pitchFamily="34" charset="0"/>
                </a:rPr>
                <a:t>POP MW</a:t>
              </a:r>
              <a:endParaRPr lang="en-US" sz="800" b="1" i="0" dirty="0">
                <a:latin typeface="Calibri" pitchFamily="34" charset="0"/>
              </a:endParaRPr>
            </a:p>
          </p:txBody>
        </p:sp>
        <p:grpSp>
          <p:nvGrpSpPr>
            <p:cNvPr id="665" name="Group 188"/>
            <p:cNvGrpSpPr/>
            <p:nvPr/>
          </p:nvGrpSpPr>
          <p:grpSpPr>
            <a:xfrm flipH="1">
              <a:off x="1919944" y="2433757"/>
              <a:ext cx="1830387" cy="1903412"/>
              <a:chOff x="952455" y="2736052"/>
              <a:chExt cx="1830387" cy="1903412"/>
            </a:xfrm>
          </p:grpSpPr>
          <p:grpSp>
            <p:nvGrpSpPr>
              <p:cNvPr id="768" name="Group 48"/>
              <p:cNvGrpSpPr>
                <a:grpSpLocks/>
              </p:cNvGrpSpPr>
              <p:nvPr/>
            </p:nvGrpSpPr>
            <p:grpSpPr bwMode="auto">
              <a:xfrm>
                <a:off x="2465342" y="2736052"/>
                <a:ext cx="174625" cy="180975"/>
                <a:chOff x="8053381" y="4195958"/>
                <a:chExt cx="228600" cy="228600"/>
              </a:xfrm>
            </p:grpSpPr>
            <p:sp>
              <p:nvSpPr>
                <p:cNvPr id="814" name="Oval 813"/>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815" name="Oval 814"/>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769" name="Group 49"/>
              <p:cNvGrpSpPr>
                <a:grpSpLocks/>
              </p:cNvGrpSpPr>
              <p:nvPr/>
            </p:nvGrpSpPr>
            <p:grpSpPr bwMode="auto">
              <a:xfrm>
                <a:off x="2563767" y="3066252"/>
                <a:ext cx="174625" cy="180975"/>
                <a:chOff x="8053381" y="4195958"/>
                <a:chExt cx="228600" cy="228600"/>
              </a:xfrm>
            </p:grpSpPr>
            <p:sp>
              <p:nvSpPr>
                <p:cNvPr id="812" name="Oval 811"/>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813" name="Oval 812"/>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770" name="Group 52"/>
              <p:cNvGrpSpPr>
                <a:grpSpLocks/>
              </p:cNvGrpSpPr>
              <p:nvPr/>
            </p:nvGrpSpPr>
            <p:grpSpPr bwMode="auto">
              <a:xfrm>
                <a:off x="2455817" y="3423439"/>
                <a:ext cx="176213" cy="180975"/>
                <a:chOff x="8053381" y="4195958"/>
                <a:chExt cx="228600" cy="228600"/>
              </a:xfrm>
            </p:grpSpPr>
            <p:sp>
              <p:nvSpPr>
                <p:cNvPr id="810" name="Oval 809"/>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811" name="Oval 810"/>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771" name="Group 55"/>
              <p:cNvGrpSpPr>
                <a:grpSpLocks/>
              </p:cNvGrpSpPr>
              <p:nvPr/>
            </p:nvGrpSpPr>
            <p:grpSpPr bwMode="auto">
              <a:xfrm>
                <a:off x="2035130" y="3056727"/>
                <a:ext cx="176212" cy="180975"/>
                <a:chOff x="8053381" y="4195958"/>
                <a:chExt cx="228600" cy="228600"/>
              </a:xfrm>
            </p:grpSpPr>
            <p:sp>
              <p:nvSpPr>
                <p:cNvPr id="808" name="Oval 807"/>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809" name="Oval 808"/>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772" name="Group 58"/>
              <p:cNvGrpSpPr>
                <a:grpSpLocks/>
              </p:cNvGrpSpPr>
              <p:nvPr/>
            </p:nvGrpSpPr>
            <p:grpSpPr bwMode="auto">
              <a:xfrm>
                <a:off x="2597105" y="3840952"/>
                <a:ext cx="174625" cy="179387"/>
                <a:chOff x="8053381" y="4195958"/>
                <a:chExt cx="228600" cy="228600"/>
              </a:xfrm>
            </p:grpSpPr>
            <p:sp>
              <p:nvSpPr>
                <p:cNvPr id="806" name="Oval 805"/>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807" name="Oval 806"/>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773" name="Group 61"/>
              <p:cNvGrpSpPr>
                <a:grpSpLocks/>
              </p:cNvGrpSpPr>
              <p:nvPr/>
            </p:nvGrpSpPr>
            <p:grpSpPr bwMode="auto">
              <a:xfrm>
                <a:off x="2198642" y="3686964"/>
                <a:ext cx="174625" cy="180975"/>
                <a:chOff x="8053381" y="4195958"/>
                <a:chExt cx="228600" cy="228600"/>
              </a:xfrm>
            </p:grpSpPr>
            <p:sp>
              <p:nvSpPr>
                <p:cNvPr id="804" name="Oval 803"/>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805" name="Oval 804"/>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774" name="Group 64"/>
              <p:cNvGrpSpPr>
                <a:grpSpLocks/>
              </p:cNvGrpSpPr>
              <p:nvPr/>
            </p:nvGrpSpPr>
            <p:grpSpPr bwMode="auto">
              <a:xfrm>
                <a:off x="1809705" y="3667914"/>
                <a:ext cx="176212" cy="179388"/>
                <a:chOff x="8053381" y="4195958"/>
                <a:chExt cx="228600" cy="228600"/>
              </a:xfrm>
            </p:grpSpPr>
            <p:sp>
              <p:nvSpPr>
                <p:cNvPr id="802" name="Oval 801"/>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803" name="Oval 802"/>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775" name="Group 67"/>
              <p:cNvGrpSpPr>
                <a:grpSpLocks/>
              </p:cNvGrpSpPr>
              <p:nvPr/>
            </p:nvGrpSpPr>
            <p:grpSpPr bwMode="auto">
              <a:xfrm>
                <a:off x="2119267" y="4009227"/>
                <a:ext cx="176213" cy="179387"/>
                <a:chOff x="8053381" y="4195958"/>
                <a:chExt cx="228600" cy="228600"/>
              </a:xfrm>
            </p:grpSpPr>
            <p:sp>
              <p:nvSpPr>
                <p:cNvPr id="800" name="Oval 799"/>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801" name="Oval 800"/>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776" name="Group 70"/>
              <p:cNvGrpSpPr>
                <a:grpSpLocks/>
              </p:cNvGrpSpPr>
              <p:nvPr/>
            </p:nvGrpSpPr>
            <p:grpSpPr bwMode="auto">
              <a:xfrm>
                <a:off x="2608217" y="4361652"/>
                <a:ext cx="174625" cy="179387"/>
                <a:chOff x="8053381" y="4195958"/>
                <a:chExt cx="228600" cy="228600"/>
              </a:xfrm>
            </p:grpSpPr>
            <p:sp>
              <p:nvSpPr>
                <p:cNvPr id="798" name="Oval 797"/>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prst="relaxedInset"/>
                </a:sp3d>
              </p:spPr>
              <p:txBody>
                <a:bodyPr wrap="none" lIns="0" tIns="0" rIns="0" bIns="0" anchor="ctr"/>
                <a:lstStyle/>
                <a:p>
                  <a:pPr algn="ctr" defTabSz="873125" eaLnBrk="0" hangingPunct="0">
                    <a:defRPr/>
                  </a:pPr>
                  <a:endParaRPr lang="en-US" dirty="0">
                    <a:cs typeface="Arial" pitchFamily="34" charset="0"/>
                  </a:endParaRPr>
                </a:p>
              </p:txBody>
            </p:sp>
            <p:sp>
              <p:nvSpPr>
                <p:cNvPr id="799" name="Oval 798"/>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prst="relaxedInse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777" name="Group 73"/>
              <p:cNvGrpSpPr>
                <a:grpSpLocks/>
              </p:cNvGrpSpPr>
              <p:nvPr/>
            </p:nvGrpSpPr>
            <p:grpSpPr bwMode="auto">
              <a:xfrm>
                <a:off x="2173242" y="4458489"/>
                <a:ext cx="176213" cy="180975"/>
                <a:chOff x="8053381" y="4195958"/>
                <a:chExt cx="228600" cy="228600"/>
              </a:xfrm>
            </p:grpSpPr>
            <p:sp>
              <p:nvSpPr>
                <p:cNvPr id="796" name="Oval 795"/>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797" name="Oval 796"/>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778" name="Group 76"/>
              <p:cNvGrpSpPr>
                <a:grpSpLocks/>
              </p:cNvGrpSpPr>
              <p:nvPr/>
            </p:nvGrpSpPr>
            <p:grpSpPr bwMode="auto">
              <a:xfrm>
                <a:off x="1684292" y="4366414"/>
                <a:ext cx="174625" cy="179388"/>
                <a:chOff x="8053381" y="4195958"/>
                <a:chExt cx="228600" cy="228600"/>
              </a:xfrm>
            </p:grpSpPr>
            <p:sp>
              <p:nvSpPr>
                <p:cNvPr id="794" name="Oval 793"/>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795" name="Oval 794"/>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779" name="Group 485"/>
              <p:cNvGrpSpPr>
                <a:grpSpLocks/>
              </p:cNvGrpSpPr>
              <p:nvPr/>
            </p:nvGrpSpPr>
            <p:grpSpPr bwMode="auto">
              <a:xfrm>
                <a:off x="1152480" y="3529802"/>
                <a:ext cx="176212" cy="179387"/>
                <a:chOff x="8053381" y="4195958"/>
                <a:chExt cx="228600" cy="228600"/>
              </a:xfrm>
            </p:grpSpPr>
            <p:sp>
              <p:nvSpPr>
                <p:cNvPr id="792" name="Oval 791"/>
                <p:cNvSpPr/>
                <p:nvPr/>
              </p:nvSpPr>
              <p:spPr bwMode="auto">
                <a:xfrm>
                  <a:off x="8053381" y="4195958"/>
                  <a:ext cx="228600" cy="228600"/>
                </a:xfrm>
                <a:prstGeom prst="ellipse">
                  <a:avLst/>
                </a:prstGeom>
                <a:solidFill>
                  <a:srgbClr val="33CC33"/>
                </a:solidFill>
                <a:ln w="9525" cap="flat" cmpd="sng" algn="ctr">
                  <a:solidFill>
                    <a:schemeClr val="tx1">
                      <a:lumMod val="95000"/>
                      <a:lumOff val="5000"/>
                    </a:schemeClr>
                  </a:solidFill>
                  <a:prstDash val="solid"/>
                  <a:round/>
                  <a:headEnd type="none" w="med" len="med"/>
                  <a:tailEnd type="none" w="med" len="med"/>
                </a:ln>
                <a:effectLst/>
                <a:scene3d>
                  <a:camera prst="orthographicFront"/>
                  <a:lightRig rig="threePt" dir="t"/>
                </a:scene3d>
                <a:sp3d>
                  <a:bevelT w="152400" h="50800" prst="softRound"/>
                </a:sp3d>
              </p:spPr>
              <p:txBody>
                <a:bodyPr wrap="none" lIns="0" tIns="0" rIns="0" bIns="0" anchor="ctr"/>
                <a:lstStyle/>
                <a:p>
                  <a:pPr algn="ctr" defTabSz="873125" eaLnBrk="0" hangingPunct="0">
                    <a:defRPr/>
                  </a:pPr>
                  <a:endParaRPr lang="en-US" dirty="0">
                    <a:cs typeface="Arial" pitchFamily="34" charset="0"/>
                  </a:endParaRPr>
                </a:p>
              </p:txBody>
            </p:sp>
            <p:sp>
              <p:nvSpPr>
                <p:cNvPr id="793" name="Oval 792"/>
                <p:cNvSpPr/>
                <p:nvPr/>
              </p:nvSpPr>
              <p:spPr bwMode="auto">
                <a:xfrm>
                  <a:off x="8109348" y="4253475"/>
                  <a:ext cx="116666" cy="114950"/>
                </a:xfrm>
                <a:prstGeom prst="ellipse">
                  <a:avLst/>
                </a:prstGeom>
                <a:solidFill>
                  <a:srgbClr val="FF0000"/>
                </a:solidFill>
                <a:ln w="9525" cap="flat" cmpd="sng" algn="ctr">
                  <a:solidFill>
                    <a:schemeClr val="tx1">
                      <a:lumMod val="95000"/>
                      <a:lumOff val="5000"/>
                    </a:schemeClr>
                  </a:solidFill>
                  <a:prstDash val="solid"/>
                  <a:round/>
                  <a:headEnd type="none" w="med" len="med"/>
                  <a:tailEnd type="none" w="med" len="med"/>
                </a:ln>
                <a:effectLst/>
                <a:scene3d>
                  <a:camera prst="orthographicFront"/>
                  <a:lightRig rig="threePt" dir="t"/>
                </a:scene3d>
                <a:sp3d>
                  <a:bevelT w="152400" h="50800" prst="softRound"/>
                </a:sp3d>
              </p:spPr>
              <p:txBody>
                <a:bodyPr wrap="none" lIns="0" tIns="0" rIns="0" bIns="0" anchor="ctr"/>
                <a:lstStyle/>
                <a:p>
                  <a:pPr algn="ctr" defTabSz="873125" eaLnBrk="0" hangingPunct="0">
                    <a:defRPr/>
                  </a:pPr>
                  <a:endParaRPr lang="en-US" dirty="0">
                    <a:cs typeface="Arial" pitchFamily="34" charset="0"/>
                  </a:endParaRPr>
                </a:p>
              </p:txBody>
            </p:sp>
          </p:grpSp>
          <p:cxnSp>
            <p:nvCxnSpPr>
              <p:cNvPr id="780" name="Straight Connector 84"/>
              <p:cNvCxnSpPr>
                <a:cxnSpLocks noChangeShapeType="1"/>
              </p:cNvCxnSpPr>
              <p:nvPr/>
            </p:nvCxnSpPr>
            <p:spPr bwMode="auto">
              <a:xfrm rot="5400000">
                <a:off x="2240711" y="2833683"/>
                <a:ext cx="193675" cy="306387"/>
              </a:xfrm>
              <a:prstGeom prst="line">
                <a:avLst/>
              </a:prstGeom>
              <a:noFill/>
              <a:ln w="9525" algn="ctr">
                <a:solidFill>
                  <a:srgbClr val="969696"/>
                </a:solidFill>
                <a:round/>
                <a:headEnd/>
                <a:tailEnd/>
              </a:ln>
            </p:spPr>
          </p:cxnSp>
          <p:cxnSp>
            <p:nvCxnSpPr>
              <p:cNvPr id="781" name="Straight Connector 86"/>
              <p:cNvCxnSpPr>
                <a:cxnSpLocks noChangeShapeType="1"/>
              </p:cNvCxnSpPr>
              <p:nvPr/>
            </p:nvCxnSpPr>
            <p:spPr bwMode="auto">
              <a:xfrm rot="10800000">
                <a:off x="2211342" y="3147214"/>
                <a:ext cx="352425" cy="9525"/>
              </a:xfrm>
              <a:prstGeom prst="line">
                <a:avLst/>
              </a:prstGeom>
              <a:noFill/>
              <a:ln w="9525" algn="ctr">
                <a:solidFill>
                  <a:srgbClr val="969696"/>
                </a:solidFill>
                <a:round/>
                <a:headEnd/>
                <a:tailEnd/>
              </a:ln>
            </p:spPr>
          </p:cxnSp>
          <p:cxnSp>
            <p:nvCxnSpPr>
              <p:cNvPr id="782" name="Straight Connector 88"/>
              <p:cNvCxnSpPr>
                <a:cxnSpLocks noChangeShapeType="1"/>
              </p:cNvCxnSpPr>
              <p:nvPr/>
            </p:nvCxnSpPr>
            <p:spPr bwMode="auto">
              <a:xfrm rot="10800000">
                <a:off x="2184355" y="3210714"/>
                <a:ext cx="271462" cy="303213"/>
              </a:xfrm>
              <a:prstGeom prst="line">
                <a:avLst/>
              </a:prstGeom>
              <a:noFill/>
              <a:ln w="9525" algn="ctr">
                <a:solidFill>
                  <a:srgbClr val="969696"/>
                </a:solidFill>
                <a:round/>
                <a:headEnd/>
                <a:tailEnd/>
              </a:ln>
            </p:spPr>
          </p:cxnSp>
          <p:cxnSp>
            <p:nvCxnSpPr>
              <p:cNvPr id="783" name="Straight Connector 90"/>
              <p:cNvCxnSpPr>
                <a:cxnSpLocks noChangeShapeType="1"/>
              </p:cNvCxnSpPr>
              <p:nvPr/>
            </p:nvCxnSpPr>
            <p:spPr bwMode="auto">
              <a:xfrm rot="10800000" flipV="1">
                <a:off x="1301705" y="3147214"/>
                <a:ext cx="733425" cy="407988"/>
              </a:xfrm>
              <a:prstGeom prst="line">
                <a:avLst/>
              </a:prstGeom>
              <a:noFill/>
              <a:ln w="9525" algn="ctr">
                <a:solidFill>
                  <a:srgbClr val="969696"/>
                </a:solidFill>
                <a:round/>
                <a:headEnd/>
                <a:tailEnd/>
              </a:ln>
            </p:spPr>
          </p:cxnSp>
          <p:cxnSp>
            <p:nvCxnSpPr>
              <p:cNvPr id="784" name="Straight Connector 92"/>
              <p:cNvCxnSpPr>
                <a:cxnSpLocks noChangeShapeType="1"/>
              </p:cNvCxnSpPr>
              <p:nvPr/>
            </p:nvCxnSpPr>
            <p:spPr bwMode="auto">
              <a:xfrm rot="10800000">
                <a:off x="1285830" y="3620289"/>
                <a:ext cx="523875" cy="138113"/>
              </a:xfrm>
              <a:prstGeom prst="line">
                <a:avLst/>
              </a:prstGeom>
              <a:noFill/>
              <a:ln w="9525" algn="ctr">
                <a:solidFill>
                  <a:srgbClr val="969696"/>
                </a:solidFill>
                <a:round/>
                <a:headEnd/>
                <a:tailEnd/>
              </a:ln>
            </p:spPr>
          </p:cxnSp>
          <p:cxnSp>
            <p:nvCxnSpPr>
              <p:cNvPr id="785" name="Straight Connector 97"/>
              <p:cNvCxnSpPr>
                <a:cxnSpLocks noChangeShapeType="1"/>
              </p:cNvCxnSpPr>
              <p:nvPr/>
            </p:nvCxnSpPr>
            <p:spPr bwMode="auto">
              <a:xfrm rot="16200000" flipV="1">
                <a:off x="2453436" y="3697283"/>
                <a:ext cx="88900" cy="249238"/>
              </a:xfrm>
              <a:prstGeom prst="line">
                <a:avLst/>
              </a:prstGeom>
              <a:noFill/>
              <a:ln w="9525" algn="ctr">
                <a:solidFill>
                  <a:srgbClr val="969696"/>
                </a:solidFill>
                <a:round/>
                <a:headEnd/>
                <a:tailEnd/>
              </a:ln>
            </p:spPr>
          </p:cxnSp>
          <p:cxnSp>
            <p:nvCxnSpPr>
              <p:cNvPr id="786" name="Straight Connector 101"/>
              <p:cNvCxnSpPr>
                <a:cxnSpLocks noChangeShapeType="1"/>
              </p:cNvCxnSpPr>
              <p:nvPr/>
            </p:nvCxnSpPr>
            <p:spPr bwMode="auto">
              <a:xfrm rot="10800000">
                <a:off x="1985917" y="3758402"/>
                <a:ext cx="212725" cy="19050"/>
              </a:xfrm>
              <a:prstGeom prst="line">
                <a:avLst/>
              </a:prstGeom>
              <a:noFill/>
              <a:ln w="9525" algn="ctr">
                <a:solidFill>
                  <a:srgbClr val="969696"/>
                </a:solidFill>
                <a:round/>
                <a:headEnd/>
                <a:tailEnd/>
              </a:ln>
            </p:spPr>
          </p:cxnSp>
          <p:cxnSp>
            <p:nvCxnSpPr>
              <p:cNvPr id="787" name="Straight Connector 104"/>
              <p:cNvCxnSpPr>
                <a:cxnSpLocks noChangeShapeType="1"/>
              </p:cNvCxnSpPr>
              <p:nvPr/>
            </p:nvCxnSpPr>
            <p:spPr bwMode="auto">
              <a:xfrm rot="16200000" flipV="1">
                <a:off x="1947023" y="3835396"/>
                <a:ext cx="212725" cy="185738"/>
              </a:xfrm>
              <a:prstGeom prst="line">
                <a:avLst/>
              </a:prstGeom>
              <a:noFill/>
              <a:ln w="9525" algn="ctr">
                <a:solidFill>
                  <a:srgbClr val="969696"/>
                </a:solidFill>
                <a:round/>
                <a:headEnd/>
                <a:tailEnd/>
              </a:ln>
            </p:spPr>
          </p:cxnSp>
          <p:cxnSp>
            <p:nvCxnSpPr>
              <p:cNvPr id="788" name="Straight Connector 106"/>
              <p:cNvCxnSpPr>
                <a:cxnSpLocks noChangeShapeType="1"/>
              </p:cNvCxnSpPr>
              <p:nvPr/>
            </p:nvCxnSpPr>
            <p:spPr bwMode="auto">
              <a:xfrm rot="10800000" flipV="1">
                <a:off x="2349455" y="4452139"/>
                <a:ext cx="258762" cy="96838"/>
              </a:xfrm>
              <a:prstGeom prst="line">
                <a:avLst/>
              </a:prstGeom>
              <a:noFill/>
              <a:ln w="9525" algn="ctr">
                <a:solidFill>
                  <a:srgbClr val="969696"/>
                </a:solidFill>
                <a:round/>
                <a:headEnd/>
                <a:tailEnd/>
              </a:ln>
            </p:spPr>
          </p:cxnSp>
          <p:cxnSp>
            <p:nvCxnSpPr>
              <p:cNvPr id="789" name="Straight Connector 108"/>
              <p:cNvCxnSpPr>
                <a:cxnSpLocks noChangeShapeType="1"/>
              </p:cNvCxnSpPr>
              <p:nvPr/>
            </p:nvCxnSpPr>
            <p:spPr bwMode="auto">
              <a:xfrm rot="10800000">
                <a:off x="1858917" y="4455314"/>
                <a:ext cx="314325" cy="93663"/>
              </a:xfrm>
              <a:prstGeom prst="line">
                <a:avLst/>
              </a:prstGeom>
              <a:noFill/>
              <a:ln w="9525" algn="ctr">
                <a:solidFill>
                  <a:srgbClr val="969696"/>
                </a:solidFill>
                <a:round/>
                <a:headEnd/>
                <a:tailEnd/>
              </a:ln>
            </p:spPr>
          </p:cxnSp>
          <p:cxnSp>
            <p:nvCxnSpPr>
              <p:cNvPr id="790" name="Straight Connector 110"/>
              <p:cNvCxnSpPr>
                <a:cxnSpLocks noChangeShapeType="1"/>
              </p:cNvCxnSpPr>
              <p:nvPr/>
            </p:nvCxnSpPr>
            <p:spPr bwMode="auto">
              <a:xfrm rot="16200000" flipV="1">
                <a:off x="1133429" y="3815552"/>
                <a:ext cx="682625" cy="469900"/>
              </a:xfrm>
              <a:prstGeom prst="line">
                <a:avLst/>
              </a:prstGeom>
              <a:noFill/>
              <a:ln w="9525" algn="ctr">
                <a:solidFill>
                  <a:srgbClr val="969696"/>
                </a:solidFill>
                <a:round/>
                <a:headEnd/>
                <a:tailEnd/>
              </a:ln>
            </p:spPr>
          </p:cxnSp>
          <p:sp>
            <p:nvSpPr>
              <p:cNvPr id="791" name="TextBox 131"/>
              <p:cNvSpPr txBox="1">
                <a:spLocks noChangeArrowheads="1"/>
              </p:cNvSpPr>
              <p:nvPr/>
            </p:nvSpPr>
            <p:spPr bwMode="auto">
              <a:xfrm>
                <a:off x="952455" y="3285327"/>
                <a:ext cx="568325" cy="215900"/>
              </a:xfrm>
              <a:prstGeom prst="rect">
                <a:avLst/>
              </a:prstGeom>
              <a:noFill/>
              <a:ln w="9525">
                <a:noFill/>
                <a:miter lim="800000"/>
                <a:headEnd/>
                <a:tailEnd/>
              </a:ln>
            </p:spPr>
            <p:txBody>
              <a:bodyPr wrap="none">
                <a:spAutoFit/>
              </a:bodyPr>
              <a:lstStyle/>
              <a:p>
                <a:pPr>
                  <a:spcBef>
                    <a:spcPct val="50000"/>
                  </a:spcBef>
                </a:pPr>
                <a:r>
                  <a:rPr lang="en-US" sz="800" b="1" i="0" smtClean="0">
                    <a:latin typeface="Calibri" pitchFamily="34" charset="0"/>
                  </a:rPr>
                  <a:t>POP MW</a:t>
                </a:r>
                <a:endParaRPr lang="en-US" sz="800" b="1" i="0" dirty="0">
                  <a:latin typeface="Calibri" pitchFamily="34" charset="0"/>
                </a:endParaRPr>
              </a:p>
            </p:txBody>
          </p:sp>
        </p:grpSp>
        <p:grpSp>
          <p:nvGrpSpPr>
            <p:cNvPr id="666" name="Group 48"/>
            <p:cNvGrpSpPr>
              <a:grpSpLocks/>
            </p:cNvGrpSpPr>
            <p:nvPr/>
          </p:nvGrpSpPr>
          <p:grpSpPr bwMode="auto">
            <a:xfrm flipH="1">
              <a:off x="2398685" y="4700708"/>
              <a:ext cx="174625" cy="180975"/>
              <a:chOff x="8053381" y="4195958"/>
              <a:chExt cx="228600" cy="228600"/>
            </a:xfrm>
          </p:grpSpPr>
          <p:sp>
            <p:nvSpPr>
              <p:cNvPr id="766" name="Oval 765"/>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767" name="Oval 766"/>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667" name="Group 49"/>
            <p:cNvGrpSpPr>
              <a:grpSpLocks/>
            </p:cNvGrpSpPr>
            <p:nvPr/>
          </p:nvGrpSpPr>
          <p:grpSpPr bwMode="auto">
            <a:xfrm flipH="1">
              <a:off x="2300260" y="5030908"/>
              <a:ext cx="174625" cy="180975"/>
              <a:chOff x="8053381" y="4195958"/>
              <a:chExt cx="228600" cy="228600"/>
            </a:xfrm>
          </p:grpSpPr>
          <p:sp>
            <p:nvSpPr>
              <p:cNvPr id="764" name="Oval 763"/>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765" name="Oval 764"/>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668" name="Group 52"/>
            <p:cNvGrpSpPr>
              <a:grpSpLocks/>
            </p:cNvGrpSpPr>
            <p:nvPr/>
          </p:nvGrpSpPr>
          <p:grpSpPr bwMode="auto">
            <a:xfrm flipH="1">
              <a:off x="2406622" y="5388095"/>
              <a:ext cx="176213" cy="180975"/>
              <a:chOff x="8053381" y="4195958"/>
              <a:chExt cx="228600" cy="228600"/>
            </a:xfrm>
          </p:grpSpPr>
          <p:sp>
            <p:nvSpPr>
              <p:cNvPr id="762" name="Oval 761"/>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763" name="Oval 762"/>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669" name="Group 55"/>
            <p:cNvGrpSpPr>
              <a:grpSpLocks/>
            </p:cNvGrpSpPr>
            <p:nvPr/>
          </p:nvGrpSpPr>
          <p:grpSpPr bwMode="auto">
            <a:xfrm flipH="1">
              <a:off x="2827310" y="5021383"/>
              <a:ext cx="176212" cy="180975"/>
              <a:chOff x="8053381" y="4195958"/>
              <a:chExt cx="228600" cy="228600"/>
            </a:xfrm>
          </p:grpSpPr>
          <p:sp>
            <p:nvSpPr>
              <p:cNvPr id="760" name="Oval 759"/>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761" name="Oval 760"/>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670" name="Group 58"/>
            <p:cNvGrpSpPr>
              <a:grpSpLocks/>
            </p:cNvGrpSpPr>
            <p:nvPr/>
          </p:nvGrpSpPr>
          <p:grpSpPr bwMode="auto">
            <a:xfrm flipH="1">
              <a:off x="3143234" y="5731002"/>
              <a:ext cx="174625" cy="179387"/>
              <a:chOff x="8053381" y="4195958"/>
              <a:chExt cx="228600" cy="228600"/>
            </a:xfrm>
          </p:grpSpPr>
          <p:sp>
            <p:nvSpPr>
              <p:cNvPr id="758" name="Oval 757"/>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759" name="Oval 758"/>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671" name="Group 61"/>
            <p:cNvGrpSpPr>
              <a:grpSpLocks/>
            </p:cNvGrpSpPr>
            <p:nvPr/>
          </p:nvGrpSpPr>
          <p:grpSpPr bwMode="auto">
            <a:xfrm flipH="1">
              <a:off x="3541697" y="5577014"/>
              <a:ext cx="174625" cy="180975"/>
              <a:chOff x="8053381" y="4195958"/>
              <a:chExt cx="228600" cy="228600"/>
            </a:xfrm>
          </p:grpSpPr>
          <p:sp>
            <p:nvSpPr>
              <p:cNvPr id="756" name="Oval 755"/>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757" name="Oval 756"/>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672" name="Group 64"/>
            <p:cNvGrpSpPr>
              <a:grpSpLocks/>
            </p:cNvGrpSpPr>
            <p:nvPr/>
          </p:nvGrpSpPr>
          <p:grpSpPr bwMode="auto">
            <a:xfrm flipH="1">
              <a:off x="3929047" y="5557964"/>
              <a:ext cx="176212" cy="179388"/>
              <a:chOff x="8053381" y="4195958"/>
              <a:chExt cx="228600" cy="228600"/>
            </a:xfrm>
          </p:grpSpPr>
          <p:sp>
            <p:nvSpPr>
              <p:cNvPr id="754" name="Oval 753"/>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755" name="Oval 754"/>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673" name="Group 67"/>
            <p:cNvGrpSpPr>
              <a:grpSpLocks/>
            </p:cNvGrpSpPr>
            <p:nvPr/>
          </p:nvGrpSpPr>
          <p:grpSpPr bwMode="auto">
            <a:xfrm flipH="1">
              <a:off x="3619484" y="5899277"/>
              <a:ext cx="176213" cy="179387"/>
              <a:chOff x="8053381" y="4195958"/>
              <a:chExt cx="228600" cy="228600"/>
            </a:xfrm>
          </p:grpSpPr>
          <p:sp>
            <p:nvSpPr>
              <p:cNvPr id="752" name="Oval 751"/>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753" name="Oval 752"/>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674" name="Group 70"/>
            <p:cNvGrpSpPr>
              <a:grpSpLocks/>
            </p:cNvGrpSpPr>
            <p:nvPr/>
          </p:nvGrpSpPr>
          <p:grpSpPr bwMode="auto">
            <a:xfrm flipH="1">
              <a:off x="3132122" y="6251702"/>
              <a:ext cx="174625" cy="179387"/>
              <a:chOff x="8053381" y="4195958"/>
              <a:chExt cx="228600" cy="228600"/>
            </a:xfrm>
          </p:grpSpPr>
          <p:sp>
            <p:nvSpPr>
              <p:cNvPr id="750" name="Oval 749"/>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prst="relaxedInset"/>
              </a:sp3d>
            </p:spPr>
            <p:txBody>
              <a:bodyPr wrap="none" lIns="0" tIns="0" rIns="0" bIns="0" anchor="ctr"/>
              <a:lstStyle/>
              <a:p>
                <a:pPr algn="ctr" defTabSz="873125" eaLnBrk="0" hangingPunct="0">
                  <a:defRPr/>
                </a:pPr>
                <a:endParaRPr lang="en-US" dirty="0">
                  <a:cs typeface="Arial" pitchFamily="34" charset="0"/>
                </a:endParaRPr>
              </a:p>
            </p:txBody>
          </p:sp>
          <p:sp>
            <p:nvSpPr>
              <p:cNvPr id="751" name="Oval 750"/>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prst="relaxedInse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675" name="Group 73"/>
            <p:cNvGrpSpPr>
              <a:grpSpLocks/>
            </p:cNvGrpSpPr>
            <p:nvPr/>
          </p:nvGrpSpPr>
          <p:grpSpPr bwMode="auto">
            <a:xfrm flipH="1">
              <a:off x="3565509" y="6348539"/>
              <a:ext cx="176213" cy="180975"/>
              <a:chOff x="8053381" y="4195958"/>
              <a:chExt cx="228600" cy="228600"/>
            </a:xfrm>
          </p:grpSpPr>
          <p:sp>
            <p:nvSpPr>
              <p:cNvPr id="748" name="Oval 747"/>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749" name="Oval 748"/>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676" name="Group 76"/>
            <p:cNvGrpSpPr>
              <a:grpSpLocks/>
            </p:cNvGrpSpPr>
            <p:nvPr/>
          </p:nvGrpSpPr>
          <p:grpSpPr bwMode="auto">
            <a:xfrm flipH="1">
              <a:off x="4056047" y="6256464"/>
              <a:ext cx="174625" cy="179388"/>
              <a:chOff x="8053381" y="4195958"/>
              <a:chExt cx="228600" cy="228600"/>
            </a:xfrm>
          </p:grpSpPr>
          <p:sp>
            <p:nvSpPr>
              <p:cNvPr id="746" name="Oval 745"/>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747" name="Oval 746"/>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677" name="Group 79"/>
            <p:cNvGrpSpPr>
              <a:grpSpLocks/>
            </p:cNvGrpSpPr>
            <p:nvPr/>
          </p:nvGrpSpPr>
          <p:grpSpPr bwMode="auto">
            <a:xfrm flipH="1">
              <a:off x="4586272" y="5419852"/>
              <a:ext cx="176212" cy="179387"/>
              <a:chOff x="8053381" y="4195958"/>
              <a:chExt cx="228600" cy="228600"/>
            </a:xfrm>
          </p:grpSpPr>
          <p:sp>
            <p:nvSpPr>
              <p:cNvPr id="744" name="Oval 743"/>
              <p:cNvSpPr/>
              <p:nvPr/>
            </p:nvSpPr>
            <p:spPr bwMode="auto">
              <a:xfrm>
                <a:off x="8053381" y="4195958"/>
                <a:ext cx="228600" cy="228600"/>
              </a:xfrm>
              <a:prstGeom prst="ellipse">
                <a:avLst/>
              </a:prstGeom>
              <a:solidFill>
                <a:srgbClr val="33CC33"/>
              </a:solidFill>
              <a:ln w="9525" cap="flat" cmpd="sng" algn="ctr">
                <a:solidFill>
                  <a:schemeClr val="tx1">
                    <a:lumMod val="95000"/>
                    <a:lumOff val="5000"/>
                  </a:schemeClr>
                </a:solidFill>
                <a:prstDash val="solid"/>
                <a:round/>
                <a:headEnd type="none" w="med" len="med"/>
                <a:tailEnd type="none" w="med" len="med"/>
              </a:ln>
              <a:effectLst/>
              <a:scene3d>
                <a:camera prst="orthographicFront"/>
                <a:lightRig rig="threePt" dir="t"/>
              </a:scene3d>
              <a:sp3d>
                <a:bevelT w="152400" h="50800" prst="softRound"/>
              </a:sp3d>
            </p:spPr>
            <p:txBody>
              <a:bodyPr wrap="none" lIns="0" tIns="0" rIns="0" bIns="0" anchor="ctr"/>
              <a:lstStyle/>
              <a:p>
                <a:pPr algn="ctr" defTabSz="873125" eaLnBrk="0" hangingPunct="0">
                  <a:defRPr/>
                </a:pPr>
                <a:endParaRPr lang="en-US" dirty="0">
                  <a:cs typeface="Arial" pitchFamily="34" charset="0"/>
                </a:endParaRPr>
              </a:p>
            </p:txBody>
          </p:sp>
          <p:sp>
            <p:nvSpPr>
              <p:cNvPr id="745" name="Oval 744"/>
              <p:cNvSpPr/>
              <p:nvPr/>
            </p:nvSpPr>
            <p:spPr bwMode="auto">
              <a:xfrm>
                <a:off x="8109348" y="4253475"/>
                <a:ext cx="116666" cy="114950"/>
              </a:xfrm>
              <a:prstGeom prst="ellipse">
                <a:avLst/>
              </a:prstGeom>
              <a:solidFill>
                <a:srgbClr val="FF0000"/>
              </a:solidFill>
              <a:ln w="9525" cap="flat" cmpd="sng" algn="ctr">
                <a:solidFill>
                  <a:schemeClr val="tx1">
                    <a:lumMod val="95000"/>
                    <a:lumOff val="5000"/>
                  </a:schemeClr>
                </a:solidFill>
                <a:prstDash val="solid"/>
                <a:round/>
                <a:headEnd type="none" w="med" len="med"/>
                <a:tailEnd type="none" w="med" len="med"/>
              </a:ln>
              <a:effectLst/>
              <a:scene3d>
                <a:camera prst="orthographicFront"/>
                <a:lightRig rig="threePt" dir="t"/>
              </a:scene3d>
              <a:sp3d>
                <a:bevelT w="152400" h="50800" prst="softRound"/>
              </a:sp3d>
            </p:spPr>
            <p:txBody>
              <a:bodyPr wrap="none" lIns="0" tIns="0" rIns="0" bIns="0" anchor="ctr"/>
              <a:lstStyle/>
              <a:p>
                <a:pPr algn="ctr" defTabSz="873125" eaLnBrk="0" hangingPunct="0">
                  <a:defRPr/>
                </a:pPr>
                <a:endParaRPr lang="en-US" dirty="0">
                  <a:cs typeface="Arial" pitchFamily="34" charset="0"/>
                </a:endParaRPr>
              </a:p>
            </p:txBody>
          </p:sp>
        </p:grpSp>
        <p:cxnSp>
          <p:nvCxnSpPr>
            <p:cNvPr id="678" name="Straight Connector 84"/>
            <p:cNvCxnSpPr>
              <a:cxnSpLocks noChangeShapeType="1"/>
            </p:cNvCxnSpPr>
            <p:nvPr/>
          </p:nvCxnSpPr>
          <p:spPr bwMode="auto">
            <a:xfrm rot="16200000" flipH="1">
              <a:off x="2604266" y="4798339"/>
              <a:ext cx="193675" cy="306387"/>
            </a:xfrm>
            <a:prstGeom prst="line">
              <a:avLst/>
            </a:prstGeom>
            <a:noFill/>
            <a:ln w="9525" algn="ctr">
              <a:solidFill>
                <a:srgbClr val="969696"/>
              </a:solidFill>
              <a:round/>
              <a:headEnd/>
              <a:tailEnd/>
            </a:ln>
          </p:spPr>
        </p:cxnSp>
        <p:cxnSp>
          <p:nvCxnSpPr>
            <p:cNvPr id="679" name="Straight Connector 86"/>
            <p:cNvCxnSpPr>
              <a:cxnSpLocks noChangeShapeType="1"/>
            </p:cNvCxnSpPr>
            <p:nvPr/>
          </p:nvCxnSpPr>
          <p:spPr bwMode="auto">
            <a:xfrm rot="10800000" flipH="1">
              <a:off x="2474885" y="5111870"/>
              <a:ext cx="352425" cy="9525"/>
            </a:xfrm>
            <a:prstGeom prst="line">
              <a:avLst/>
            </a:prstGeom>
            <a:noFill/>
            <a:ln w="9525" algn="ctr">
              <a:solidFill>
                <a:srgbClr val="969696"/>
              </a:solidFill>
              <a:round/>
              <a:headEnd/>
              <a:tailEnd/>
            </a:ln>
          </p:spPr>
        </p:cxnSp>
        <p:cxnSp>
          <p:nvCxnSpPr>
            <p:cNvPr id="680" name="Straight Connector 88"/>
            <p:cNvCxnSpPr>
              <a:cxnSpLocks noChangeShapeType="1"/>
            </p:cNvCxnSpPr>
            <p:nvPr/>
          </p:nvCxnSpPr>
          <p:spPr bwMode="auto">
            <a:xfrm rot="10800000" flipH="1">
              <a:off x="2582835" y="5175370"/>
              <a:ext cx="271462" cy="303213"/>
            </a:xfrm>
            <a:prstGeom prst="line">
              <a:avLst/>
            </a:prstGeom>
            <a:noFill/>
            <a:ln w="9525" algn="ctr">
              <a:solidFill>
                <a:srgbClr val="969696"/>
              </a:solidFill>
              <a:round/>
              <a:headEnd/>
              <a:tailEnd/>
            </a:ln>
          </p:spPr>
        </p:cxnSp>
        <p:cxnSp>
          <p:nvCxnSpPr>
            <p:cNvPr id="681" name="Straight Connector 92"/>
            <p:cNvCxnSpPr>
              <a:cxnSpLocks noChangeShapeType="1"/>
            </p:cNvCxnSpPr>
            <p:nvPr/>
          </p:nvCxnSpPr>
          <p:spPr bwMode="auto">
            <a:xfrm rot="10800000" flipH="1">
              <a:off x="4105259" y="5510339"/>
              <a:ext cx="523875" cy="138113"/>
            </a:xfrm>
            <a:prstGeom prst="line">
              <a:avLst/>
            </a:prstGeom>
            <a:noFill/>
            <a:ln w="9525" algn="ctr">
              <a:solidFill>
                <a:srgbClr val="969696"/>
              </a:solidFill>
              <a:round/>
              <a:headEnd/>
              <a:tailEnd/>
            </a:ln>
          </p:spPr>
        </p:cxnSp>
        <p:cxnSp>
          <p:nvCxnSpPr>
            <p:cNvPr id="682" name="Straight Connector 97"/>
            <p:cNvCxnSpPr>
              <a:cxnSpLocks noChangeShapeType="1"/>
            </p:cNvCxnSpPr>
            <p:nvPr/>
          </p:nvCxnSpPr>
          <p:spPr bwMode="auto">
            <a:xfrm rot="5400000" flipH="1" flipV="1">
              <a:off x="3372628" y="5587333"/>
              <a:ext cx="88900" cy="249238"/>
            </a:xfrm>
            <a:prstGeom prst="line">
              <a:avLst/>
            </a:prstGeom>
            <a:noFill/>
            <a:ln w="9525" algn="ctr">
              <a:solidFill>
                <a:srgbClr val="969696"/>
              </a:solidFill>
              <a:round/>
              <a:headEnd/>
              <a:tailEnd/>
            </a:ln>
          </p:spPr>
        </p:cxnSp>
        <p:cxnSp>
          <p:nvCxnSpPr>
            <p:cNvPr id="683" name="Straight Connector 101"/>
            <p:cNvCxnSpPr>
              <a:cxnSpLocks noChangeShapeType="1"/>
            </p:cNvCxnSpPr>
            <p:nvPr/>
          </p:nvCxnSpPr>
          <p:spPr bwMode="auto">
            <a:xfrm rot="10800000" flipH="1">
              <a:off x="3716322" y="5648452"/>
              <a:ext cx="212725" cy="19050"/>
            </a:xfrm>
            <a:prstGeom prst="line">
              <a:avLst/>
            </a:prstGeom>
            <a:noFill/>
            <a:ln w="9525" algn="ctr">
              <a:solidFill>
                <a:srgbClr val="969696"/>
              </a:solidFill>
              <a:round/>
              <a:headEnd/>
              <a:tailEnd/>
            </a:ln>
          </p:spPr>
        </p:cxnSp>
        <p:cxnSp>
          <p:nvCxnSpPr>
            <p:cNvPr id="684" name="Straight Connector 104"/>
            <p:cNvCxnSpPr>
              <a:cxnSpLocks noChangeShapeType="1"/>
            </p:cNvCxnSpPr>
            <p:nvPr/>
          </p:nvCxnSpPr>
          <p:spPr bwMode="auto">
            <a:xfrm rot="5400000" flipH="1" flipV="1">
              <a:off x="3755216" y="5725446"/>
              <a:ext cx="212725" cy="185738"/>
            </a:xfrm>
            <a:prstGeom prst="line">
              <a:avLst/>
            </a:prstGeom>
            <a:noFill/>
            <a:ln w="9525" algn="ctr">
              <a:solidFill>
                <a:srgbClr val="969696"/>
              </a:solidFill>
              <a:round/>
              <a:headEnd/>
              <a:tailEnd/>
            </a:ln>
          </p:spPr>
        </p:cxnSp>
        <p:cxnSp>
          <p:nvCxnSpPr>
            <p:cNvPr id="685" name="Straight Connector 106"/>
            <p:cNvCxnSpPr>
              <a:cxnSpLocks noChangeShapeType="1"/>
            </p:cNvCxnSpPr>
            <p:nvPr/>
          </p:nvCxnSpPr>
          <p:spPr bwMode="auto">
            <a:xfrm rot="10800000" flipH="1" flipV="1">
              <a:off x="3306747" y="6342189"/>
              <a:ext cx="258762" cy="96838"/>
            </a:xfrm>
            <a:prstGeom prst="line">
              <a:avLst/>
            </a:prstGeom>
            <a:noFill/>
            <a:ln w="9525" algn="ctr">
              <a:solidFill>
                <a:srgbClr val="969696"/>
              </a:solidFill>
              <a:round/>
              <a:headEnd/>
              <a:tailEnd/>
            </a:ln>
          </p:spPr>
        </p:cxnSp>
        <p:cxnSp>
          <p:nvCxnSpPr>
            <p:cNvPr id="686" name="Straight Connector 108"/>
            <p:cNvCxnSpPr>
              <a:cxnSpLocks noChangeShapeType="1"/>
            </p:cNvCxnSpPr>
            <p:nvPr/>
          </p:nvCxnSpPr>
          <p:spPr bwMode="auto">
            <a:xfrm rot="10800000" flipH="1">
              <a:off x="3741722" y="6345364"/>
              <a:ext cx="314325" cy="93663"/>
            </a:xfrm>
            <a:prstGeom prst="line">
              <a:avLst/>
            </a:prstGeom>
            <a:noFill/>
            <a:ln w="9525" algn="ctr">
              <a:solidFill>
                <a:srgbClr val="969696"/>
              </a:solidFill>
              <a:round/>
              <a:headEnd/>
              <a:tailEnd/>
            </a:ln>
          </p:spPr>
        </p:cxnSp>
        <p:cxnSp>
          <p:nvCxnSpPr>
            <p:cNvPr id="687" name="Straight Connector 110"/>
            <p:cNvCxnSpPr>
              <a:cxnSpLocks noChangeShapeType="1"/>
            </p:cNvCxnSpPr>
            <p:nvPr/>
          </p:nvCxnSpPr>
          <p:spPr bwMode="auto">
            <a:xfrm rot="5400000" flipH="1" flipV="1">
              <a:off x="4098910" y="5705602"/>
              <a:ext cx="682625" cy="469900"/>
            </a:xfrm>
            <a:prstGeom prst="line">
              <a:avLst/>
            </a:prstGeom>
            <a:noFill/>
            <a:ln w="9525" algn="ctr">
              <a:solidFill>
                <a:srgbClr val="969696"/>
              </a:solidFill>
              <a:round/>
              <a:headEnd/>
              <a:tailEnd/>
            </a:ln>
          </p:spPr>
        </p:cxnSp>
        <p:sp>
          <p:nvSpPr>
            <p:cNvPr id="688" name="TextBox 131"/>
            <p:cNvSpPr txBox="1">
              <a:spLocks noChangeArrowheads="1"/>
            </p:cNvSpPr>
            <p:nvPr/>
          </p:nvSpPr>
          <p:spPr bwMode="auto">
            <a:xfrm flipH="1">
              <a:off x="4606894" y="5573875"/>
              <a:ext cx="568325" cy="215900"/>
            </a:xfrm>
            <a:prstGeom prst="rect">
              <a:avLst/>
            </a:prstGeom>
            <a:noFill/>
            <a:ln w="9525">
              <a:noFill/>
              <a:miter lim="800000"/>
              <a:headEnd/>
              <a:tailEnd/>
            </a:ln>
          </p:spPr>
          <p:txBody>
            <a:bodyPr wrap="none">
              <a:spAutoFit/>
            </a:bodyPr>
            <a:lstStyle/>
            <a:p>
              <a:pPr>
                <a:spcBef>
                  <a:spcPct val="50000"/>
                </a:spcBef>
              </a:pPr>
              <a:r>
                <a:rPr lang="en-US" sz="800" b="1" i="0" smtClean="0">
                  <a:latin typeface="Calibri" pitchFamily="34" charset="0"/>
                </a:rPr>
                <a:t>POP MW</a:t>
              </a:r>
              <a:endParaRPr lang="en-US" sz="800" b="1" i="0" dirty="0">
                <a:latin typeface="Calibri" pitchFamily="34" charset="0"/>
              </a:endParaRPr>
            </a:p>
          </p:txBody>
        </p:sp>
        <p:grpSp>
          <p:nvGrpSpPr>
            <p:cNvPr id="689" name="Group 111"/>
            <p:cNvGrpSpPr>
              <a:grpSpLocks/>
            </p:cNvGrpSpPr>
            <p:nvPr/>
          </p:nvGrpSpPr>
          <p:grpSpPr bwMode="auto">
            <a:xfrm>
              <a:off x="4911817" y="4409792"/>
              <a:ext cx="174625" cy="179387"/>
              <a:chOff x="8053381" y="4195958"/>
              <a:chExt cx="228600" cy="228600"/>
            </a:xfrm>
          </p:grpSpPr>
          <p:sp>
            <p:nvSpPr>
              <p:cNvPr id="742" name="Oval 741"/>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743" name="Oval 742"/>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cxnSp>
          <p:nvCxnSpPr>
            <p:cNvPr id="690" name="Straight Connector 114"/>
            <p:cNvCxnSpPr>
              <a:cxnSpLocks noChangeShapeType="1"/>
              <a:endCxn id="649" idx="2"/>
            </p:cNvCxnSpPr>
            <p:nvPr/>
          </p:nvCxnSpPr>
          <p:spPr bwMode="auto">
            <a:xfrm rot="16200000" flipV="1">
              <a:off x="4594102" y="4004764"/>
              <a:ext cx="512758" cy="297298"/>
            </a:xfrm>
            <a:prstGeom prst="line">
              <a:avLst/>
            </a:prstGeom>
            <a:noFill/>
            <a:ln w="9525" algn="ctr">
              <a:solidFill>
                <a:srgbClr val="969696"/>
              </a:solidFill>
              <a:round/>
              <a:headEnd/>
              <a:tailEnd/>
            </a:ln>
          </p:spPr>
        </p:cxnSp>
        <p:grpSp>
          <p:nvGrpSpPr>
            <p:cNvPr id="691" name="Group 111"/>
            <p:cNvGrpSpPr>
              <a:grpSpLocks/>
            </p:cNvGrpSpPr>
            <p:nvPr/>
          </p:nvGrpSpPr>
          <p:grpSpPr bwMode="auto">
            <a:xfrm>
              <a:off x="4422754" y="2984597"/>
              <a:ext cx="174625" cy="179387"/>
              <a:chOff x="8053381" y="4195958"/>
              <a:chExt cx="228600" cy="228600"/>
            </a:xfrm>
          </p:grpSpPr>
          <p:sp>
            <p:nvSpPr>
              <p:cNvPr id="740" name="Oval 739"/>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741" name="Oval 740"/>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692" name="Group 111"/>
            <p:cNvGrpSpPr>
              <a:grpSpLocks/>
            </p:cNvGrpSpPr>
            <p:nvPr/>
          </p:nvGrpSpPr>
          <p:grpSpPr bwMode="auto">
            <a:xfrm>
              <a:off x="4779944" y="3212425"/>
              <a:ext cx="174625" cy="179387"/>
              <a:chOff x="8053381" y="4195958"/>
              <a:chExt cx="228600" cy="228600"/>
            </a:xfrm>
          </p:grpSpPr>
          <p:sp>
            <p:nvSpPr>
              <p:cNvPr id="738" name="Oval 737"/>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739" name="Oval 738"/>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693" name="Group 111"/>
            <p:cNvGrpSpPr>
              <a:grpSpLocks/>
            </p:cNvGrpSpPr>
            <p:nvPr/>
          </p:nvGrpSpPr>
          <p:grpSpPr bwMode="auto">
            <a:xfrm>
              <a:off x="3976658" y="3751370"/>
              <a:ext cx="174625" cy="179387"/>
              <a:chOff x="8053381" y="4195958"/>
              <a:chExt cx="228600" cy="228600"/>
            </a:xfrm>
          </p:grpSpPr>
          <p:sp>
            <p:nvSpPr>
              <p:cNvPr id="736" name="Oval 735"/>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737" name="Oval 736"/>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cxnSp>
          <p:nvCxnSpPr>
            <p:cNvPr id="694" name="Straight Connector 114"/>
            <p:cNvCxnSpPr>
              <a:cxnSpLocks noChangeShapeType="1"/>
              <a:endCxn id="649" idx="0"/>
            </p:cNvCxnSpPr>
            <p:nvPr/>
          </p:nvCxnSpPr>
          <p:spPr bwMode="auto">
            <a:xfrm rot="5400000">
              <a:off x="4585962" y="3481412"/>
              <a:ext cx="335427" cy="103685"/>
            </a:xfrm>
            <a:prstGeom prst="line">
              <a:avLst/>
            </a:prstGeom>
            <a:noFill/>
            <a:ln w="9525" algn="ctr">
              <a:solidFill>
                <a:srgbClr val="969696"/>
              </a:solidFill>
              <a:round/>
              <a:headEnd/>
              <a:tailEnd/>
            </a:ln>
          </p:spPr>
        </p:cxnSp>
        <p:cxnSp>
          <p:nvCxnSpPr>
            <p:cNvPr id="695" name="Straight Connector 114"/>
            <p:cNvCxnSpPr>
              <a:cxnSpLocks noChangeShapeType="1"/>
              <a:endCxn id="649" idx="0"/>
            </p:cNvCxnSpPr>
            <p:nvPr/>
          </p:nvCxnSpPr>
          <p:spPr bwMode="auto">
            <a:xfrm rot="16200000" flipH="1">
              <a:off x="4337457" y="3336593"/>
              <a:ext cx="536984" cy="191765"/>
            </a:xfrm>
            <a:prstGeom prst="line">
              <a:avLst/>
            </a:prstGeom>
            <a:noFill/>
            <a:ln w="9525" algn="ctr">
              <a:solidFill>
                <a:srgbClr val="969696"/>
              </a:solidFill>
              <a:round/>
              <a:headEnd/>
              <a:tailEnd/>
            </a:ln>
          </p:spPr>
        </p:cxnSp>
        <p:cxnSp>
          <p:nvCxnSpPr>
            <p:cNvPr id="696" name="Straight Connector 114"/>
            <p:cNvCxnSpPr>
              <a:cxnSpLocks noChangeShapeType="1"/>
              <a:endCxn id="649" idx="1"/>
            </p:cNvCxnSpPr>
            <p:nvPr/>
          </p:nvCxnSpPr>
          <p:spPr bwMode="auto">
            <a:xfrm flipV="1">
              <a:off x="4151283" y="3799001"/>
              <a:ext cx="440163" cy="42063"/>
            </a:xfrm>
            <a:prstGeom prst="line">
              <a:avLst/>
            </a:prstGeom>
            <a:noFill/>
            <a:ln w="9525" algn="ctr">
              <a:solidFill>
                <a:srgbClr val="969696"/>
              </a:solidFill>
              <a:round/>
              <a:headEnd/>
              <a:tailEnd/>
            </a:ln>
          </p:spPr>
        </p:cxnSp>
        <p:grpSp>
          <p:nvGrpSpPr>
            <p:cNvPr id="697" name="Group 58"/>
            <p:cNvGrpSpPr>
              <a:grpSpLocks/>
            </p:cNvGrpSpPr>
            <p:nvPr/>
          </p:nvGrpSpPr>
          <p:grpSpPr bwMode="auto">
            <a:xfrm>
              <a:off x="7374719" y="5772279"/>
              <a:ext cx="174625" cy="179387"/>
              <a:chOff x="8053381" y="4195958"/>
              <a:chExt cx="228600" cy="228600"/>
            </a:xfrm>
          </p:grpSpPr>
          <p:sp>
            <p:nvSpPr>
              <p:cNvPr id="734" name="Oval 733"/>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735" name="Oval 734"/>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698" name="Group 61"/>
            <p:cNvGrpSpPr>
              <a:grpSpLocks/>
            </p:cNvGrpSpPr>
            <p:nvPr/>
          </p:nvGrpSpPr>
          <p:grpSpPr bwMode="auto">
            <a:xfrm>
              <a:off x="6976256" y="5618291"/>
              <a:ext cx="174625" cy="180975"/>
              <a:chOff x="8053381" y="4195958"/>
              <a:chExt cx="228600" cy="228600"/>
            </a:xfrm>
          </p:grpSpPr>
          <p:sp>
            <p:nvSpPr>
              <p:cNvPr id="732" name="Oval 731"/>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733" name="Oval 732"/>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699" name="Group 64"/>
            <p:cNvGrpSpPr>
              <a:grpSpLocks/>
            </p:cNvGrpSpPr>
            <p:nvPr/>
          </p:nvGrpSpPr>
          <p:grpSpPr bwMode="auto">
            <a:xfrm>
              <a:off x="6587319" y="5599241"/>
              <a:ext cx="176212" cy="179388"/>
              <a:chOff x="8053381" y="4195958"/>
              <a:chExt cx="228600" cy="228600"/>
            </a:xfrm>
          </p:grpSpPr>
          <p:sp>
            <p:nvSpPr>
              <p:cNvPr id="730" name="Oval 729"/>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731" name="Oval 730"/>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700" name="Group 67"/>
            <p:cNvGrpSpPr>
              <a:grpSpLocks/>
            </p:cNvGrpSpPr>
            <p:nvPr/>
          </p:nvGrpSpPr>
          <p:grpSpPr bwMode="auto">
            <a:xfrm>
              <a:off x="6896881" y="5940554"/>
              <a:ext cx="176213" cy="179387"/>
              <a:chOff x="8053381" y="4195958"/>
              <a:chExt cx="228600" cy="228600"/>
            </a:xfrm>
          </p:grpSpPr>
          <p:sp>
            <p:nvSpPr>
              <p:cNvPr id="728" name="Oval 727"/>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729" name="Oval 728"/>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701" name="Group 70"/>
            <p:cNvGrpSpPr>
              <a:grpSpLocks/>
            </p:cNvGrpSpPr>
            <p:nvPr/>
          </p:nvGrpSpPr>
          <p:grpSpPr bwMode="auto">
            <a:xfrm>
              <a:off x="7385831" y="6292979"/>
              <a:ext cx="174625" cy="179387"/>
              <a:chOff x="8053381" y="4195958"/>
              <a:chExt cx="228600" cy="228600"/>
            </a:xfrm>
          </p:grpSpPr>
          <p:sp>
            <p:nvSpPr>
              <p:cNvPr id="726" name="Oval 725"/>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prst="relaxedInset"/>
              </a:sp3d>
            </p:spPr>
            <p:txBody>
              <a:bodyPr wrap="none" lIns="0" tIns="0" rIns="0" bIns="0" anchor="ctr"/>
              <a:lstStyle/>
              <a:p>
                <a:pPr algn="ctr" defTabSz="873125" eaLnBrk="0" hangingPunct="0">
                  <a:defRPr/>
                </a:pPr>
                <a:endParaRPr lang="en-US" dirty="0">
                  <a:cs typeface="Arial" pitchFamily="34" charset="0"/>
                </a:endParaRPr>
              </a:p>
            </p:txBody>
          </p:sp>
          <p:sp>
            <p:nvSpPr>
              <p:cNvPr id="727" name="Oval 726"/>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prst="relaxedInse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702" name="Group 73"/>
            <p:cNvGrpSpPr>
              <a:grpSpLocks/>
            </p:cNvGrpSpPr>
            <p:nvPr/>
          </p:nvGrpSpPr>
          <p:grpSpPr bwMode="auto">
            <a:xfrm>
              <a:off x="6950856" y="6389816"/>
              <a:ext cx="176213" cy="180975"/>
              <a:chOff x="8053381" y="4195958"/>
              <a:chExt cx="228600" cy="228600"/>
            </a:xfrm>
          </p:grpSpPr>
          <p:sp>
            <p:nvSpPr>
              <p:cNvPr id="724" name="Oval 723"/>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725" name="Oval 724"/>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703" name="Group 76"/>
            <p:cNvGrpSpPr>
              <a:grpSpLocks/>
            </p:cNvGrpSpPr>
            <p:nvPr/>
          </p:nvGrpSpPr>
          <p:grpSpPr bwMode="auto">
            <a:xfrm>
              <a:off x="6461906" y="6297741"/>
              <a:ext cx="174625" cy="179388"/>
              <a:chOff x="8053381" y="4195958"/>
              <a:chExt cx="228600" cy="228600"/>
            </a:xfrm>
          </p:grpSpPr>
          <p:sp>
            <p:nvSpPr>
              <p:cNvPr id="722" name="Oval 721"/>
              <p:cNvSpPr/>
              <p:nvPr/>
            </p:nvSpPr>
            <p:spPr bwMode="auto">
              <a:xfrm>
                <a:off x="8053381" y="4195958"/>
                <a:ext cx="228600" cy="228600"/>
              </a:xfrm>
              <a:prstGeom prst="ellipse">
                <a:avLst/>
              </a:prstGeom>
              <a:solidFill>
                <a:srgbClr val="33CC33"/>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sp>
            <p:nvSpPr>
              <p:cNvPr id="723" name="Oval 722"/>
              <p:cNvSpPr/>
              <p:nvPr/>
            </p:nvSpPr>
            <p:spPr bwMode="auto">
              <a:xfrm>
                <a:off x="8109348" y="4253475"/>
                <a:ext cx="116666" cy="114950"/>
              </a:xfrm>
              <a:prstGeom prst="ellipse">
                <a:avLst/>
              </a:prstGeom>
              <a:solidFill>
                <a:srgbClr val="FF0000"/>
              </a:solidFill>
              <a:ln w="9525" cap="flat" cmpd="sng" algn="ctr">
                <a:noFill/>
                <a:prstDash val="solid"/>
                <a:round/>
                <a:headEnd type="none" w="med" len="med"/>
                <a:tailEnd type="none" w="med" len="med"/>
              </a:ln>
              <a:effectLst/>
              <a:scene3d>
                <a:camera prst="orthographicFront"/>
                <a:lightRig rig="threePt" dir="t"/>
              </a:scene3d>
              <a:sp3d>
                <a:bevelT/>
              </a:sp3d>
            </p:spPr>
            <p:txBody>
              <a:bodyPr wrap="none" lIns="0" tIns="0" rIns="0" bIns="0" anchor="ctr"/>
              <a:lstStyle/>
              <a:p>
                <a:pPr algn="ctr" defTabSz="873125" eaLnBrk="0" hangingPunct="0">
                  <a:defRPr/>
                </a:pPr>
                <a:endParaRPr lang="en-US" dirty="0">
                  <a:cs typeface="Arial" pitchFamily="34" charset="0"/>
                </a:endParaRPr>
              </a:p>
            </p:txBody>
          </p:sp>
        </p:grpSp>
        <p:grpSp>
          <p:nvGrpSpPr>
            <p:cNvPr id="704" name="Group 79"/>
            <p:cNvGrpSpPr>
              <a:grpSpLocks/>
            </p:cNvGrpSpPr>
            <p:nvPr/>
          </p:nvGrpSpPr>
          <p:grpSpPr bwMode="auto">
            <a:xfrm>
              <a:off x="5930094" y="5461129"/>
              <a:ext cx="176212" cy="179387"/>
              <a:chOff x="8053381" y="4195958"/>
              <a:chExt cx="228600" cy="228600"/>
            </a:xfrm>
          </p:grpSpPr>
          <p:sp>
            <p:nvSpPr>
              <p:cNvPr id="720" name="Oval 719"/>
              <p:cNvSpPr/>
              <p:nvPr/>
            </p:nvSpPr>
            <p:spPr bwMode="auto">
              <a:xfrm>
                <a:off x="8053381" y="4195958"/>
                <a:ext cx="228600" cy="228600"/>
              </a:xfrm>
              <a:prstGeom prst="ellipse">
                <a:avLst/>
              </a:prstGeom>
              <a:solidFill>
                <a:srgbClr val="33CC33"/>
              </a:solidFill>
              <a:ln w="9525" cap="flat" cmpd="sng" algn="ctr">
                <a:solidFill>
                  <a:schemeClr val="tx1">
                    <a:lumMod val="95000"/>
                    <a:lumOff val="5000"/>
                  </a:schemeClr>
                </a:solidFill>
                <a:prstDash val="solid"/>
                <a:round/>
                <a:headEnd type="none" w="med" len="med"/>
                <a:tailEnd type="none" w="med" len="med"/>
              </a:ln>
              <a:effectLst/>
              <a:scene3d>
                <a:camera prst="orthographicFront"/>
                <a:lightRig rig="threePt" dir="t"/>
              </a:scene3d>
              <a:sp3d>
                <a:bevelT w="152400" h="50800" prst="softRound"/>
              </a:sp3d>
            </p:spPr>
            <p:txBody>
              <a:bodyPr wrap="none" lIns="0" tIns="0" rIns="0" bIns="0" anchor="ctr"/>
              <a:lstStyle/>
              <a:p>
                <a:pPr algn="ctr" defTabSz="873125" eaLnBrk="0" hangingPunct="0">
                  <a:defRPr/>
                </a:pPr>
                <a:endParaRPr lang="en-US" dirty="0">
                  <a:cs typeface="Arial" pitchFamily="34" charset="0"/>
                </a:endParaRPr>
              </a:p>
            </p:txBody>
          </p:sp>
          <p:sp>
            <p:nvSpPr>
              <p:cNvPr id="721" name="Oval 720"/>
              <p:cNvSpPr/>
              <p:nvPr/>
            </p:nvSpPr>
            <p:spPr bwMode="auto">
              <a:xfrm>
                <a:off x="8109348" y="4253475"/>
                <a:ext cx="116666" cy="114950"/>
              </a:xfrm>
              <a:prstGeom prst="ellipse">
                <a:avLst/>
              </a:prstGeom>
              <a:solidFill>
                <a:srgbClr val="FF0000"/>
              </a:solidFill>
              <a:ln w="9525" cap="flat" cmpd="sng" algn="ctr">
                <a:solidFill>
                  <a:schemeClr val="tx1">
                    <a:lumMod val="95000"/>
                    <a:lumOff val="5000"/>
                  </a:schemeClr>
                </a:solidFill>
                <a:prstDash val="solid"/>
                <a:round/>
                <a:headEnd type="none" w="med" len="med"/>
                <a:tailEnd type="none" w="med" len="med"/>
              </a:ln>
              <a:effectLst/>
              <a:scene3d>
                <a:camera prst="orthographicFront"/>
                <a:lightRig rig="threePt" dir="t"/>
              </a:scene3d>
              <a:sp3d>
                <a:bevelT w="152400" h="50800" prst="softRound"/>
              </a:sp3d>
            </p:spPr>
            <p:txBody>
              <a:bodyPr wrap="none" lIns="0" tIns="0" rIns="0" bIns="0" anchor="ctr"/>
              <a:lstStyle/>
              <a:p>
                <a:pPr algn="ctr" defTabSz="873125" eaLnBrk="0" hangingPunct="0">
                  <a:defRPr/>
                </a:pPr>
                <a:endParaRPr lang="en-US" dirty="0">
                  <a:cs typeface="Arial" pitchFamily="34" charset="0"/>
                </a:endParaRPr>
              </a:p>
            </p:txBody>
          </p:sp>
        </p:grpSp>
        <p:cxnSp>
          <p:nvCxnSpPr>
            <p:cNvPr id="705" name="Straight Connector 92"/>
            <p:cNvCxnSpPr>
              <a:cxnSpLocks noChangeShapeType="1"/>
            </p:cNvCxnSpPr>
            <p:nvPr/>
          </p:nvCxnSpPr>
          <p:spPr bwMode="auto">
            <a:xfrm rot="10800000">
              <a:off x="6063444" y="5551616"/>
              <a:ext cx="523875" cy="138113"/>
            </a:xfrm>
            <a:prstGeom prst="line">
              <a:avLst/>
            </a:prstGeom>
            <a:noFill/>
            <a:ln w="9525" algn="ctr">
              <a:solidFill>
                <a:srgbClr val="969696"/>
              </a:solidFill>
              <a:round/>
              <a:headEnd/>
              <a:tailEnd/>
            </a:ln>
          </p:spPr>
        </p:cxnSp>
        <p:cxnSp>
          <p:nvCxnSpPr>
            <p:cNvPr id="706" name="Straight Connector 97"/>
            <p:cNvCxnSpPr>
              <a:cxnSpLocks noChangeShapeType="1"/>
            </p:cNvCxnSpPr>
            <p:nvPr/>
          </p:nvCxnSpPr>
          <p:spPr bwMode="auto">
            <a:xfrm rot="16200000" flipV="1">
              <a:off x="7231050" y="5628610"/>
              <a:ext cx="88900" cy="249238"/>
            </a:xfrm>
            <a:prstGeom prst="line">
              <a:avLst/>
            </a:prstGeom>
            <a:noFill/>
            <a:ln w="9525" algn="ctr">
              <a:solidFill>
                <a:srgbClr val="969696"/>
              </a:solidFill>
              <a:round/>
              <a:headEnd/>
              <a:tailEnd/>
            </a:ln>
          </p:spPr>
        </p:cxnSp>
        <p:cxnSp>
          <p:nvCxnSpPr>
            <p:cNvPr id="707" name="Straight Connector 101"/>
            <p:cNvCxnSpPr>
              <a:cxnSpLocks noChangeShapeType="1"/>
            </p:cNvCxnSpPr>
            <p:nvPr/>
          </p:nvCxnSpPr>
          <p:spPr bwMode="auto">
            <a:xfrm rot="10800000">
              <a:off x="6763531" y="5689729"/>
              <a:ext cx="212725" cy="19050"/>
            </a:xfrm>
            <a:prstGeom prst="line">
              <a:avLst/>
            </a:prstGeom>
            <a:noFill/>
            <a:ln w="9525" algn="ctr">
              <a:solidFill>
                <a:srgbClr val="969696"/>
              </a:solidFill>
              <a:round/>
              <a:headEnd/>
              <a:tailEnd/>
            </a:ln>
          </p:spPr>
        </p:cxnSp>
        <p:cxnSp>
          <p:nvCxnSpPr>
            <p:cNvPr id="708" name="Straight Connector 104"/>
            <p:cNvCxnSpPr>
              <a:cxnSpLocks noChangeShapeType="1"/>
            </p:cNvCxnSpPr>
            <p:nvPr/>
          </p:nvCxnSpPr>
          <p:spPr bwMode="auto">
            <a:xfrm rot="16200000" flipV="1">
              <a:off x="6724637" y="5766723"/>
              <a:ext cx="212725" cy="185738"/>
            </a:xfrm>
            <a:prstGeom prst="line">
              <a:avLst/>
            </a:prstGeom>
            <a:noFill/>
            <a:ln w="9525" algn="ctr">
              <a:solidFill>
                <a:srgbClr val="969696"/>
              </a:solidFill>
              <a:round/>
              <a:headEnd/>
              <a:tailEnd/>
            </a:ln>
          </p:spPr>
        </p:cxnSp>
        <p:cxnSp>
          <p:nvCxnSpPr>
            <p:cNvPr id="709" name="Straight Connector 106"/>
            <p:cNvCxnSpPr>
              <a:cxnSpLocks noChangeShapeType="1"/>
            </p:cNvCxnSpPr>
            <p:nvPr/>
          </p:nvCxnSpPr>
          <p:spPr bwMode="auto">
            <a:xfrm rot="10800000" flipV="1">
              <a:off x="7127069" y="6383466"/>
              <a:ext cx="258762" cy="96838"/>
            </a:xfrm>
            <a:prstGeom prst="line">
              <a:avLst/>
            </a:prstGeom>
            <a:noFill/>
            <a:ln w="9525" algn="ctr">
              <a:solidFill>
                <a:srgbClr val="969696"/>
              </a:solidFill>
              <a:round/>
              <a:headEnd/>
              <a:tailEnd/>
            </a:ln>
          </p:spPr>
        </p:cxnSp>
        <p:cxnSp>
          <p:nvCxnSpPr>
            <p:cNvPr id="710" name="Straight Connector 108"/>
            <p:cNvCxnSpPr>
              <a:cxnSpLocks noChangeShapeType="1"/>
            </p:cNvCxnSpPr>
            <p:nvPr/>
          </p:nvCxnSpPr>
          <p:spPr bwMode="auto">
            <a:xfrm rot="10800000">
              <a:off x="6636531" y="6386641"/>
              <a:ext cx="314325" cy="93663"/>
            </a:xfrm>
            <a:prstGeom prst="line">
              <a:avLst/>
            </a:prstGeom>
            <a:noFill/>
            <a:ln w="9525" algn="ctr">
              <a:solidFill>
                <a:srgbClr val="969696"/>
              </a:solidFill>
              <a:round/>
              <a:headEnd/>
              <a:tailEnd/>
            </a:ln>
          </p:spPr>
        </p:cxnSp>
        <p:cxnSp>
          <p:nvCxnSpPr>
            <p:cNvPr id="711" name="Straight Connector 110"/>
            <p:cNvCxnSpPr>
              <a:cxnSpLocks noChangeShapeType="1"/>
            </p:cNvCxnSpPr>
            <p:nvPr/>
          </p:nvCxnSpPr>
          <p:spPr bwMode="auto">
            <a:xfrm rot="16200000" flipV="1">
              <a:off x="5911043" y="5746879"/>
              <a:ext cx="682625" cy="469900"/>
            </a:xfrm>
            <a:prstGeom prst="line">
              <a:avLst/>
            </a:prstGeom>
            <a:noFill/>
            <a:ln w="9525" algn="ctr">
              <a:solidFill>
                <a:srgbClr val="969696"/>
              </a:solidFill>
              <a:round/>
              <a:headEnd/>
              <a:tailEnd/>
            </a:ln>
          </p:spPr>
        </p:cxnSp>
        <p:sp>
          <p:nvSpPr>
            <p:cNvPr id="712" name="TextBox 131"/>
            <p:cNvSpPr txBox="1">
              <a:spLocks noChangeArrowheads="1"/>
            </p:cNvSpPr>
            <p:nvPr/>
          </p:nvSpPr>
          <p:spPr bwMode="auto">
            <a:xfrm>
              <a:off x="5556232" y="5610388"/>
              <a:ext cx="568325" cy="215900"/>
            </a:xfrm>
            <a:prstGeom prst="rect">
              <a:avLst/>
            </a:prstGeom>
            <a:noFill/>
            <a:ln w="9525">
              <a:noFill/>
              <a:miter lim="800000"/>
              <a:headEnd/>
              <a:tailEnd/>
            </a:ln>
          </p:spPr>
          <p:txBody>
            <a:bodyPr wrap="none">
              <a:spAutoFit/>
            </a:bodyPr>
            <a:lstStyle/>
            <a:p>
              <a:pPr>
                <a:spcBef>
                  <a:spcPct val="50000"/>
                </a:spcBef>
              </a:pPr>
              <a:r>
                <a:rPr lang="en-US" sz="800" b="1" i="0" smtClean="0">
                  <a:latin typeface="Calibri" pitchFamily="34" charset="0"/>
                </a:rPr>
                <a:t>POP MW</a:t>
              </a:r>
              <a:endParaRPr lang="en-US" sz="800" b="1" i="0" dirty="0">
                <a:latin typeface="Calibri" pitchFamily="34" charset="0"/>
              </a:endParaRPr>
            </a:p>
          </p:txBody>
        </p:sp>
        <p:sp>
          <p:nvSpPr>
            <p:cNvPr id="713" name="Freeform 712"/>
            <p:cNvSpPr/>
            <p:nvPr/>
          </p:nvSpPr>
          <p:spPr bwMode="auto">
            <a:xfrm>
              <a:off x="3550440" y="3301758"/>
              <a:ext cx="1068506" cy="401242"/>
            </a:xfrm>
            <a:custGeom>
              <a:avLst/>
              <a:gdLst>
                <a:gd name="connsiteX0" fmla="*/ 0 w 1068506"/>
                <a:gd name="connsiteY0" fmla="*/ 0 h 401242"/>
                <a:gd name="connsiteX1" fmla="*/ 370702 w 1068506"/>
                <a:gd name="connsiteY1" fmla="*/ 37071 h 401242"/>
                <a:gd name="connsiteX2" fmla="*/ 494270 w 1068506"/>
                <a:gd name="connsiteY2" fmla="*/ 74141 h 401242"/>
                <a:gd name="connsiteX3" fmla="*/ 531340 w 1068506"/>
                <a:gd name="connsiteY3" fmla="*/ 111211 h 401242"/>
                <a:gd name="connsiteX4" fmla="*/ 568411 w 1068506"/>
                <a:gd name="connsiteY4" fmla="*/ 123568 h 401242"/>
                <a:gd name="connsiteX5" fmla="*/ 605481 w 1068506"/>
                <a:gd name="connsiteY5" fmla="*/ 148281 h 401242"/>
                <a:gd name="connsiteX6" fmla="*/ 679621 w 1068506"/>
                <a:gd name="connsiteY6" fmla="*/ 172995 h 401242"/>
                <a:gd name="connsiteX7" fmla="*/ 716692 w 1068506"/>
                <a:gd name="connsiteY7" fmla="*/ 197708 h 401242"/>
                <a:gd name="connsiteX8" fmla="*/ 827902 w 1068506"/>
                <a:gd name="connsiteY8" fmla="*/ 247135 h 401242"/>
                <a:gd name="connsiteX9" fmla="*/ 864973 w 1068506"/>
                <a:gd name="connsiteY9" fmla="*/ 234779 h 401242"/>
                <a:gd name="connsiteX10" fmla="*/ 939113 w 1068506"/>
                <a:gd name="connsiteY10" fmla="*/ 296563 h 401242"/>
                <a:gd name="connsiteX11" fmla="*/ 1025611 w 1068506"/>
                <a:gd name="connsiteY11" fmla="*/ 383060 h 401242"/>
                <a:gd name="connsiteX12" fmla="*/ 1062681 w 1068506"/>
                <a:gd name="connsiteY12" fmla="*/ 395417 h 401242"/>
                <a:gd name="connsiteX13" fmla="*/ 1037967 w 1068506"/>
                <a:gd name="connsiteY13" fmla="*/ 395417 h 401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68506" h="401242">
                  <a:moveTo>
                    <a:pt x="0" y="0"/>
                  </a:moveTo>
                  <a:cubicBezTo>
                    <a:pt x="75497" y="4194"/>
                    <a:pt x="282087" y="7533"/>
                    <a:pt x="370702" y="37071"/>
                  </a:cubicBezTo>
                  <a:cubicBezTo>
                    <a:pt x="460954" y="67154"/>
                    <a:pt x="419570" y="55466"/>
                    <a:pt x="494270" y="74141"/>
                  </a:cubicBezTo>
                  <a:cubicBezTo>
                    <a:pt x="506627" y="86498"/>
                    <a:pt x="516800" y="101518"/>
                    <a:pt x="531340" y="111211"/>
                  </a:cubicBezTo>
                  <a:cubicBezTo>
                    <a:pt x="542178" y="118436"/>
                    <a:pt x="556761" y="117743"/>
                    <a:pt x="568411" y="123568"/>
                  </a:cubicBezTo>
                  <a:cubicBezTo>
                    <a:pt x="581694" y="130209"/>
                    <a:pt x="591910" y="142249"/>
                    <a:pt x="605481" y="148281"/>
                  </a:cubicBezTo>
                  <a:cubicBezTo>
                    <a:pt x="629286" y="158861"/>
                    <a:pt x="654908" y="164757"/>
                    <a:pt x="679621" y="172995"/>
                  </a:cubicBezTo>
                  <a:cubicBezTo>
                    <a:pt x="693710" y="177691"/>
                    <a:pt x="703121" y="191676"/>
                    <a:pt x="716692" y="197708"/>
                  </a:cubicBezTo>
                  <a:cubicBezTo>
                    <a:pt x="849033" y="256526"/>
                    <a:pt x="744009" y="191207"/>
                    <a:pt x="827902" y="247135"/>
                  </a:cubicBezTo>
                  <a:cubicBezTo>
                    <a:pt x="840259" y="243016"/>
                    <a:pt x="852125" y="232638"/>
                    <a:pt x="864973" y="234779"/>
                  </a:cubicBezTo>
                  <a:cubicBezTo>
                    <a:pt x="885619" y="238220"/>
                    <a:pt x="927979" y="285428"/>
                    <a:pt x="939113" y="296563"/>
                  </a:cubicBezTo>
                  <a:cubicBezTo>
                    <a:pt x="960863" y="361811"/>
                    <a:pt x="940632" y="326408"/>
                    <a:pt x="1025611" y="383060"/>
                  </a:cubicBezTo>
                  <a:cubicBezTo>
                    <a:pt x="1036449" y="390285"/>
                    <a:pt x="1053471" y="386206"/>
                    <a:pt x="1062681" y="395417"/>
                  </a:cubicBezTo>
                  <a:cubicBezTo>
                    <a:pt x="1068506" y="401242"/>
                    <a:pt x="1046205" y="395417"/>
                    <a:pt x="1037967" y="395417"/>
                  </a:cubicBezTo>
                </a:path>
              </a:pathLst>
            </a:custGeom>
            <a:solidFill>
              <a:schemeClr val="bg1"/>
            </a:solidFill>
            <a:ln w="38100" cap="flat" cmpd="sng" algn="ctr">
              <a:solidFill>
                <a:srgbClr val="FFC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714" name="Freeform 713"/>
            <p:cNvSpPr/>
            <p:nvPr/>
          </p:nvSpPr>
          <p:spPr bwMode="auto">
            <a:xfrm>
              <a:off x="4810829" y="3672461"/>
              <a:ext cx="1138054" cy="164025"/>
            </a:xfrm>
            <a:custGeom>
              <a:avLst/>
              <a:gdLst>
                <a:gd name="connsiteX0" fmla="*/ 0 w 1138054"/>
                <a:gd name="connsiteY0" fmla="*/ 86497 h 164025"/>
                <a:gd name="connsiteX1" fmla="*/ 926757 w 1138054"/>
                <a:gd name="connsiteY1" fmla="*/ 49427 h 164025"/>
                <a:gd name="connsiteX2" fmla="*/ 976184 w 1138054"/>
                <a:gd name="connsiteY2" fmla="*/ 37070 h 164025"/>
                <a:gd name="connsiteX3" fmla="*/ 1013254 w 1138054"/>
                <a:gd name="connsiteY3" fmla="*/ 24714 h 164025"/>
                <a:gd name="connsiteX4" fmla="*/ 1136822 w 1138054"/>
                <a:gd name="connsiteY4" fmla="*/ 0 h 164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8054" h="164025">
                  <a:moveTo>
                    <a:pt x="0" y="86497"/>
                  </a:moveTo>
                  <a:cubicBezTo>
                    <a:pt x="878664" y="73764"/>
                    <a:pt x="582967" y="164025"/>
                    <a:pt x="926757" y="49427"/>
                  </a:cubicBezTo>
                  <a:cubicBezTo>
                    <a:pt x="942868" y="44057"/>
                    <a:pt x="959855" y="41735"/>
                    <a:pt x="976184" y="37070"/>
                  </a:cubicBezTo>
                  <a:cubicBezTo>
                    <a:pt x="988708" y="33492"/>
                    <a:pt x="1000406" y="26855"/>
                    <a:pt x="1013254" y="24714"/>
                  </a:cubicBezTo>
                  <a:cubicBezTo>
                    <a:pt x="1138054" y="3914"/>
                    <a:pt x="1096873" y="39949"/>
                    <a:pt x="1136822" y="0"/>
                  </a:cubicBezTo>
                </a:path>
              </a:pathLst>
            </a:custGeom>
            <a:solidFill>
              <a:schemeClr val="bg1"/>
            </a:solidFill>
            <a:ln w="38100" cap="flat" cmpd="sng" algn="ctr">
              <a:solidFill>
                <a:srgbClr val="FFC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715" name="Freeform 714"/>
            <p:cNvSpPr/>
            <p:nvPr/>
          </p:nvSpPr>
          <p:spPr bwMode="auto">
            <a:xfrm>
              <a:off x="5896840" y="3734245"/>
              <a:ext cx="174378" cy="1692876"/>
            </a:xfrm>
            <a:custGeom>
              <a:avLst/>
              <a:gdLst>
                <a:gd name="connsiteX0" fmla="*/ 137308 w 174378"/>
                <a:gd name="connsiteY0" fmla="*/ 0 h 1692876"/>
                <a:gd name="connsiteX1" fmla="*/ 112594 w 174378"/>
                <a:gd name="connsiteY1" fmla="*/ 61784 h 1692876"/>
                <a:gd name="connsiteX2" fmla="*/ 50811 w 174378"/>
                <a:gd name="connsiteY2" fmla="*/ 197708 h 1692876"/>
                <a:gd name="connsiteX3" fmla="*/ 26097 w 174378"/>
                <a:gd name="connsiteY3" fmla="*/ 296562 h 1692876"/>
                <a:gd name="connsiteX4" fmla="*/ 1383 w 174378"/>
                <a:gd name="connsiteY4" fmla="*/ 407773 h 1692876"/>
                <a:gd name="connsiteX5" fmla="*/ 26097 w 174378"/>
                <a:gd name="connsiteY5" fmla="*/ 580767 h 1692876"/>
                <a:gd name="connsiteX6" fmla="*/ 50811 w 174378"/>
                <a:gd name="connsiteY6" fmla="*/ 790832 h 1692876"/>
                <a:gd name="connsiteX7" fmla="*/ 124951 w 174378"/>
                <a:gd name="connsiteY7" fmla="*/ 902043 h 1692876"/>
                <a:gd name="connsiteX8" fmla="*/ 174378 w 174378"/>
                <a:gd name="connsiteY8" fmla="*/ 976184 h 1692876"/>
                <a:gd name="connsiteX9" fmla="*/ 162021 w 174378"/>
                <a:gd name="connsiteY9" fmla="*/ 1507524 h 1692876"/>
                <a:gd name="connsiteX10" fmla="*/ 124951 w 174378"/>
                <a:gd name="connsiteY10" fmla="*/ 1581665 h 1692876"/>
                <a:gd name="connsiteX11" fmla="*/ 112594 w 174378"/>
                <a:gd name="connsiteY11" fmla="*/ 1618735 h 1692876"/>
                <a:gd name="connsiteX12" fmla="*/ 112594 w 174378"/>
                <a:gd name="connsiteY12" fmla="*/ 1692876 h 1692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4378" h="1692876">
                  <a:moveTo>
                    <a:pt x="137308" y="0"/>
                  </a:moveTo>
                  <a:cubicBezTo>
                    <a:pt x="129070" y="20595"/>
                    <a:pt x="121773" y="41591"/>
                    <a:pt x="112594" y="61784"/>
                  </a:cubicBezTo>
                  <a:cubicBezTo>
                    <a:pt x="87771" y="116395"/>
                    <a:pt x="67991" y="141874"/>
                    <a:pt x="50811" y="197708"/>
                  </a:cubicBezTo>
                  <a:cubicBezTo>
                    <a:pt x="40822" y="230172"/>
                    <a:pt x="33214" y="263350"/>
                    <a:pt x="26097" y="296562"/>
                  </a:cubicBezTo>
                  <a:cubicBezTo>
                    <a:pt x="0" y="418346"/>
                    <a:pt x="27693" y="328845"/>
                    <a:pt x="1383" y="407773"/>
                  </a:cubicBezTo>
                  <a:cubicBezTo>
                    <a:pt x="9621" y="465438"/>
                    <a:pt x="19891" y="522848"/>
                    <a:pt x="26097" y="580767"/>
                  </a:cubicBezTo>
                  <a:cubicBezTo>
                    <a:pt x="29293" y="610595"/>
                    <a:pt x="22445" y="734100"/>
                    <a:pt x="50811" y="790832"/>
                  </a:cubicBezTo>
                  <a:cubicBezTo>
                    <a:pt x="80679" y="850568"/>
                    <a:pt x="88732" y="850301"/>
                    <a:pt x="124951" y="902043"/>
                  </a:cubicBezTo>
                  <a:cubicBezTo>
                    <a:pt x="141984" y="926376"/>
                    <a:pt x="174378" y="976184"/>
                    <a:pt x="174378" y="976184"/>
                  </a:cubicBezTo>
                  <a:cubicBezTo>
                    <a:pt x="170259" y="1153297"/>
                    <a:pt x="169716" y="1330530"/>
                    <a:pt x="162021" y="1507524"/>
                  </a:cubicBezTo>
                  <a:cubicBezTo>
                    <a:pt x="160542" y="1541542"/>
                    <a:pt x="139133" y="1553301"/>
                    <a:pt x="124951" y="1581665"/>
                  </a:cubicBezTo>
                  <a:cubicBezTo>
                    <a:pt x="119126" y="1593315"/>
                    <a:pt x="116713" y="1606378"/>
                    <a:pt x="112594" y="1618735"/>
                  </a:cubicBezTo>
                  <a:cubicBezTo>
                    <a:pt x="126093" y="1686231"/>
                    <a:pt x="139802" y="1665668"/>
                    <a:pt x="112594" y="1692876"/>
                  </a:cubicBezTo>
                </a:path>
              </a:pathLst>
            </a:custGeom>
            <a:solidFill>
              <a:schemeClr val="bg1"/>
            </a:solidFill>
            <a:ln w="38100" cap="flat" cmpd="sng" algn="ctr">
              <a:solidFill>
                <a:srgbClr val="FFC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716" name="Freeform 715"/>
            <p:cNvSpPr/>
            <p:nvPr/>
          </p:nvSpPr>
          <p:spPr bwMode="auto">
            <a:xfrm>
              <a:off x="2895532" y="3400612"/>
              <a:ext cx="593124" cy="1594022"/>
            </a:xfrm>
            <a:custGeom>
              <a:avLst/>
              <a:gdLst>
                <a:gd name="connsiteX0" fmla="*/ 593124 w 593124"/>
                <a:gd name="connsiteY0" fmla="*/ 0 h 1594022"/>
                <a:gd name="connsiteX1" fmla="*/ 580767 w 593124"/>
                <a:gd name="connsiteY1" fmla="*/ 395417 h 1594022"/>
                <a:gd name="connsiteX2" fmla="*/ 568410 w 593124"/>
                <a:gd name="connsiteY2" fmla="*/ 432487 h 1594022"/>
                <a:gd name="connsiteX3" fmla="*/ 543697 w 593124"/>
                <a:gd name="connsiteY3" fmla="*/ 469557 h 1594022"/>
                <a:gd name="connsiteX4" fmla="*/ 506627 w 593124"/>
                <a:gd name="connsiteY4" fmla="*/ 556054 h 1594022"/>
                <a:gd name="connsiteX5" fmla="*/ 469556 w 593124"/>
                <a:gd name="connsiteY5" fmla="*/ 568411 h 1594022"/>
                <a:gd name="connsiteX6" fmla="*/ 420129 w 593124"/>
                <a:gd name="connsiteY6" fmla="*/ 679622 h 1594022"/>
                <a:gd name="connsiteX7" fmla="*/ 407773 w 593124"/>
                <a:gd name="connsiteY7" fmla="*/ 716692 h 1594022"/>
                <a:gd name="connsiteX8" fmla="*/ 395416 w 593124"/>
                <a:gd name="connsiteY8" fmla="*/ 840260 h 1594022"/>
                <a:gd name="connsiteX9" fmla="*/ 345989 w 593124"/>
                <a:gd name="connsiteY9" fmla="*/ 914400 h 1594022"/>
                <a:gd name="connsiteX10" fmla="*/ 333632 w 593124"/>
                <a:gd name="connsiteY10" fmla="*/ 951471 h 1594022"/>
                <a:gd name="connsiteX11" fmla="*/ 308919 w 593124"/>
                <a:gd name="connsiteY11" fmla="*/ 988541 h 1594022"/>
                <a:gd name="connsiteX12" fmla="*/ 271848 w 593124"/>
                <a:gd name="connsiteY12" fmla="*/ 1062681 h 1594022"/>
                <a:gd name="connsiteX13" fmla="*/ 234778 w 593124"/>
                <a:gd name="connsiteY13" fmla="*/ 1087395 h 1594022"/>
                <a:gd name="connsiteX14" fmla="*/ 172994 w 593124"/>
                <a:gd name="connsiteY14" fmla="*/ 1161536 h 1594022"/>
                <a:gd name="connsiteX15" fmla="*/ 123567 w 593124"/>
                <a:gd name="connsiteY15" fmla="*/ 1235676 h 1594022"/>
                <a:gd name="connsiteX16" fmla="*/ 111210 w 593124"/>
                <a:gd name="connsiteY16" fmla="*/ 1285103 h 1594022"/>
                <a:gd name="connsiteX17" fmla="*/ 98854 w 593124"/>
                <a:gd name="connsiteY17" fmla="*/ 1322173 h 1594022"/>
                <a:gd name="connsiteX18" fmla="*/ 74140 w 593124"/>
                <a:gd name="connsiteY18" fmla="*/ 1445741 h 1594022"/>
                <a:gd name="connsiteX19" fmla="*/ 24713 w 593124"/>
                <a:gd name="connsiteY19" fmla="*/ 1519881 h 1594022"/>
                <a:gd name="connsiteX20" fmla="*/ 0 w 593124"/>
                <a:gd name="connsiteY20" fmla="*/ 1556952 h 1594022"/>
                <a:gd name="connsiteX21" fmla="*/ 0 w 593124"/>
                <a:gd name="connsiteY21" fmla="*/ 1594022 h 1594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93124" h="1594022">
                  <a:moveTo>
                    <a:pt x="593124" y="0"/>
                  </a:moveTo>
                  <a:cubicBezTo>
                    <a:pt x="589005" y="131806"/>
                    <a:pt x="588290" y="263762"/>
                    <a:pt x="580767" y="395417"/>
                  </a:cubicBezTo>
                  <a:cubicBezTo>
                    <a:pt x="580024" y="408421"/>
                    <a:pt x="574235" y="420837"/>
                    <a:pt x="568410" y="432487"/>
                  </a:cubicBezTo>
                  <a:cubicBezTo>
                    <a:pt x="561769" y="445770"/>
                    <a:pt x="551935" y="457200"/>
                    <a:pt x="543697" y="469557"/>
                  </a:cubicBezTo>
                  <a:cubicBezTo>
                    <a:pt x="536277" y="499236"/>
                    <a:pt x="533293" y="534721"/>
                    <a:pt x="506627" y="556054"/>
                  </a:cubicBezTo>
                  <a:cubicBezTo>
                    <a:pt x="496456" y="564191"/>
                    <a:pt x="481913" y="564292"/>
                    <a:pt x="469556" y="568411"/>
                  </a:cubicBezTo>
                  <a:cubicBezTo>
                    <a:pt x="430394" y="627155"/>
                    <a:pt x="449538" y="591394"/>
                    <a:pt x="420129" y="679622"/>
                  </a:cubicBezTo>
                  <a:lnTo>
                    <a:pt x="407773" y="716692"/>
                  </a:lnTo>
                  <a:cubicBezTo>
                    <a:pt x="403654" y="757881"/>
                    <a:pt x="407763" y="800750"/>
                    <a:pt x="395416" y="840260"/>
                  </a:cubicBezTo>
                  <a:cubicBezTo>
                    <a:pt x="386557" y="868610"/>
                    <a:pt x="362465" y="889687"/>
                    <a:pt x="345989" y="914400"/>
                  </a:cubicBezTo>
                  <a:cubicBezTo>
                    <a:pt x="338764" y="925238"/>
                    <a:pt x="339457" y="939821"/>
                    <a:pt x="333632" y="951471"/>
                  </a:cubicBezTo>
                  <a:cubicBezTo>
                    <a:pt x="326991" y="964754"/>
                    <a:pt x="315560" y="975258"/>
                    <a:pt x="308919" y="988541"/>
                  </a:cubicBezTo>
                  <a:cubicBezTo>
                    <a:pt x="288819" y="1028742"/>
                    <a:pt x="307261" y="1027268"/>
                    <a:pt x="271848" y="1062681"/>
                  </a:cubicBezTo>
                  <a:cubicBezTo>
                    <a:pt x="261347" y="1073182"/>
                    <a:pt x="247135" y="1079157"/>
                    <a:pt x="234778" y="1087395"/>
                  </a:cubicBezTo>
                  <a:cubicBezTo>
                    <a:pt x="146459" y="1219870"/>
                    <a:pt x="284003" y="1018810"/>
                    <a:pt x="172994" y="1161536"/>
                  </a:cubicBezTo>
                  <a:cubicBezTo>
                    <a:pt x="154759" y="1184981"/>
                    <a:pt x="123567" y="1235676"/>
                    <a:pt x="123567" y="1235676"/>
                  </a:cubicBezTo>
                  <a:cubicBezTo>
                    <a:pt x="119448" y="1252152"/>
                    <a:pt x="115875" y="1268774"/>
                    <a:pt x="111210" y="1285103"/>
                  </a:cubicBezTo>
                  <a:cubicBezTo>
                    <a:pt x="107632" y="1297627"/>
                    <a:pt x="101408" y="1309401"/>
                    <a:pt x="98854" y="1322173"/>
                  </a:cubicBezTo>
                  <a:cubicBezTo>
                    <a:pt x="93865" y="1347117"/>
                    <a:pt x="91589" y="1414334"/>
                    <a:pt x="74140" y="1445741"/>
                  </a:cubicBezTo>
                  <a:cubicBezTo>
                    <a:pt x="59715" y="1471705"/>
                    <a:pt x="41188" y="1495168"/>
                    <a:pt x="24713" y="1519881"/>
                  </a:cubicBezTo>
                  <a:cubicBezTo>
                    <a:pt x="16475" y="1532238"/>
                    <a:pt x="0" y="1542101"/>
                    <a:pt x="0" y="1556952"/>
                  </a:cubicBezTo>
                  <a:lnTo>
                    <a:pt x="0" y="1594022"/>
                  </a:lnTo>
                </a:path>
              </a:pathLst>
            </a:custGeom>
            <a:solidFill>
              <a:schemeClr val="bg1"/>
            </a:solidFill>
            <a:ln w="38100" cap="flat" cmpd="sng" algn="ctr">
              <a:solidFill>
                <a:srgbClr val="FFC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717" name="Freeform 716"/>
            <p:cNvSpPr/>
            <p:nvPr/>
          </p:nvSpPr>
          <p:spPr bwMode="auto">
            <a:xfrm>
              <a:off x="2994386" y="5142658"/>
              <a:ext cx="1569308" cy="303673"/>
            </a:xfrm>
            <a:custGeom>
              <a:avLst/>
              <a:gdLst>
                <a:gd name="connsiteX0" fmla="*/ 0 w 1569308"/>
                <a:gd name="connsiteY0" fmla="*/ 257 h 303673"/>
                <a:gd name="connsiteX1" fmla="*/ 370702 w 1569308"/>
                <a:gd name="connsiteY1" fmla="*/ 12614 h 303673"/>
                <a:gd name="connsiteX2" fmla="*/ 531340 w 1569308"/>
                <a:gd name="connsiteY2" fmla="*/ 74398 h 303673"/>
                <a:gd name="connsiteX3" fmla="*/ 605481 w 1569308"/>
                <a:gd name="connsiteY3" fmla="*/ 111468 h 303673"/>
                <a:gd name="connsiteX4" fmla="*/ 654908 w 1569308"/>
                <a:gd name="connsiteY4" fmla="*/ 123825 h 303673"/>
                <a:gd name="connsiteX5" fmla="*/ 1025610 w 1569308"/>
                <a:gd name="connsiteY5" fmla="*/ 160895 h 303673"/>
                <a:gd name="connsiteX6" fmla="*/ 1087394 w 1569308"/>
                <a:gd name="connsiteY6" fmla="*/ 185608 h 303673"/>
                <a:gd name="connsiteX7" fmla="*/ 1149178 w 1569308"/>
                <a:gd name="connsiteY7" fmla="*/ 197965 h 303673"/>
                <a:gd name="connsiteX8" fmla="*/ 1371600 w 1569308"/>
                <a:gd name="connsiteY8" fmla="*/ 222679 h 303673"/>
                <a:gd name="connsiteX9" fmla="*/ 1421027 w 1569308"/>
                <a:gd name="connsiteY9" fmla="*/ 235035 h 303673"/>
                <a:gd name="connsiteX10" fmla="*/ 1458097 w 1569308"/>
                <a:gd name="connsiteY10" fmla="*/ 247392 h 303673"/>
                <a:gd name="connsiteX11" fmla="*/ 1519881 w 1569308"/>
                <a:gd name="connsiteY11" fmla="*/ 259749 h 303673"/>
                <a:gd name="connsiteX12" fmla="*/ 1569308 w 1569308"/>
                <a:gd name="connsiteY12" fmla="*/ 296819 h 303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69308" h="303673">
                  <a:moveTo>
                    <a:pt x="0" y="257"/>
                  </a:moveTo>
                  <a:cubicBezTo>
                    <a:pt x="123567" y="4376"/>
                    <a:pt x="247711" y="0"/>
                    <a:pt x="370702" y="12614"/>
                  </a:cubicBezTo>
                  <a:cubicBezTo>
                    <a:pt x="408787" y="16520"/>
                    <a:pt x="489673" y="50588"/>
                    <a:pt x="531340" y="74398"/>
                  </a:cubicBezTo>
                  <a:cubicBezTo>
                    <a:pt x="585495" y="105344"/>
                    <a:pt x="548842" y="95285"/>
                    <a:pt x="605481" y="111468"/>
                  </a:cubicBezTo>
                  <a:cubicBezTo>
                    <a:pt x="621810" y="116134"/>
                    <a:pt x="638641" y="118945"/>
                    <a:pt x="654908" y="123825"/>
                  </a:cubicBezTo>
                  <a:cubicBezTo>
                    <a:pt x="844586" y="180728"/>
                    <a:pt x="620696" y="144023"/>
                    <a:pt x="1025610" y="160895"/>
                  </a:cubicBezTo>
                  <a:cubicBezTo>
                    <a:pt x="1046205" y="169133"/>
                    <a:pt x="1066148" y="179234"/>
                    <a:pt x="1087394" y="185608"/>
                  </a:cubicBezTo>
                  <a:cubicBezTo>
                    <a:pt x="1107511" y="191643"/>
                    <a:pt x="1128514" y="194208"/>
                    <a:pt x="1149178" y="197965"/>
                  </a:cubicBezTo>
                  <a:cubicBezTo>
                    <a:pt x="1253309" y="216898"/>
                    <a:pt x="1235832" y="211365"/>
                    <a:pt x="1371600" y="222679"/>
                  </a:cubicBezTo>
                  <a:cubicBezTo>
                    <a:pt x="1388076" y="226798"/>
                    <a:pt x="1404698" y="230370"/>
                    <a:pt x="1421027" y="235035"/>
                  </a:cubicBezTo>
                  <a:cubicBezTo>
                    <a:pt x="1433551" y="238613"/>
                    <a:pt x="1445461" y="244233"/>
                    <a:pt x="1458097" y="247392"/>
                  </a:cubicBezTo>
                  <a:cubicBezTo>
                    <a:pt x="1478472" y="252486"/>
                    <a:pt x="1499286" y="255630"/>
                    <a:pt x="1519881" y="259749"/>
                  </a:cubicBezTo>
                  <a:cubicBezTo>
                    <a:pt x="1549164" y="303673"/>
                    <a:pt x="1529743" y="296819"/>
                    <a:pt x="1569308" y="296819"/>
                  </a:cubicBezTo>
                </a:path>
              </a:pathLst>
            </a:custGeom>
            <a:solidFill>
              <a:schemeClr val="bg1"/>
            </a:solidFill>
            <a:ln w="38100" cap="flat" cmpd="sng" algn="ctr">
              <a:solidFill>
                <a:srgbClr val="FFC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718" name="Freeform 717"/>
            <p:cNvSpPr/>
            <p:nvPr/>
          </p:nvSpPr>
          <p:spPr bwMode="auto">
            <a:xfrm>
              <a:off x="4749045" y="5473407"/>
              <a:ext cx="1161535" cy="81079"/>
            </a:xfrm>
            <a:custGeom>
              <a:avLst/>
              <a:gdLst>
                <a:gd name="connsiteX0" fmla="*/ 0 w 1161535"/>
                <a:gd name="connsiteY0" fmla="*/ 40211 h 81079"/>
                <a:gd name="connsiteX1" fmla="*/ 86497 w 1161535"/>
                <a:gd name="connsiteY1" fmla="*/ 27854 h 81079"/>
                <a:gd name="connsiteX2" fmla="*/ 148281 w 1161535"/>
                <a:gd name="connsiteY2" fmla="*/ 3141 h 81079"/>
                <a:gd name="connsiteX3" fmla="*/ 345989 w 1161535"/>
                <a:gd name="connsiteY3" fmla="*/ 15497 h 81079"/>
                <a:gd name="connsiteX4" fmla="*/ 605481 w 1161535"/>
                <a:gd name="connsiteY4" fmla="*/ 27854 h 81079"/>
                <a:gd name="connsiteX5" fmla="*/ 815546 w 1161535"/>
                <a:gd name="connsiteY5" fmla="*/ 40211 h 81079"/>
                <a:gd name="connsiteX6" fmla="*/ 852616 w 1161535"/>
                <a:gd name="connsiteY6" fmla="*/ 52568 h 81079"/>
                <a:gd name="connsiteX7" fmla="*/ 1161535 w 1161535"/>
                <a:gd name="connsiteY7" fmla="*/ 64924 h 81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1535" h="81079">
                  <a:moveTo>
                    <a:pt x="0" y="40211"/>
                  </a:moveTo>
                  <a:cubicBezTo>
                    <a:pt x="28832" y="36092"/>
                    <a:pt x="58242" y="34918"/>
                    <a:pt x="86497" y="27854"/>
                  </a:cubicBezTo>
                  <a:cubicBezTo>
                    <a:pt x="108016" y="22474"/>
                    <a:pt x="126125" y="4196"/>
                    <a:pt x="148281" y="3141"/>
                  </a:cubicBezTo>
                  <a:cubicBezTo>
                    <a:pt x="214238" y="0"/>
                    <a:pt x="280054" y="11933"/>
                    <a:pt x="345989" y="15497"/>
                  </a:cubicBezTo>
                  <a:lnTo>
                    <a:pt x="605481" y="27854"/>
                  </a:lnTo>
                  <a:lnTo>
                    <a:pt x="815546" y="40211"/>
                  </a:lnTo>
                  <a:cubicBezTo>
                    <a:pt x="827903" y="44330"/>
                    <a:pt x="839980" y="49409"/>
                    <a:pt x="852616" y="52568"/>
                  </a:cubicBezTo>
                  <a:cubicBezTo>
                    <a:pt x="966661" y="81079"/>
                    <a:pt x="1005253" y="64924"/>
                    <a:pt x="1161535" y="64924"/>
                  </a:cubicBezTo>
                </a:path>
              </a:pathLst>
            </a:custGeom>
            <a:solidFill>
              <a:schemeClr val="bg1"/>
            </a:solidFill>
            <a:ln w="38100" cap="flat" cmpd="sng" algn="ctr">
              <a:solidFill>
                <a:srgbClr val="FFC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873125" rtl="0" eaLnBrk="0" fontAlgn="base" latinLnBrk="0" hangingPunct="0">
                <a:lnSpc>
                  <a:spcPct val="100000"/>
                </a:lnSpc>
                <a:spcBef>
                  <a:spcPct val="0"/>
                </a:spcBef>
                <a:spcAft>
                  <a:spcPct val="0"/>
                </a:spcAft>
                <a:buClrTx/>
                <a:buSzTx/>
                <a:buFontTx/>
                <a:buNone/>
                <a:tabLst/>
              </a:pPr>
              <a:endParaRPr kumimoji="0" lang="en-US" sz="1000" b="0" i="1" u="none" strike="noStrike" cap="none" normalizeH="0" baseline="0" smtClean="0">
                <a:ln>
                  <a:noFill/>
                </a:ln>
                <a:solidFill>
                  <a:schemeClr val="tx1"/>
                </a:solidFill>
                <a:effectLst/>
                <a:latin typeface="Franklin Gothic Medium" pitchFamily="34" charset="0"/>
                <a:cs typeface="Arial" charset="0"/>
              </a:endParaRPr>
            </a:p>
          </p:txBody>
        </p:sp>
        <p:sp>
          <p:nvSpPr>
            <p:cNvPr id="719" name="TextBox 131"/>
            <p:cNvSpPr txBox="1">
              <a:spLocks noChangeArrowheads="1"/>
            </p:cNvSpPr>
            <p:nvPr/>
          </p:nvSpPr>
          <p:spPr bwMode="auto">
            <a:xfrm>
              <a:off x="2927296" y="4905495"/>
              <a:ext cx="568325" cy="215900"/>
            </a:xfrm>
            <a:prstGeom prst="rect">
              <a:avLst/>
            </a:prstGeom>
            <a:noFill/>
            <a:ln w="9525">
              <a:noFill/>
              <a:miter lim="800000"/>
              <a:headEnd/>
              <a:tailEnd/>
            </a:ln>
          </p:spPr>
          <p:txBody>
            <a:bodyPr wrap="none">
              <a:spAutoFit/>
            </a:bodyPr>
            <a:lstStyle/>
            <a:p>
              <a:pPr>
                <a:spcBef>
                  <a:spcPct val="50000"/>
                </a:spcBef>
              </a:pPr>
              <a:r>
                <a:rPr lang="en-US" sz="800" b="1" i="0" smtClean="0">
                  <a:latin typeface="Calibri" pitchFamily="34" charset="0"/>
                </a:rPr>
                <a:t>POP MW</a:t>
              </a:r>
              <a:endParaRPr lang="en-US" sz="800" b="1" i="0" dirty="0">
                <a:latin typeface="Calibri" pitchFamily="34" charset="0"/>
              </a:endParaRPr>
            </a:p>
          </p:txBody>
        </p:sp>
      </p:grpSp>
      <p:sp>
        <p:nvSpPr>
          <p:cNvPr id="844" name="TextBox 843"/>
          <p:cNvSpPr txBox="1"/>
          <p:nvPr/>
        </p:nvSpPr>
        <p:spPr>
          <a:xfrm>
            <a:off x="3413646" y="3464243"/>
            <a:ext cx="1440000" cy="238363"/>
          </a:xfrm>
          <a:prstGeom prst="roundRect">
            <a:avLst/>
          </a:prstGeom>
          <a:solidFill>
            <a:schemeClr val="bg1">
              <a:lumMod val="95000"/>
            </a:schemeClr>
          </a:solidFill>
        </p:spPr>
        <p:txBody>
          <a:bodyPr wrap="square" rtlCol="0">
            <a:spAutoFit/>
          </a:bodyPr>
          <a:lstStyle/>
          <a:p>
            <a:pPr algn="ctr"/>
            <a:r>
              <a:rPr lang="pt-BR" sz="800" dirty="0" err="1" smtClean="0">
                <a:latin typeface="Calibri" pitchFamily="34" charset="0"/>
              </a:rPr>
              <a:t>Wave</a:t>
            </a:r>
            <a:r>
              <a:rPr lang="pt-BR" sz="800" dirty="0" smtClean="0">
                <a:latin typeface="Calibri" pitchFamily="34" charset="0"/>
              </a:rPr>
              <a:t> 2 [ METRO ]</a:t>
            </a:r>
            <a:endParaRPr lang="pt-BR" sz="800" dirty="0">
              <a:latin typeface="Calibri" pitchFamily="34" charset="0"/>
            </a:endParaRPr>
          </a:p>
        </p:txBody>
      </p:sp>
      <p:sp>
        <p:nvSpPr>
          <p:cNvPr id="845" name="TextBox 844"/>
          <p:cNvSpPr txBox="1"/>
          <p:nvPr/>
        </p:nvSpPr>
        <p:spPr>
          <a:xfrm>
            <a:off x="8121009" y="3483575"/>
            <a:ext cx="1440503" cy="238363"/>
          </a:xfrm>
          <a:prstGeom prst="roundRect">
            <a:avLst/>
          </a:prstGeom>
          <a:solidFill>
            <a:schemeClr val="bg1">
              <a:lumMod val="95000"/>
            </a:schemeClr>
          </a:solidFill>
        </p:spPr>
        <p:txBody>
          <a:bodyPr wrap="square" rtlCol="0">
            <a:spAutoFit/>
          </a:bodyPr>
          <a:lstStyle/>
          <a:p>
            <a:pPr algn="ctr"/>
            <a:r>
              <a:rPr lang="pt-BR" sz="800" dirty="0" err="1" smtClean="0">
                <a:latin typeface="Calibri" pitchFamily="34" charset="0"/>
              </a:rPr>
              <a:t>Wave</a:t>
            </a:r>
            <a:r>
              <a:rPr lang="pt-BR" sz="800" dirty="0" smtClean="0">
                <a:latin typeface="Calibri" pitchFamily="34" charset="0"/>
              </a:rPr>
              <a:t> 3 [ FTTS ]</a:t>
            </a:r>
            <a:endParaRPr lang="pt-BR" sz="800" dirty="0">
              <a:latin typeface="Calibri" pitchFamily="34" charset="0"/>
            </a:endParaRPr>
          </a:p>
        </p:txBody>
      </p:sp>
    </p:spTree>
    <p:extLst>
      <p:ext uri="{BB962C8B-B14F-4D97-AF65-F5344CB8AC3E}">
        <p14:creationId xmlns="" xmlns:p14="http://schemas.microsoft.com/office/powerpoint/2010/main" val="1833402489"/>
      </p:ext>
    </p:extLst>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Rectangle 12"/>
          <p:cNvSpPr>
            <a:spLocks noChangeArrowheads="1"/>
          </p:cNvSpPr>
          <p:nvPr/>
        </p:nvSpPr>
        <p:spPr bwMode="auto">
          <a:xfrm>
            <a:off x="141528" y="978242"/>
            <a:ext cx="9585325" cy="5616624"/>
          </a:xfrm>
          <a:prstGeom prst="rect">
            <a:avLst/>
          </a:prstGeom>
          <a:solidFill>
            <a:srgbClr val="FFFFFF"/>
          </a:solidFill>
          <a:ln w="9525">
            <a:solidFill>
              <a:srgbClr val="97B3D1"/>
            </a:solidFill>
            <a:miter lim="800000"/>
            <a:headEnd/>
            <a:tailEnd/>
          </a:ln>
        </p:spPr>
        <p:txBody>
          <a:bodyPr tIns="82800" bIns="82800"/>
          <a:lstStyle/>
          <a:p>
            <a:pPr marL="185738" indent="-185738">
              <a:buFontTx/>
              <a:buChar char="•"/>
            </a:pPr>
            <a:endParaRPr lang="pt-BR" sz="1050" b="0" dirty="0" smtClean="0">
              <a:latin typeface="Calibri" pitchFamily="34" charset="0"/>
            </a:endParaRPr>
          </a:p>
          <a:p>
            <a:pPr lvl="1"/>
            <a:endParaRPr lang="it-IT" sz="1050" b="0" dirty="0">
              <a:latin typeface="Calibri" pitchFamily="34" charset="0"/>
            </a:endParaRPr>
          </a:p>
        </p:txBody>
      </p:sp>
      <p:sp>
        <p:nvSpPr>
          <p:cNvPr id="5" name="CaixaDeTexto 260"/>
          <p:cNvSpPr txBox="1"/>
          <p:nvPr/>
        </p:nvSpPr>
        <p:spPr>
          <a:xfrm>
            <a:off x="141527" y="967665"/>
            <a:ext cx="9585326" cy="232694"/>
          </a:xfrm>
          <a:prstGeom prst="rect">
            <a:avLst/>
          </a:prstGeom>
          <a:solidFill>
            <a:schemeClr val="tx1"/>
          </a:solidFill>
          <a:ln w="9525" algn="ctr">
            <a:noFill/>
            <a:miter lim="800000"/>
            <a:headEnd/>
            <a:tailEnd/>
          </a:ln>
        </p:spPr>
        <p:txBody>
          <a:bodyPr lIns="72000" tIns="72000" rIns="72000" bIns="72000" anchor="ctr"/>
          <a:lstStyle>
            <a:defPPr>
              <a:defRPr lang="en-US"/>
            </a:defPPr>
            <a:lvl1pPr eaLnBrk="0" fontAlgn="auto" hangingPunct="0">
              <a:spcBef>
                <a:spcPts val="0"/>
              </a:spcBef>
              <a:spcAft>
                <a:spcPts val="0"/>
              </a:spcAft>
              <a:defRPr sz="1100" kern="0">
                <a:solidFill>
                  <a:srgbClr val="FFFFFF"/>
                </a:solidFill>
                <a:latin typeface="Calibri" pitchFamily="34" charset="0"/>
              </a:defRPr>
            </a:lvl1pPr>
          </a:lstStyle>
          <a:p>
            <a:r>
              <a:rPr lang="pt-BR" sz="1050" dirty="0" err="1" smtClean="0"/>
              <a:t>Evolution</a:t>
            </a:r>
            <a:r>
              <a:rPr lang="pt-BR" sz="1050" dirty="0" smtClean="0"/>
              <a:t> TX</a:t>
            </a:r>
            <a:endParaRPr lang="pt-BR" sz="1050" dirty="0"/>
          </a:p>
        </p:txBody>
      </p:sp>
      <p:sp>
        <p:nvSpPr>
          <p:cNvPr id="49" name="Rectangle 48"/>
          <p:cNvSpPr>
            <a:spLocks noChangeArrowheads="1"/>
          </p:cNvSpPr>
          <p:nvPr>
            <p:custDataLst>
              <p:tags r:id="rId1"/>
            </p:custDataLst>
          </p:nvPr>
        </p:nvSpPr>
        <p:spPr bwMode="auto">
          <a:xfrm>
            <a:off x="308014" y="227013"/>
            <a:ext cx="8281579"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lstStyle/>
          <a:p>
            <a:pPr>
              <a:lnSpc>
                <a:spcPct val="80000"/>
              </a:lnSpc>
            </a:pPr>
            <a:r>
              <a:rPr lang="en-US" sz="2600" dirty="0" smtClean="0">
                <a:solidFill>
                  <a:srgbClr val="FFFFFF"/>
                </a:solidFill>
                <a:latin typeface="+mn-lt"/>
              </a:rPr>
              <a:t>BACKHAULING : </a:t>
            </a:r>
            <a:r>
              <a:rPr lang="en-US" sz="2600" dirty="0" smtClean="0">
                <a:solidFill>
                  <a:srgbClr val="FFFFFF"/>
                </a:solidFill>
              </a:rPr>
              <a:t>TX PROFILE</a:t>
            </a:r>
            <a:endParaRPr lang="en-US" sz="2600" dirty="0">
              <a:solidFill>
                <a:srgbClr val="FFFFFF"/>
              </a:solidFill>
              <a:latin typeface="+mn-lt"/>
            </a:endParaRPr>
          </a:p>
        </p:txBody>
      </p:sp>
      <p:graphicFrame>
        <p:nvGraphicFramePr>
          <p:cNvPr id="3" name="Chart 2"/>
          <p:cNvGraphicFramePr>
            <a:graphicFrameLocks/>
          </p:cNvGraphicFramePr>
          <p:nvPr>
            <p:extLst>
              <p:ext uri="{D42A27DB-BD31-4B8C-83A1-F6EECF244321}">
                <p14:modId xmlns="" xmlns:p14="http://schemas.microsoft.com/office/powerpoint/2010/main" val="3293045152"/>
              </p:ext>
            </p:extLst>
          </p:nvPr>
        </p:nvGraphicFramePr>
        <p:xfrm>
          <a:off x="176453" y="1340768"/>
          <a:ext cx="9515474" cy="27051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 name="Table 1"/>
          <p:cNvGraphicFramePr>
            <a:graphicFrameLocks noGrp="1"/>
          </p:cNvGraphicFramePr>
          <p:nvPr>
            <p:extLst>
              <p:ext uri="{D42A27DB-BD31-4B8C-83A1-F6EECF244321}">
                <p14:modId xmlns="" xmlns:p14="http://schemas.microsoft.com/office/powerpoint/2010/main" val="1709735311"/>
              </p:ext>
            </p:extLst>
          </p:nvPr>
        </p:nvGraphicFramePr>
        <p:xfrm>
          <a:off x="2216698" y="4653136"/>
          <a:ext cx="5616620" cy="1200150"/>
        </p:xfrm>
        <a:graphic>
          <a:graphicData uri="http://schemas.openxmlformats.org/drawingml/2006/table">
            <a:tbl>
              <a:tblPr>
                <a:tableStyleId>{5C22544A-7EE6-4342-B048-85BDC9FD1C3A}</a:tableStyleId>
              </a:tblPr>
              <a:tblGrid>
                <a:gridCol w="1123324"/>
                <a:gridCol w="1123324"/>
                <a:gridCol w="1123324"/>
                <a:gridCol w="1123324"/>
                <a:gridCol w="1123324"/>
              </a:tblGrid>
              <a:tr h="200025">
                <a:tc>
                  <a:txBody>
                    <a:bodyPr/>
                    <a:lstStyle/>
                    <a:p>
                      <a:pPr algn="ctr" fontAlgn="ctr"/>
                      <a:r>
                        <a:rPr lang="pt-BR" sz="900" u="none" strike="noStrike">
                          <a:solidFill>
                            <a:schemeClr val="bg1"/>
                          </a:solidFill>
                          <a:effectLst/>
                        </a:rPr>
                        <a:t>MEIO TX</a:t>
                      </a:r>
                      <a:endParaRPr lang="pt-BR" sz="900" b="1" i="0" u="none" strike="noStrike">
                        <a:solidFill>
                          <a:schemeClr val="bg1"/>
                        </a:solidFill>
                        <a:effectLst/>
                        <a:latin typeface="Calibri"/>
                      </a:endParaRPr>
                    </a:p>
                  </a:txBody>
                  <a:tcPr marL="9525" marR="9525" marT="9525" marB="0" anchor="ctr">
                    <a:solidFill>
                      <a:schemeClr val="tx1"/>
                    </a:solidFill>
                  </a:tcPr>
                </a:tc>
                <a:tc>
                  <a:txBody>
                    <a:bodyPr/>
                    <a:lstStyle/>
                    <a:p>
                      <a:pPr algn="ctr" fontAlgn="ctr"/>
                      <a:r>
                        <a:rPr lang="pt-BR" sz="900" u="none" strike="noStrike">
                          <a:solidFill>
                            <a:schemeClr val="bg1"/>
                          </a:solidFill>
                          <a:effectLst/>
                        </a:rPr>
                        <a:t>2010</a:t>
                      </a:r>
                      <a:endParaRPr lang="pt-BR" sz="900" b="1" i="0" u="none" strike="noStrike">
                        <a:solidFill>
                          <a:schemeClr val="bg1"/>
                        </a:solidFill>
                        <a:effectLst/>
                        <a:latin typeface="Calibri"/>
                      </a:endParaRPr>
                    </a:p>
                  </a:txBody>
                  <a:tcPr marL="9525" marR="9525" marT="9525" marB="0" anchor="ctr">
                    <a:solidFill>
                      <a:schemeClr val="tx1"/>
                    </a:solidFill>
                  </a:tcPr>
                </a:tc>
                <a:tc>
                  <a:txBody>
                    <a:bodyPr/>
                    <a:lstStyle/>
                    <a:p>
                      <a:pPr algn="ctr" fontAlgn="ctr"/>
                      <a:r>
                        <a:rPr lang="pt-BR" sz="900" u="none" strike="noStrike">
                          <a:solidFill>
                            <a:schemeClr val="bg1"/>
                          </a:solidFill>
                          <a:effectLst/>
                        </a:rPr>
                        <a:t>2011</a:t>
                      </a:r>
                      <a:endParaRPr lang="pt-BR" sz="900" b="1" i="0" u="none" strike="noStrike">
                        <a:solidFill>
                          <a:schemeClr val="bg1"/>
                        </a:solidFill>
                        <a:effectLst/>
                        <a:latin typeface="Calibri"/>
                      </a:endParaRPr>
                    </a:p>
                  </a:txBody>
                  <a:tcPr marL="9525" marR="9525" marT="9525" marB="0" anchor="ctr">
                    <a:solidFill>
                      <a:schemeClr val="tx1"/>
                    </a:solidFill>
                  </a:tcPr>
                </a:tc>
                <a:tc>
                  <a:txBody>
                    <a:bodyPr/>
                    <a:lstStyle/>
                    <a:p>
                      <a:pPr algn="ctr" fontAlgn="ctr"/>
                      <a:r>
                        <a:rPr lang="pt-BR" sz="900" u="none" strike="noStrike">
                          <a:solidFill>
                            <a:schemeClr val="bg1"/>
                          </a:solidFill>
                          <a:effectLst/>
                        </a:rPr>
                        <a:t>2012</a:t>
                      </a:r>
                      <a:endParaRPr lang="pt-BR" sz="900" b="1" i="0" u="none" strike="noStrike">
                        <a:solidFill>
                          <a:schemeClr val="bg1"/>
                        </a:solidFill>
                        <a:effectLst/>
                        <a:latin typeface="Calibri"/>
                      </a:endParaRPr>
                    </a:p>
                  </a:txBody>
                  <a:tcPr marL="9525" marR="9525" marT="9525" marB="0" anchor="ctr">
                    <a:solidFill>
                      <a:schemeClr val="tx1"/>
                    </a:solidFill>
                  </a:tcPr>
                </a:tc>
                <a:tc>
                  <a:txBody>
                    <a:bodyPr/>
                    <a:lstStyle/>
                    <a:p>
                      <a:pPr algn="ctr" fontAlgn="ctr"/>
                      <a:r>
                        <a:rPr lang="pt-BR" sz="900" u="none" strike="noStrike" dirty="0">
                          <a:solidFill>
                            <a:schemeClr val="bg1"/>
                          </a:solidFill>
                          <a:effectLst/>
                        </a:rPr>
                        <a:t>2013</a:t>
                      </a:r>
                      <a:endParaRPr lang="pt-BR" sz="900" b="1" i="0" u="none" strike="noStrike" dirty="0">
                        <a:solidFill>
                          <a:schemeClr val="bg1"/>
                        </a:solidFill>
                        <a:effectLst/>
                        <a:latin typeface="Calibri"/>
                      </a:endParaRPr>
                    </a:p>
                  </a:txBody>
                  <a:tcPr marL="9525" marR="9525" marT="9525" marB="0" anchor="ctr">
                    <a:solidFill>
                      <a:schemeClr val="tx1"/>
                    </a:solidFill>
                  </a:tcPr>
                </a:tc>
              </a:tr>
              <a:tr h="200025">
                <a:tc>
                  <a:txBody>
                    <a:bodyPr/>
                    <a:lstStyle/>
                    <a:p>
                      <a:pPr algn="ctr" fontAlgn="ctr"/>
                      <a:r>
                        <a:rPr lang="pt-BR" sz="900" u="none" strike="noStrike" dirty="0">
                          <a:effectLst/>
                        </a:rPr>
                        <a:t>FO</a:t>
                      </a:r>
                      <a:endParaRPr lang="pt-BR" sz="900" b="1" i="0" u="none" strike="noStrike" dirty="0">
                        <a:solidFill>
                          <a:srgbClr val="000000"/>
                        </a:solidFill>
                        <a:effectLst/>
                        <a:latin typeface="Calibri"/>
                      </a:endParaRPr>
                    </a:p>
                  </a:txBody>
                  <a:tcPr marL="9525" marR="9525" marT="9525" marB="0" anchor="ctr">
                    <a:noFill/>
                  </a:tcPr>
                </a:tc>
                <a:tc>
                  <a:txBody>
                    <a:bodyPr/>
                    <a:lstStyle/>
                    <a:p>
                      <a:pPr algn="ctr" fontAlgn="b"/>
                      <a:r>
                        <a:rPr lang="pt-BR" sz="900" u="none" strike="noStrike">
                          <a:effectLst/>
                        </a:rPr>
                        <a:t>0%</a:t>
                      </a:r>
                      <a:endParaRPr lang="pt-BR" sz="900" b="0" i="0" u="none" strike="noStrike">
                        <a:solidFill>
                          <a:srgbClr val="000000"/>
                        </a:solidFill>
                        <a:effectLst/>
                        <a:latin typeface="Calibri"/>
                      </a:endParaRPr>
                    </a:p>
                  </a:txBody>
                  <a:tcPr marL="9525" marR="9525" marT="9525" marB="0" anchor="b">
                    <a:noFill/>
                  </a:tcPr>
                </a:tc>
                <a:tc>
                  <a:txBody>
                    <a:bodyPr/>
                    <a:lstStyle/>
                    <a:p>
                      <a:pPr algn="ctr" fontAlgn="b"/>
                      <a:r>
                        <a:rPr lang="pt-BR" sz="900" u="none" strike="noStrike">
                          <a:effectLst/>
                        </a:rPr>
                        <a:t>0%</a:t>
                      </a:r>
                      <a:endParaRPr lang="pt-BR" sz="900" b="0" i="0" u="none" strike="noStrike">
                        <a:solidFill>
                          <a:srgbClr val="000000"/>
                        </a:solidFill>
                        <a:effectLst/>
                        <a:latin typeface="Calibri"/>
                      </a:endParaRPr>
                    </a:p>
                  </a:txBody>
                  <a:tcPr marL="9525" marR="9525" marT="9525" marB="0" anchor="b">
                    <a:noFill/>
                  </a:tcPr>
                </a:tc>
                <a:tc>
                  <a:txBody>
                    <a:bodyPr/>
                    <a:lstStyle/>
                    <a:p>
                      <a:pPr algn="ctr" fontAlgn="b"/>
                      <a:r>
                        <a:rPr lang="pt-BR" sz="900" u="none" strike="noStrike">
                          <a:effectLst/>
                        </a:rPr>
                        <a:t>11%</a:t>
                      </a:r>
                      <a:endParaRPr lang="pt-BR" sz="900" b="0" i="0" u="none" strike="noStrike">
                        <a:solidFill>
                          <a:srgbClr val="000000"/>
                        </a:solidFill>
                        <a:effectLst/>
                        <a:latin typeface="Calibri"/>
                      </a:endParaRPr>
                    </a:p>
                  </a:txBody>
                  <a:tcPr marL="9525" marR="9525" marT="9525" marB="0" anchor="b">
                    <a:noFill/>
                  </a:tcPr>
                </a:tc>
                <a:tc>
                  <a:txBody>
                    <a:bodyPr/>
                    <a:lstStyle/>
                    <a:p>
                      <a:pPr algn="ctr" fontAlgn="b"/>
                      <a:r>
                        <a:rPr lang="pt-BR" sz="900" u="none" strike="noStrike" dirty="0">
                          <a:effectLst/>
                        </a:rPr>
                        <a:t>23%</a:t>
                      </a:r>
                      <a:endParaRPr lang="pt-BR" sz="900" b="0" i="0" u="none" strike="noStrike" dirty="0">
                        <a:solidFill>
                          <a:srgbClr val="000000"/>
                        </a:solidFill>
                        <a:effectLst/>
                        <a:latin typeface="Calibri"/>
                      </a:endParaRPr>
                    </a:p>
                  </a:txBody>
                  <a:tcPr marL="9525" marR="9525" marT="9525" marB="0" anchor="b">
                    <a:noFill/>
                  </a:tcPr>
                </a:tc>
              </a:tr>
              <a:tr h="200025">
                <a:tc>
                  <a:txBody>
                    <a:bodyPr/>
                    <a:lstStyle/>
                    <a:p>
                      <a:pPr algn="ctr" fontAlgn="ctr"/>
                      <a:r>
                        <a:rPr lang="pt-BR" sz="900" u="none" strike="noStrike" dirty="0">
                          <a:effectLst/>
                        </a:rPr>
                        <a:t>MW</a:t>
                      </a:r>
                      <a:endParaRPr lang="pt-BR" sz="900" b="1" i="0" u="none" strike="noStrike" dirty="0">
                        <a:solidFill>
                          <a:srgbClr val="000000"/>
                        </a:solidFill>
                        <a:effectLst/>
                        <a:latin typeface="Calibri"/>
                      </a:endParaRPr>
                    </a:p>
                  </a:txBody>
                  <a:tcPr marL="9525" marR="9525" marT="9525" marB="0" anchor="ctr">
                    <a:noFill/>
                  </a:tcPr>
                </a:tc>
                <a:tc>
                  <a:txBody>
                    <a:bodyPr/>
                    <a:lstStyle/>
                    <a:p>
                      <a:pPr algn="ctr" fontAlgn="b"/>
                      <a:r>
                        <a:rPr lang="pt-BR" sz="900" u="none" strike="noStrike" dirty="0">
                          <a:effectLst/>
                        </a:rPr>
                        <a:t>63%</a:t>
                      </a:r>
                      <a:endParaRPr lang="pt-BR" sz="900" b="0" i="0" u="none" strike="noStrike" dirty="0">
                        <a:solidFill>
                          <a:srgbClr val="000000"/>
                        </a:solidFill>
                        <a:effectLst/>
                        <a:latin typeface="Calibri"/>
                      </a:endParaRPr>
                    </a:p>
                  </a:txBody>
                  <a:tcPr marL="9525" marR="9525" marT="9525" marB="0" anchor="b">
                    <a:noFill/>
                  </a:tcPr>
                </a:tc>
                <a:tc>
                  <a:txBody>
                    <a:bodyPr/>
                    <a:lstStyle/>
                    <a:p>
                      <a:pPr algn="ctr" fontAlgn="b"/>
                      <a:r>
                        <a:rPr lang="pt-BR" sz="900" u="none" strike="noStrike">
                          <a:effectLst/>
                        </a:rPr>
                        <a:t>76%</a:t>
                      </a:r>
                      <a:endParaRPr lang="pt-BR" sz="900" b="0" i="0" u="none" strike="noStrike">
                        <a:solidFill>
                          <a:srgbClr val="000000"/>
                        </a:solidFill>
                        <a:effectLst/>
                        <a:latin typeface="Calibri"/>
                      </a:endParaRPr>
                    </a:p>
                  </a:txBody>
                  <a:tcPr marL="9525" marR="9525" marT="9525" marB="0" anchor="b">
                    <a:noFill/>
                  </a:tcPr>
                </a:tc>
                <a:tc>
                  <a:txBody>
                    <a:bodyPr/>
                    <a:lstStyle/>
                    <a:p>
                      <a:pPr algn="ctr" fontAlgn="b"/>
                      <a:r>
                        <a:rPr lang="pt-BR" sz="900" u="none" strike="noStrike">
                          <a:effectLst/>
                        </a:rPr>
                        <a:t>69%</a:t>
                      </a:r>
                      <a:endParaRPr lang="pt-BR" sz="900" b="0" i="0" u="none" strike="noStrike">
                        <a:solidFill>
                          <a:srgbClr val="000000"/>
                        </a:solidFill>
                        <a:effectLst/>
                        <a:latin typeface="Calibri"/>
                      </a:endParaRPr>
                    </a:p>
                  </a:txBody>
                  <a:tcPr marL="9525" marR="9525" marT="9525" marB="0" anchor="b">
                    <a:noFill/>
                  </a:tcPr>
                </a:tc>
                <a:tc>
                  <a:txBody>
                    <a:bodyPr/>
                    <a:lstStyle/>
                    <a:p>
                      <a:pPr algn="ctr" fontAlgn="b"/>
                      <a:r>
                        <a:rPr lang="pt-BR" sz="900" u="none" strike="noStrike" dirty="0">
                          <a:effectLst/>
                        </a:rPr>
                        <a:t>56%</a:t>
                      </a:r>
                      <a:endParaRPr lang="pt-BR" sz="900" b="0" i="0" u="none" strike="noStrike" dirty="0">
                        <a:solidFill>
                          <a:srgbClr val="000000"/>
                        </a:solidFill>
                        <a:effectLst/>
                        <a:latin typeface="Calibri"/>
                      </a:endParaRPr>
                    </a:p>
                  </a:txBody>
                  <a:tcPr marL="9525" marR="9525" marT="9525" marB="0" anchor="b">
                    <a:noFill/>
                  </a:tcPr>
                </a:tc>
              </a:tr>
              <a:tr h="200025">
                <a:tc>
                  <a:txBody>
                    <a:bodyPr/>
                    <a:lstStyle/>
                    <a:p>
                      <a:pPr algn="ctr" fontAlgn="ctr"/>
                      <a:r>
                        <a:rPr lang="pt-BR" sz="900" u="none" strike="noStrike">
                          <a:effectLst/>
                        </a:rPr>
                        <a:t>SAT</a:t>
                      </a:r>
                      <a:endParaRPr lang="pt-BR" sz="900" b="1" i="0" u="none" strike="noStrike">
                        <a:solidFill>
                          <a:srgbClr val="000000"/>
                        </a:solidFill>
                        <a:effectLst/>
                        <a:latin typeface="Calibri"/>
                      </a:endParaRPr>
                    </a:p>
                  </a:txBody>
                  <a:tcPr marL="9525" marR="9525" marT="9525" marB="0" anchor="ctr">
                    <a:noFill/>
                  </a:tcPr>
                </a:tc>
                <a:tc>
                  <a:txBody>
                    <a:bodyPr/>
                    <a:lstStyle/>
                    <a:p>
                      <a:pPr algn="ctr" fontAlgn="b"/>
                      <a:r>
                        <a:rPr lang="pt-BR" sz="900" u="none" strike="noStrike" dirty="0">
                          <a:effectLst/>
                        </a:rPr>
                        <a:t>2%</a:t>
                      </a:r>
                      <a:endParaRPr lang="pt-BR" sz="900" b="0" i="0" u="none" strike="noStrike" dirty="0">
                        <a:solidFill>
                          <a:srgbClr val="000000"/>
                        </a:solidFill>
                        <a:effectLst/>
                        <a:latin typeface="Calibri"/>
                      </a:endParaRPr>
                    </a:p>
                  </a:txBody>
                  <a:tcPr marL="9525" marR="9525" marT="9525" marB="0" anchor="b">
                    <a:noFill/>
                  </a:tcPr>
                </a:tc>
                <a:tc>
                  <a:txBody>
                    <a:bodyPr/>
                    <a:lstStyle/>
                    <a:p>
                      <a:pPr algn="ctr" fontAlgn="b"/>
                      <a:r>
                        <a:rPr lang="pt-BR" sz="900" u="none" strike="noStrike" dirty="0">
                          <a:effectLst/>
                        </a:rPr>
                        <a:t>1%</a:t>
                      </a:r>
                      <a:endParaRPr lang="pt-BR" sz="900" b="0" i="0" u="none" strike="noStrike" dirty="0">
                        <a:solidFill>
                          <a:srgbClr val="000000"/>
                        </a:solidFill>
                        <a:effectLst/>
                        <a:latin typeface="Calibri"/>
                      </a:endParaRPr>
                    </a:p>
                  </a:txBody>
                  <a:tcPr marL="9525" marR="9525" marT="9525" marB="0" anchor="b">
                    <a:noFill/>
                  </a:tcPr>
                </a:tc>
                <a:tc>
                  <a:txBody>
                    <a:bodyPr/>
                    <a:lstStyle/>
                    <a:p>
                      <a:pPr algn="ctr" fontAlgn="b"/>
                      <a:r>
                        <a:rPr lang="pt-BR" sz="900" u="none" strike="noStrike">
                          <a:effectLst/>
                        </a:rPr>
                        <a:t>1%</a:t>
                      </a:r>
                      <a:endParaRPr lang="pt-BR" sz="900" b="0" i="0" u="none" strike="noStrike">
                        <a:solidFill>
                          <a:srgbClr val="000000"/>
                        </a:solidFill>
                        <a:effectLst/>
                        <a:latin typeface="Calibri"/>
                      </a:endParaRPr>
                    </a:p>
                  </a:txBody>
                  <a:tcPr marL="9525" marR="9525" marT="9525" marB="0" anchor="b">
                    <a:noFill/>
                  </a:tcPr>
                </a:tc>
                <a:tc>
                  <a:txBody>
                    <a:bodyPr/>
                    <a:lstStyle/>
                    <a:p>
                      <a:pPr algn="ctr" fontAlgn="b"/>
                      <a:r>
                        <a:rPr lang="pt-BR" sz="900" u="none" strike="noStrike" dirty="0">
                          <a:effectLst/>
                        </a:rPr>
                        <a:t>2%</a:t>
                      </a:r>
                      <a:endParaRPr lang="pt-BR" sz="900" b="0" i="0" u="none" strike="noStrike" dirty="0">
                        <a:solidFill>
                          <a:srgbClr val="000000"/>
                        </a:solidFill>
                        <a:effectLst/>
                        <a:latin typeface="Calibri"/>
                      </a:endParaRPr>
                    </a:p>
                  </a:txBody>
                  <a:tcPr marL="9525" marR="9525" marT="9525" marB="0" anchor="b">
                    <a:noFill/>
                  </a:tcPr>
                </a:tc>
              </a:tr>
              <a:tr h="200025">
                <a:tc>
                  <a:txBody>
                    <a:bodyPr/>
                    <a:lstStyle/>
                    <a:p>
                      <a:pPr algn="ctr" fontAlgn="ctr"/>
                      <a:r>
                        <a:rPr lang="pt-BR" sz="900" u="none" strike="noStrike">
                          <a:effectLst/>
                        </a:rPr>
                        <a:t>LL</a:t>
                      </a:r>
                      <a:endParaRPr lang="pt-BR" sz="900" b="1" i="0" u="none" strike="noStrike">
                        <a:solidFill>
                          <a:srgbClr val="000000"/>
                        </a:solidFill>
                        <a:effectLst/>
                        <a:latin typeface="Calibri"/>
                      </a:endParaRPr>
                    </a:p>
                  </a:txBody>
                  <a:tcPr marL="9525" marR="9525" marT="9525" marB="0" anchor="ctr">
                    <a:noFill/>
                  </a:tcPr>
                </a:tc>
                <a:tc>
                  <a:txBody>
                    <a:bodyPr/>
                    <a:lstStyle/>
                    <a:p>
                      <a:pPr algn="ctr" fontAlgn="b"/>
                      <a:r>
                        <a:rPr lang="pt-BR" sz="900" u="none" strike="noStrike">
                          <a:effectLst/>
                        </a:rPr>
                        <a:t>35%</a:t>
                      </a:r>
                      <a:endParaRPr lang="pt-BR" sz="900" b="0" i="0" u="none" strike="noStrike">
                        <a:solidFill>
                          <a:srgbClr val="000000"/>
                        </a:solidFill>
                        <a:effectLst/>
                        <a:latin typeface="Calibri"/>
                      </a:endParaRPr>
                    </a:p>
                  </a:txBody>
                  <a:tcPr marL="9525" marR="9525" marT="9525" marB="0" anchor="b">
                    <a:noFill/>
                  </a:tcPr>
                </a:tc>
                <a:tc>
                  <a:txBody>
                    <a:bodyPr/>
                    <a:lstStyle/>
                    <a:p>
                      <a:pPr algn="ctr" fontAlgn="b"/>
                      <a:r>
                        <a:rPr lang="pt-BR" sz="900" u="none" strike="noStrike" dirty="0">
                          <a:effectLst/>
                        </a:rPr>
                        <a:t>23%</a:t>
                      </a:r>
                      <a:endParaRPr lang="pt-BR" sz="900" b="0" i="0" u="none" strike="noStrike" dirty="0">
                        <a:solidFill>
                          <a:srgbClr val="000000"/>
                        </a:solidFill>
                        <a:effectLst/>
                        <a:latin typeface="Calibri"/>
                      </a:endParaRPr>
                    </a:p>
                  </a:txBody>
                  <a:tcPr marL="9525" marR="9525" marT="9525" marB="0" anchor="b">
                    <a:noFill/>
                  </a:tcPr>
                </a:tc>
                <a:tc>
                  <a:txBody>
                    <a:bodyPr/>
                    <a:lstStyle/>
                    <a:p>
                      <a:pPr algn="ctr" fontAlgn="b"/>
                      <a:r>
                        <a:rPr lang="pt-BR" sz="900" u="none" strike="noStrike" dirty="0">
                          <a:effectLst/>
                        </a:rPr>
                        <a:t>20%</a:t>
                      </a:r>
                      <a:endParaRPr lang="pt-BR" sz="900" b="0" i="0" u="none" strike="noStrike" dirty="0">
                        <a:solidFill>
                          <a:srgbClr val="000000"/>
                        </a:solidFill>
                        <a:effectLst/>
                        <a:latin typeface="Calibri"/>
                      </a:endParaRPr>
                    </a:p>
                  </a:txBody>
                  <a:tcPr marL="9525" marR="9525" marT="9525" marB="0" anchor="b">
                    <a:noFill/>
                  </a:tcPr>
                </a:tc>
                <a:tc>
                  <a:txBody>
                    <a:bodyPr/>
                    <a:lstStyle/>
                    <a:p>
                      <a:pPr algn="ctr" fontAlgn="b"/>
                      <a:r>
                        <a:rPr lang="pt-BR" sz="900" u="none" strike="noStrike" dirty="0">
                          <a:effectLst/>
                        </a:rPr>
                        <a:t>20%</a:t>
                      </a:r>
                      <a:endParaRPr lang="pt-BR" sz="900" b="0" i="0" u="none" strike="noStrike" dirty="0">
                        <a:solidFill>
                          <a:srgbClr val="000000"/>
                        </a:solidFill>
                        <a:effectLst/>
                        <a:latin typeface="Calibri"/>
                      </a:endParaRPr>
                    </a:p>
                  </a:txBody>
                  <a:tcPr marL="9525" marR="9525" marT="9525" marB="0" anchor="b">
                    <a:noFill/>
                  </a:tcPr>
                </a:tc>
              </a:tr>
              <a:tr h="200025">
                <a:tc>
                  <a:txBody>
                    <a:bodyPr/>
                    <a:lstStyle/>
                    <a:p>
                      <a:pPr algn="ctr" fontAlgn="ctr"/>
                      <a:r>
                        <a:rPr lang="pt-BR" sz="900" u="none" strike="noStrike">
                          <a:effectLst/>
                        </a:rPr>
                        <a:t>TOTAL SITES</a:t>
                      </a:r>
                      <a:endParaRPr lang="pt-BR" sz="900" b="1" i="0" u="none" strike="noStrike">
                        <a:solidFill>
                          <a:srgbClr val="FFFFFF"/>
                        </a:solidFill>
                        <a:effectLst/>
                        <a:latin typeface="Calibri"/>
                      </a:endParaRPr>
                    </a:p>
                  </a:txBody>
                  <a:tcPr marL="9525" marR="9525" marT="9525" marB="0" anchor="ctr"/>
                </a:tc>
                <a:tc>
                  <a:txBody>
                    <a:bodyPr/>
                    <a:lstStyle/>
                    <a:p>
                      <a:pPr algn="ctr" fontAlgn="ctr"/>
                      <a:r>
                        <a:rPr lang="pt-BR" sz="900" u="none" strike="noStrike">
                          <a:effectLst/>
                        </a:rPr>
                        <a:t>10736</a:t>
                      </a:r>
                      <a:endParaRPr lang="pt-BR" sz="900" b="1" i="0" u="none" strike="noStrike">
                        <a:solidFill>
                          <a:srgbClr val="FFFFFF"/>
                        </a:solidFill>
                        <a:effectLst/>
                        <a:latin typeface="Calibri"/>
                      </a:endParaRPr>
                    </a:p>
                  </a:txBody>
                  <a:tcPr marL="9525" marR="9525" marT="9525" marB="0" anchor="ctr"/>
                </a:tc>
                <a:tc>
                  <a:txBody>
                    <a:bodyPr/>
                    <a:lstStyle/>
                    <a:p>
                      <a:pPr algn="ctr" fontAlgn="ctr"/>
                      <a:r>
                        <a:rPr lang="pt-BR" sz="900" u="none" strike="noStrike">
                          <a:effectLst/>
                        </a:rPr>
                        <a:t>11716</a:t>
                      </a:r>
                      <a:endParaRPr lang="pt-BR" sz="900" b="1" i="0" u="none" strike="noStrike">
                        <a:solidFill>
                          <a:srgbClr val="FFFFFF"/>
                        </a:solidFill>
                        <a:effectLst/>
                        <a:latin typeface="Calibri"/>
                      </a:endParaRPr>
                    </a:p>
                  </a:txBody>
                  <a:tcPr marL="9525" marR="9525" marT="9525" marB="0" anchor="ctr"/>
                </a:tc>
                <a:tc>
                  <a:txBody>
                    <a:bodyPr/>
                    <a:lstStyle/>
                    <a:p>
                      <a:pPr algn="ctr" fontAlgn="ctr"/>
                      <a:r>
                        <a:rPr lang="pt-BR" sz="900" u="none" strike="noStrike" dirty="0">
                          <a:effectLst/>
                        </a:rPr>
                        <a:t>12135</a:t>
                      </a:r>
                      <a:endParaRPr lang="pt-BR" sz="900" b="1" i="0" u="none" strike="noStrike" dirty="0">
                        <a:solidFill>
                          <a:srgbClr val="FFFFFF"/>
                        </a:solidFill>
                        <a:effectLst/>
                        <a:latin typeface="Calibri"/>
                      </a:endParaRPr>
                    </a:p>
                  </a:txBody>
                  <a:tcPr marL="9525" marR="9525" marT="9525" marB="0" anchor="ctr"/>
                </a:tc>
                <a:tc>
                  <a:txBody>
                    <a:bodyPr/>
                    <a:lstStyle/>
                    <a:p>
                      <a:pPr algn="ctr" fontAlgn="ctr"/>
                      <a:r>
                        <a:rPr lang="pt-BR" sz="900" u="none" strike="noStrike" dirty="0">
                          <a:effectLst/>
                        </a:rPr>
                        <a:t>12545</a:t>
                      </a:r>
                      <a:endParaRPr lang="pt-BR" sz="900" b="1" i="0" u="none" strike="noStrike" dirty="0">
                        <a:solidFill>
                          <a:srgbClr val="FFFFFF"/>
                        </a:solidFill>
                        <a:effectLst/>
                        <a:latin typeface="Calibri"/>
                      </a:endParaRPr>
                    </a:p>
                  </a:txBody>
                  <a:tcPr marL="9525" marR="9525" marT="9525" marB="0" anchor="ctr"/>
                </a:tc>
              </a:tr>
            </a:tbl>
          </a:graphicData>
        </a:graphic>
      </p:graphicFrame>
    </p:spTree>
    <p:extLst>
      <p:ext uri="{BB962C8B-B14F-4D97-AF65-F5344CB8AC3E}">
        <p14:creationId xmlns="" xmlns:p14="http://schemas.microsoft.com/office/powerpoint/2010/main" val="1202834852"/>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2"/>
          <p:cNvSpPr>
            <a:spLocks noChangeArrowheads="1"/>
          </p:cNvSpPr>
          <p:nvPr/>
        </p:nvSpPr>
        <p:spPr bwMode="auto">
          <a:xfrm>
            <a:off x="1208584" y="3573073"/>
            <a:ext cx="6480000" cy="503999"/>
          </a:xfrm>
          <a:prstGeom prst="snip2DiagRect">
            <a:avLst/>
          </a:prstGeom>
          <a:solidFill>
            <a:srgbClr val="3E628A"/>
          </a:solidFill>
          <a:ln>
            <a:noFill/>
          </a:ln>
          <a:extLst>
            <a:ext uri="{91240B29-F687-4f45-9708-019B960494DF}">
              <a14:hiddenLine xmlns=""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lIns="87766" tIns="43883" rIns="87766" bIns="43883" rtlCol="0" anchor="ctr"/>
          <a:lstStyle/>
          <a:p>
            <a:pPr algn="ctr" eaLnBrk="0" hangingPunct="0"/>
            <a:endParaRPr lang="en-US" smtClean="0">
              <a:solidFill>
                <a:schemeClr val="lt1"/>
              </a:solidFill>
            </a:endParaRPr>
          </a:p>
        </p:txBody>
      </p:sp>
      <p:sp>
        <p:nvSpPr>
          <p:cNvPr id="7" name="Text Box 4"/>
          <p:cNvSpPr txBox="1">
            <a:spLocks noChangeArrowheads="1"/>
          </p:cNvSpPr>
          <p:nvPr/>
        </p:nvSpPr>
        <p:spPr bwMode="auto">
          <a:xfrm>
            <a:off x="1480300" y="1333918"/>
            <a:ext cx="7687545" cy="1880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03659" tIns="0" rIns="103659" bIns="0"/>
          <a:lstStyle>
            <a:lvl1pPr marL="365125" indent="-365125" defTabSz="450850" eaLnBrk="0" hangingPunct="0">
              <a:defRPr sz="1600" b="1">
                <a:solidFill>
                  <a:schemeClr val="tx1"/>
                </a:solidFill>
                <a:latin typeface="Arial" pitchFamily="34" charset="0"/>
                <a:cs typeface="Arial" pitchFamily="34" charset="0"/>
              </a:defRPr>
            </a:lvl1pPr>
            <a:lvl2pPr marL="742950" indent="-285750" defTabSz="450850" eaLnBrk="0" hangingPunct="0">
              <a:defRPr sz="1600" b="1">
                <a:solidFill>
                  <a:schemeClr val="tx1"/>
                </a:solidFill>
                <a:latin typeface="Arial" pitchFamily="34" charset="0"/>
                <a:cs typeface="Arial" pitchFamily="34" charset="0"/>
              </a:defRPr>
            </a:lvl2pPr>
            <a:lvl3pPr marL="1143000" indent="-228600" defTabSz="450850" eaLnBrk="0" hangingPunct="0">
              <a:defRPr sz="1600" b="1">
                <a:solidFill>
                  <a:schemeClr val="tx1"/>
                </a:solidFill>
                <a:latin typeface="Arial" pitchFamily="34" charset="0"/>
                <a:cs typeface="Arial" pitchFamily="34" charset="0"/>
              </a:defRPr>
            </a:lvl3pPr>
            <a:lvl4pPr marL="1600200" indent="-228600" defTabSz="450850" eaLnBrk="0" hangingPunct="0">
              <a:defRPr sz="1600" b="1">
                <a:solidFill>
                  <a:schemeClr val="tx1"/>
                </a:solidFill>
                <a:latin typeface="Arial" pitchFamily="34" charset="0"/>
                <a:cs typeface="Arial" pitchFamily="34" charset="0"/>
              </a:defRPr>
            </a:lvl4pPr>
            <a:lvl5pPr marL="2057400" indent="-228600" defTabSz="450850" eaLnBrk="0" hangingPunct="0">
              <a:defRPr sz="1600" b="1">
                <a:solidFill>
                  <a:schemeClr val="tx1"/>
                </a:solidFill>
                <a:latin typeface="Arial" pitchFamily="34" charset="0"/>
                <a:cs typeface="Arial" pitchFamily="34" charset="0"/>
              </a:defRPr>
            </a:lvl5pPr>
            <a:lvl6pPr marL="2514600" indent="-228600" defTabSz="450850" eaLnBrk="0" fontAlgn="base" hangingPunct="0">
              <a:spcBef>
                <a:spcPct val="0"/>
              </a:spcBef>
              <a:spcAft>
                <a:spcPct val="0"/>
              </a:spcAft>
              <a:defRPr sz="1600" b="1">
                <a:solidFill>
                  <a:schemeClr val="tx1"/>
                </a:solidFill>
                <a:latin typeface="Arial" pitchFamily="34" charset="0"/>
                <a:cs typeface="Arial" pitchFamily="34" charset="0"/>
              </a:defRPr>
            </a:lvl6pPr>
            <a:lvl7pPr marL="2971800" indent="-228600" defTabSz="450850" eaLnBrk="0" fontAlgn="base" hangingPunct="0">
              <a:spcBef>
                <a:spcPct val="0"/>
              </a:spcBef>
              <a:spcAft>
                <a:spcPct val="0"/>
              </a:spcAft>
              <a:defRPr sz="1600" b="1">
                <a:solidFill>
                  <a:schemeClr val="tx1"/>
                </a:solidFill>
                <a:latin typeface="Arial" pitchFamily="34" charset="0"/>
                <a:cs typeface="Arial" pitchFamily="34" charset="0"/>
              </a:defRPr>
            </a:lvl7pPr>
            <a:lvl8pPr marL="3429000" indent="-228600" defTabSz="450850" eaLnBrk="0" fontAlgn="base" hangingPunct="0">
              <a:spcBef>
                <a:spcPct val="0"/>
              </a:spcBef>
              <a:spcAft>
                <a:spcPct val="0"/>
              </a:spcAft>
              <a:defRPr sz="1600" b="1">
                <a:solidFill>
                  <a:schemeClr val="tx1"/>
                </a:solidFill>
                <a:latin typeface="Arial" pitchFamily="34" charset="0"/>
                <a:cs typeface="Arial" pitchFamily="34" charset="0"/>
              </a:defRPr>
            </a:lvl8pPr>
            <a:lvl9pPr marL="3886200" indent="-228600" defTabSz="450850" eaLnBrk="0" fontAlgn="base" hangingPunct="0">
              <a:spcBef>
                <a:spcPct val="0"/>
              </a:spcBef>
              <a:spcAft>
                <a:spcPct val="0"/>
              </a:spcAft>
              <a:defRPr sz="1600" b="1">
                <a:solidFill>
                  <a:schemeClr val="tx1"/>
                </a:solidFill>
                <a:latin typeface="Arial" pitchFamily="34" charset="0"/>
                <a:cs typeface="Arial" pitchFamily="34" charset="0"/>
              </a:defRPr>
            </a:lvl9pPr>
          </a:lstStyle>
          <a:p>
            <a:pPr eaLnBrk="1" hangingPunct="1">
              <a:lnSpc>
                <a:spcPct val="150000"/>
              </a:lnSpc>
              <a:spcBef>
                <a:spcPct val="60000"/>
              </a:spcBef>
              <a:buClr>
                <a:schemeClr val="bg1">
                  <a:lumMod val="65000"/>
                </a:schemeClr>
              </a:buClr>
              <a:buFont typeface="Webdings" pitchFamily="18" charset="2"/>
              <a:buChar char="4"/>
            </a:pPr>
            <a:r>
              <a:rPr lang="en-US" sz="2300" b="0" dirty="0">
                <a:solidFill>
                  <a:schemeClr val="bg1">
                    <a:lumMod val="75000"/>
                  </a:schemeClr>
                </a:solidFill>
                <a:latin typeface="Calibri" pitchFamily="34" charset="0"/>
              </a:rPr>
              <a:t>BACKBONE LD EVOLUTION</a:t>
            </a:r>
          </a:p>
          <a:p>
            <a:pPr eaLnBrk="1" hangingPunct="1">
              <a:lnSpc>
                <a:spcPct val="150000"/>
              </a:lnSpc>
              <a:spcBef>
                <a:spcPct val="60000"/>
              </a:spcBef>
              <a:buClr>
                <a:schemeClr val="bg1">
                  <a:lumMod val="65000"/>
                </a:schemeClr>
              </a:buClr>
              <a:buFont typeface="Webdings" pitchFamily="18" charset="2"/>
              <a:buChar char="4"/>
            </a:pPr>
            <a:r>
              <a:rPr lang="en-US" sz="2300" b="0" dirty="0">
                <a:solidFill>
                  <a:schemeClr val="bg1">
                    <a:lumMod val="75000"/>
                  </a:schemeClr>
                </a:solidFill>
                <a:latin typeface="Calibri" pitchFamily="34" charset="0"/>
              </a:rPr>
              <a:t>CASE LT AMAZONAS</a:t>
            </a:r>
          </a:p>
          <a:p>
            <a:pPr eaLnBrk="1" hangingPunct="1">
              <a:lnSpc>
                <a:spcPct val="150000"/>
              </a:lnSpc>
              <a:spcBef>
                <a:spcPct val="60000"/>
              </a:spcBef>
              <a:buClr>
                <a:schemeClr val="bg1">
                  <a:lumMod val="65000"/>
                </a:schemeClr>
              </a:buClr>
              <a:buFont typeface="Webdings" pitchFamily="18" charset="2"/>
              <a:buChar char="4"/>
            </a:pPr>
            <a:r>
              <a:rPr lang="en-US" sz="2300" b="0" dirty="0">
                <a:solidFill>
                  <a:schemeClr val="bg1">
                    <a:lumMod val="75000"/>
                  </a:schemeClr>
                </a:solidFill>
                <a:latin typeface="Calibri" pitchFamily="34" charset="0"/>
              </a:rPr>
              <a:t>FTTS</a:t>
            </a:r>
            <a:endParaRPr lang="pt-BR" sz="2300" b="0" dirty="0">
              <a:solidFill>
                <a:schemeClr val="bg1">
                  <a:lumMod val="75000"/>
                </a:schemeClr>
              </a:solidFill>
              <a:latin typeface="Calibri" pitchFamily="34" charset="0"/>
            </a:endParaRPr>
          </a:p>
          <a:p>
            <a:pPr eaLnBrk="1" hangingPunct="1">
              <a:lnSpc>
                <a:spcPct val="150000"/>
              </a:lnSpc>
              <a:spcBef>
                <a:spcPct val="60000"/>
              </a:spcBef>
              <a:buClr>
                <a:schemeClr val="bg1">
                  <a:lumMod val="65000"/>
                </a:schemeClr>
              </a:buClr>
              <a:buFont typeface="Webdings" pitchFamily="18" charset="2"/>
              <a:buChar char="4"/>
            </a:pPr>
            <a:r>
              <a:rPr lang="en-US" sz="2300" b="0" dirty="0">
                <a:solidFill>
                  <a:schemeClr val="bg1"/>
                </a:solidFill>
                <a:latin typeface="Calibri" pitchFamily="34" charset="0"/>
              </a:rPr>
              <a:t>MBB</a:t>
            </a:r>
          </a:p>
          <a:p>
            <a:pPr eaLnBrk="1" hangingPunct="1">
              <a:lnSpc>
                <a:spcPct val="150000"/>
              </a:lnSpc>
              <a:spcBef>
                <a:spcPct val="60000"/>
              </a:spcBef>
              <a:buClr>
                <a:schemeClr val="bg1">
                  <a:lumMod val="65000"/>
                </a:schemeClr>
              </a:buClr>
              <a:buFont typeface="Webdings" pitchFamily="18" charset="2"/>
              <a:buChar char="4"/>
            </a:pPr>
            <a:r>
              <a:rPr lang="en-US" sz="2300" b="0" dirty="0" smtClean="0">
                <a:solidFill>
                  <a:schemeClr val="bg1">
                    <a:lumMod val="75000"/>
                  </a:schemeClr>
                </a:solidFill>
                <a:latin typeface="Calibri" pitchFamily="34" charset="0"/>
              </a:rPr>
              <a:t>LICENSING CHALLENGES</a:t>
            </a:r>
            <a:endParaRPr lang="en-US" sz="2300" b="0" dirty="0">
              <a:solidFill>
                <a:schemeClr val="bg1">
                  <a:lumMod val="75000"/>
                </a:schemeClr>
              </a:solidFill>
              <a:latin typeface="Calibri" pitchFamily="34" charset="0"/>
            </a:endParaRPr>
          </a:p>
        </p:txBody>
      </p:sp>
      <p:sp>
        <p:nvSpPr>
          <p:cNvPr id="8" name="Title 38"/>
          <p:cNvSpPr txBox="1">
            <a:spLocks/>
          </p:cNvSpPr>
          <p:nvPr/>
        </p:nvSpPr>
        <p:spPr>
          <a:xfrm>
            <a:off x="330224" y="227015"/>
            <a:ext cx="7980364" cy="457200"/>
          </a:xfrm>
          <a:prstGeom prst="rect">
            <a:avLst/>
          </a:prstGeom>
          <a:noFill/>
          <a:ln>
            <a:noFill/>
          </a:ln>
        </p:spPr>
        <p:txBody>
          <a:bodyPr vert="horz" wrap="square" lIns="0" tIns="0" rIns="0" bIns="0" numCol="1" anchor="ctr" anchorCtr="0" compatLnSpc="1">
            <a:prstTxWarp prst="textNoShape">
              <a:avLst/>
            </a:prstTxWarp>
          </a:bodyPr>
          <a:lstStyle/>
          <a:p>
            <a:pPr defTabSz="877654" eaLnBrk="0" hangingPunct="0">
              <a:lnSpc>
                <a:spcPct val="80000"/>
              </a:lnSpc>
              <a:defRPr/>
            </a:pPr>
            <a:r>
              <a:rPr lang="en-US" sz="2500" kern="0" dirty="0" smtClean="0">
                <a:solidFill>
                  <a:schemeClr val="bg1"/>
                </a:solidFill>
                <a:latin typeface="Calibri" pitchFamily="34" charset="0"/>
                <a:ea typeface="Arial" charset="0"/>
                <a:cs typeface="+mj-cs"/>
              </a:rPr>
              <a:t>AGENDA</a:t>
            </a:r>
            <a:endParaRPr lang="en-US" sz="2500" kern="0" dirty="0">
              <a:solidFill>
                <a:schemeClr val="bg1"/>
              </a:solidFill>
              <a:latin typeface="Calibri" pitchFamily="34" charset="0"/>
              <a:ea typeface="Arial" charset="0"/>
              <a:cs typeface="+mj-cs"/>
            </a:endParaRPr>
          </a:p>
        </p:txBody>
      </p:sp>
    </p:spTree>
    <p:extLst>
      <p:ext uri="{BB962C8B-B14F-4D97-AF65-F5344CB8AC3E}">
        <p14:creationId xmlns="" xmlns:p14="http://schemas.microsoft.com/office/powerpoint/2010/main" val="276663863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9" name="Rectangle 48"/>
          <p:cNvSpPr>
            <a:spLocks noChangeArrowheads="1"/>
          </p:cNvSpPr>
          <p:nvPr>
            <p:custDataLst>
              <p:tags r:id="rId1"/>
            </p:custDataLst>
          </p:nvPr>
        </p:nvSpPr>
        <p:spPr bwMode="auto">
          <a:xfrm>
            <a:off x="308014" y="227013"/>
            <a:ext cx="8281579"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lstStyle/>
          <a:p>
            <a:pPr>
              <a:lnSpc>
                <a:spcPct val="80000"/>
              </a:lnSpc>
            </a:pPr>
            <a:r>
              <a:rPr lang="pt-BR" sz="2800" dirty="0">
                <a:solidFill>
                  <a:prstClr val="white"/>
                </a:solidFill>
                <a:latin typeface="+mj-lt"/>
                <a:cs typeface="Teuton Mager"/>
              </a:rPr>
              <a:t>MOBILE BROADBAND PLAN: CONCEPT OVERVIEW</a:t>
            </a:r>
            <a:endParaRPr lang="en-US" sz="2600" dirty="0">
              <a:solidFill>
                <a:srgbClr val="FFFFFF"/>
              </a:solidFill>
              <a:latin typeface="+mj-lt"/>
            </a:endParaRPr>
          </a:p>
        </p:txBody>
      </p:sp>
      <p:sp>
        <p:nvSpPr>
          <p:cNvPr id="433" name="TextBox 432"/>
          <p:cNvSpPr txBox="1"/>
          <p:nvPr/>
        </p:nvSpPr>
        <p:spPr>
          <a:xfrm>
            <a:off x="91177" y="6597932"/>
            <a:ext cx="2982910" cy="215444"/>
          </a:xfrm>
          <a:prstGeom prst="rect">
            <a:avLst/>
          </a:prstGeom>
          <a:noFill/>
        </p:spPr>
        <p:txBody>
          <a:bodyPr wrap="square" rtlCol="0">
            <a:spAutoFit/>
          </a:bodyPr>
          <a:lstStyle/>
          <a:p>
            <a:r>
              <a:rPr lang="en-US" sz="800" b="0" i="0" kern="0" dirty="0" smtClean="0">
                <a:latin typeface="Teuton Mager" pitchFamily="2" charset="0"/>
              </a:rPr>
              <a:t>Source: Mobile Broadband Network Workgroup (September/13)</a:t>
            </a:r>
            <a:endParaRPr lang="en-US" sz="800" b="0" i="0" kern="0" dirty="0">
              <a:latin typeface="Teuton Mager" pitchFamily="2" charset="0"/>
            </a:endParaRPr>
          </a:p>
        </p:txBody>
      </p:sp>
      <p:grpSp>
        <p:nvGrpSpPr>
          <p:cNvPr id="434" name="Group 433"/>
          <p:cNvGrpSpPr/>
          <p:nvPr/>
        </p:nvGrpSpPr>
        <p:grpSpPr>
          <a:xfrm>
            <a:off x="2046860" y="855550"/>
            <a:ext cx="5753139" cy="2086257"/>
            <a:chOff x="1585020" y="927224"/>
            <a:chExt cx="5310590" cy="2086257"/>
          </a:xfrm>
        </p:grpSpPr>
        <p:sp>
          <p:nvSpPr>
            <p:cNvPr id="435" name="Oval 434"/>
            <p:cNvSpPr/>
            <p:nvPr/>
          </p:nvSpPr>
          <p:spPr>
            <a:xfrm>
              <a:off x="4773108" y="1580168"/>
              <a:ext cx="1893901" cy="1239903"/>
            </a:xfrm>
            <a:prstGeom prst="ellipse">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Teuton Mager" pitchFamily="2" charset="0"/>
              </a:endParaRPr>
            </a:p>
          </p:txBody>
        </p:sp>
        <p:pic>
          <p:nvPicPr>
            <p:cNvPr id="436" name="Picture 5" descr="IP_DSL"/>
            <p:cNvPicPr>
              <a:picLocks noChangeAspect="1" noChangeArrowheads="1"/>
            </p:cNvPicPr>
            <p:nvPr/>
          </p:nvPicPr>
          <p:blipFill>
            <a:blip r:embed="rId4" cstate="print"/>
            <a:srcRect/>
            <a:stretch>
              <a:fillRect/>
            </a:stretch>
          </p:blipFill>
          <p:spPr bwMode="auto">
            <a:xfrm>
              <a:off x="4563640" y="1865920"/>
              <a:ext cx="423784" cy="386820"/>
            </a:xfrm>
            <a:prstGeom prst="rect">
              <a:avLst/>
            </a:prstGeom>
            <a:ln>
              <a:noFill/>
            </a:ln>
            <a:effectLst>
              <a:glow rad="63500">
                <a:schemeClr val="accent1">
                  <a:satMod val="175000"/>
                  <a:alpha val="40000"/>
                </a:schemeClr>
              </a:glow>
              <a:outerShdw blurRad="292100" dist="139700" dir="2700000" algn="tl" rotWithShape="0">
                <a:srgbClr val="333333">
                  <a:alpha val="65000"/>
                </a:srgbClr>
              </a:outerShdw>
            </a:effectLst>
          </p:spPr>
        </p:pic>
        <p:pic>
          <p:nvPicPr>
            <p:cNvPr id="437" name="Picture 18"/>
            <p:cNvPicPr>
              <a:picLocks noChangeArrowheads="1"/>
            </p:cNvPicPr>
            <p:nvPr/>
          </p:nvPicPr>
          <p:blipFill>
            <a:blip r:embed="rId5" cstate="print"/>
            <a:srcRect/>
            <a:stretch>
              <a:fillRect/>
            </a:stretch>
          </p:blipFill>
          <p:spPr bwMode="auto">
            <a:xfrm>
              <a:off x="6395544" y="1881949"/>
              <a:ext cx="500066" cy="476189"/>
            </a:xfrm>
            <a:prstGeom prst="rect">
              <a:avLst/>
            </a:prstGeom>
            <a:noFill/>
            <a:ln w="9525">
              <a:noFill/>
              <a:miter lim="800000"/>
              <a:headEnd/>
              <a:tailEnd/>
            </a:ln>
            <a:effectLst/>
          </p:spPr>
        </p:pic>
        <p:pic>
          <p:nvPicPr>
            <p:cNvPr id="438" name="Picture 5" descr="IP_DSL"/>
            <p:cNvPicPr>
              <a:picLocks noChangeAspect="1" noChangeArrowheads="1"/>
            </p:cNvPicPr>
            <p:nvPr/>
          </p:nvPicPr>
          <p:blipFill>
            <a:blip r:embed="rId4" cstate="print"/>
            <a:srcRect/>
            <a:stretch>
              <a:fillRect/>
            </a:stretch>
          </p:blipFill>
          <p:spPr bwMode="auto">
            <a:xfrm>
              <a:off x="5551412" y="2626661"/>
              <a:ext cx="423784" cy="386820"/>
            </a:xfrm>
            <a:prstGeom prst="rect">
              <a:avLst/>
            </a:prstGeom>
            <a:ln>
              <a:noFill/>
            </a:ln>
            <a:effectLst>
              <a:glow rad="63500">
                <a:schemeClr val="accent1">
                  <a:satMod val="175000"/>
                  <a:alpha val="40000"/>
                </a:schemeClr>
              </a:glow>
              <a:outerShdw blurRad="292100" dist="139700" dir="2700000" algn="tl" rotWithShape="0">
                <a:srgbClr val="333333">
                  <a:alpha val="65000"/>
                </a:srgbClr>
              </a:outerShdw>
            </a:effectLst>
          </p:spPr>
        </p:pic>
        <p:pic>
          <p:nvPicPr>
            <p:cNvPr id="439" name="Picture 5" descr="IP_DSL"/>
            <p:cNvPicPr>
              <a:picLocks noChangeAspect="1" noChangeArrowheads="1"/>
            </p:cNvPicPr>
            <p:nvPr/>
          </p:nvPicPr>
          <p:blipFill>
            <a:blip r:embed="rId4" cstate="print"/>
            <a:srcRect/>
            <a:stretch>
              <a:fillRect/>
            </a:stretch>
          </p:blipFill>
          <p:spPr bwMode="auto">
            <a:xfrm>
              <a:off x="5551412" y="1386758"/>
              <a:ext cx="423784" cy="386820"/>
            </a:xfrm>
            <a:prstGeom prst="rect">
              <a:avLst/>
            </a:prstGeom>
            <a:ln>
              <a:noFill/>
            </a:ln>
            <a:effectLst>
              <a:glow rad="63500">
                <a:schemeClr val="accent1">
                  <a:satMod val="175000"/>
                  <a:alpha val="40000"/>
                </a:schemeClr>
              </a:glow>
              <a:outerShdw blurRad="292100" dist="139700" dir="2700000" algn="tl" rotWithShape="0">
                <a:srgbClr val="333333">
                  <a:alpha val="65000"/>
                </a:srgbClr>
              </a:outerShdw>
            </a:effectLst>
          </p:spPr>
        </p:pic>
        <p:grpSp>
          <p:nvGrpSpPr>
            <p:cNvPr id="842" name="Group 101"/>
            <p:cNvGrpSpPr>
              <a:grpSpLocks noChangeAspect="1"/>
            </p:cNvGrpSpPr>
            <p:nvPr/>
          </p:nvGrpSpPr>
          <p:grpSpPr bwMode="auto">
            <a:xfrm>
              <a:off x="1585020" y="1033261"/>
              <a:ext cx="720080" cy="1649202"/>
              <a:chOff x="993" y="3360"/>
              <a:chExt cx="208" cy="466"/>
            </a:xfrm>
          </p:grpSpPr>
          <p:grpSp>
            <p:nvGrpSpPr>
              <p:cNvPr id="849" name="Group 102"/>
              <p:cNvGrpSpPr>
                <a:grpSpLocks noChangeAspect="1"/>
              </p:cNvGrpSpPr>
              <p:nvPr/>
            </p:nvGrpSpPr>
            <p:grpSpPr bwMode="auto">
              <a:xfrm>
                <a:off x="993" y="3485"/>
                <a:ext cx="208" cy="341"/>
                <a:chOff x="993" y="3485"/>
                <a:chExt cx="208" cy="341"/>
              </a:xfrm>
            </p:grpSpPr>
            <p:sp>
              <p:nvSpPr>
                <p:cNvPr id="851" name="Line 103"/>
                <p:cNvSpPr>
                  <a:spLocks noChangeAspect="1" noChangeShapeType="1"/>
                </p:cNvSpPr>
                <p:nvPr/>
              </p:nvSpPr>
              <p:spPr bwMode="auto">
                <a:xfrm flipV="1">
                  <a:off x="993" y="3706"/>
                  <a:ext cx="51" cy="120"/>
                </a:xfrm>
                <a:prstGeom prst="line">
                  <a:avLst/>
                </a:prstGeom>
                <a:noFill/>
                <a:ln w="3175">
                  <a:solidFill>
                    <a:schemeClr val="tx1"/>
                  </a:solidFill>
                  <a:round/>
                  <a:headEnd type="none" w="sm" len="sm"/>
                  <a:tailEnd type="none" w="sm" len="sm"/>
                </a:ln>
              </p:spPr>
              <p:txBody>
                <a:bodyPr wrap="none" anchor="ctr"/>
                <a:lstStyle/>
                <a:p>
                  <a:endParaRPr lang="en-US">
                    <a:latin typeface="Teuton Mager" pitchFamily="2" charset="0"/>
                  </a:endParaRPr>
                </a:p>
              </p:txBody>
            </p:sp>
            <p:sp>
              <p:nvSpPr>
                <p:cNvPr id="852" name="Line 104"/>
                <p:cNvSpPr>
                  <a:spLocks noChangeAspect="1" noChangeShapeType="1"/>
                </p:cNvSpPr>
                <p:nvPr/>
              </p:nvSpPr>
              <p:spPr bwMode="auto">
                <a:xfrm flipV="1">
                  <a:off x="1045" y="3515"/>
                  <a:ext cx="43" cy="191"/>
                </a:xfrm>
                <a:prstGeom prst="line">
                  <a:avLst/>
                </a:prstGeom>
                <a:noFill/>
                <a:ln w="3175">
                  <a:solidFill>
                    <a:schemeClr val="tx1"/>
                  </a:solidFill>
                  <a:round/>
                  <a:headEnd type="none" w="sm" len="sm"/>
                  <a:tailEnd type="none" w="sm" len="sm"/>
                </a:ln>
              </p:spPr>
              <p:txBody>
                <a:bodyPr wrap="none" anchor="ctr"/>
                <a:lstStyle/>
                <a:p>
                  <a:endParaRPr lang="en-US">
                    <a:latin typeface="Teuton Mager" pitchFamily="2" charset="0"/>
                  </a:endParaRPr>
                </a:p>
              </p:txBody>
            </p:sp>
            <p:sp>
              <p:nvSpPr>
                <p:cNvPr id="853" name="Line 105"/>
                <p:cNvSpPr>
                  <a:spLocks noChangeAspect="1" noChangeShapeType="1"/>
                </p:cNvSpPr>
                <p:nvPr/>
              </p:nvSpPr>
              <p:spPr bwMode="auto">
                <a:xfrm flipH="1" flipV="1">
                  <a:off x="1149" y="3706"/>
                  <a:ext cx="52" cy="120"/>
                </a:xfrm>
                <a:prstGeom prst="line">
                  <a:avLst/>
                </a:prstGeom>
                <a:noFill/>
                <a:ln w="3175">
                  <a:solidFill>
                    <a:schemeClr val="tx1"/>
                  </a:solidFill>
                  <a:round/>
                  <a:headEnd type="none" w="sm" len="sm"/>
                  <a:tailEnd type="none" w="sm" len="sm"/>
                </a:ln>
              </p:spPr>
              <p:txBody>
                <a:bodyPr wrap="none" anchor="ctr"/>
                <a:lstStyle/>
                <a:p>
                  <a:endParaRPr lang="en-US">
                    <a:latin typeface="Teuton Mager" pitchFamily="2" charset="0"/>
                  </a:endParaRPr>
                </a:p>
              </p:txBody>
            </p:sp>
            <p:sp>
              <p:nvSpPr>
                <p:cNvPr id="854" name="Line 106"/>
                <p:cNvSpPr>
                  <a:spLocks noChangeAspect="1" noChangeShapeType="1"/>
                </p:cNvSpPr>
                <p:nvPr/>
              </p:nvSpPr>
              <p:spPr bwMode="auto">
                <a:xfrm flipH="1" flipV="1">
                  <a:off x="1109" y="3515"/>
                  <a:ext cx="40" cy="191"/>
                </a:xfrm>
                <a:prstGeom prst="line">
                  <a:avLst/>
                </a:prstGeom>
                <a:noFill/>
                <a:ln w="3175">
                  <a:solidFill>
                    <a:schemeClr val="tx1"/>
                  </a:solidFill>
                  <a:round/>
                  <a:headEnd type="none" w="sm" len="sm"/>
                  <a:tailEnd type="none" w="sm" len="sm"/>
                </a:ln>
              </p:spPr>
              <p:txBody>
                <a:bodyPr wrap="none" anchor="ctr"/>
                <a:lstStyle/>
                <a:p>
                  <a:endParaRPr lang="en-US">
                    <a:latin typeface="Teuton Mager" pitchFamily="2" charset="0"/>
                  </a:endParaRPr>
                </a:p>
              </p:txBody>
            </p:sp>
            <p:sp>
              <p:nvSpPr>
                <p:cNvPr id="855" name="Line 107"/>
                <p:cNvSpPr>
                  <a:spLocks noChangeAspect="1" noChangeShapeType="1"/>
                </p:cNvSpPr>
                <p:nvPr/>
              </p:nvSpPr>
              <p:spPr bwMode="auto">
                <a:xfrm>
                  <a:off x="1045" y="3699"/>
                  <a:ext cx="106" cy="0"/>
                </a:xfrm>
                <a:prstGeom prst="line">
                  <a:avLst/>
                </a:prstGeom>
                <a:noFill/>
                <a:ln w="3175">
                  <a:solidFill>
                    <a:schemeClr val="tx1"/>
                  </a:solidFill>
                  <a:round/>
                  <a:headEnd type="none" w="sm" len="sm"/>
                  <a:tailEnd type="none" w="sm" len="sm"/>
                </a:ln>
              </p:spPr>
              <p:txBody>
                <a:bodyPr wrap="none" anchor="ctr"/>
                <a:lstStyle/>
                <a:p>
                  <a:endParaRPr lang="en-US">
                    <a:latin typeface="Teuton Mager" pitchFamily="2" charset="0"/>
                  </a:endParaRPr>
                </a:p>
              </p:txBody>
            </p:sp>
            <p:sp>
              <p:nvSpPr>
                <p:cNvPr id="856" name="Line 108"/>
                <p:cNvSpPr>
                  <a:spLocks noChangeAspect="1" noChangeShapeType="1"/>
                </p:cNvSpPr>
                <p:nvPr/>
              </p:nvSpPr>
              <p:spPr bwMode="auto">
                <a:xfrm>
                  <a:off x="1057" y="3650"/>
                  <a:ext cx="85" cy="0"/>
                </a:xfrm>
                <a:prstGeom prst="line">
                  <a:avLst/>
                </a:prstGeom>
                <a:noFill/>
                <a:ln w="3175">
                  <a:solidFill>
                    <a:schemeClr val="tx1"/>
                  </a:solidFill>
                  <a:round/>
                  <a:headEnd type="none" w="sm" len="sm"/>
                  <a:tailEnd type="none" w="sm" len="sm"/>
                </a:ln>
              </p:spPr>
              <p:txBody>
                <a:bodyPr wrap="none" anchor="ctr"/>
                <a:lstStyle/>
                <a:p>
                  <a:endParaRPr lang="en-US">
                    <a:latin typeface="Teuton Mager" pitchFamily="2" charset="0"/>
                  </a:endParaRPr>
                </a:p>
              </p:txBody>
            </p:sp>
            <p:sp>
              <p:nvSpPr>
                <p:cNvPr id="857" name="Line 109"/>
                <p:cNvSpPr>
                  <a:spLocks noChangeAspect="1" noChangeShapeType="1"/>
                </p:cNvSpPr>
                <p:nvPr/>
              </p:nvSpPr>
              <p:spPr bwMode="auto">
                <a:xfrm>
                  <a:off x="1066" y="3610"/>
                  <a:ext cx="65" cy="0"/>
                </a:xfrm>
                <a:prstGeom prst="line">
                  <a:avLst/>
                </a:prstGeom>
                <a:noFill/>
                <a:ln w="3175">
                  <a:solidFill>
                    <a:schemeClr val="tx1"/>
                  </a:solidFill>
                  <a:round/>
                  <a:headEnd type="none" w="sm" len="sm"/>
                  <a:tailEnd type="none" w="sm" len="sm"/>
                </a:ln>
              </p:spPr>
              <p:txBody>
                <a:bodyPr wrap="none" anchor="ctr"/>
                <a:lstStyle/>
                <a:p>
                  <a:endParaRPr lang="en-US">
                    <a:latin typeface="Teuton Mager" pitchFamily="2" charset="0"/>
                  </a:endParaRPr>
                </a:p>
              </p:txBody>
            </p:sp>
            <p:sp>
              <p:nvSpPr>
                <p:cNvPr id="858" name="Line 110"/>
                <p:cNvSpPr>
                  <a:spLocks noChangeAspect="1" noChangeShapeType="1"/>
                </p:cNvSpPr>
                <p:nvPr/>
              </p:nvSpPr>
              <p:spPr bwMode="auto">
                <a:xfrm>
                  <a:off x="1076" y="3572"/>
                  <a:ext cx="44" cy="0"/>
                </a:xfrm>
                <a:prstGeom prst="line">
                  <a:avLst/>
                </a:prstGeom>
                <a:noFill/>
                <a:ln w="3175">
                  <a:solidFill>
                    <a:schemeClr val="tx1"/>
                  </a:solidFill>
                  <a:round/>
                  <a:headEnd type="none" w="sm" len="sm"/>
                  <a:tailEnd type="none" w="sm" len="sm"/>
                </a:ln>
              </p:spPr>
              <p:txBody>
                <a:bodyPr wrap="none" anchor="ctr"/>
                <a:lstStyle/>
                <a:p>
                  <a:endParaRPr lang="en-US">
                    <a:latin typeface="Teuton Mager" pitchFamily="2" charset="0"/>
                  </a:endParaRPr>
                </a:p>
              </p:txBody>
            </p:sp>
            <p:sp>
              <p:nvSpPr>
                <p:cNvPr id="859" name="Line 111"/>
                <p:cNvSpPr>
                  <a:spLocks noChangeAspect="1" noChangeShapeType="1"/>
                </p:cNvSpPr>
                <p:nvPr/>
              </p:nvSpPr>
              <p:spPr bwMode="auto">
                <a:xfrm>
                  <a:off x="1076" y="3547"/>
                  <a:ext cx="44" cy="0"/>
                </a:xfrm>
                <a:prstGeom prst="line">
                  <a:avLst/>
                </a:prstGeom>
                <a:noFill/>
                <a:ln w="3175">
                  <a:solidFill>
                    <a:schemeClr val="tx1"/>
                  </a:solidFill>
                  <a:round/>
                  <a:headEnd type="none" w="sm" len="sm"/>
                  <a:tailEnd type="none" w="sm" len="sm"/>
                </a:ln>
              </p:spPr>
              <p:txBody>
                <a:bodyPr wrap="none" anchor="ctr"/>
                <a:lstStyle/>
                <a:p>
                  <a:endParaRPr lang="en-US">
                    <a:latin typeface="Teuton Mager" pitchFamily="2" charset="0"/>
                  </a:endParaRPr>
                </a:p>
              </p:txBody>
            </p:sp>
            <p:sp>
              <p:nvSpPr>
                <p:cNvPr id="860" name="Line 112"/>
                <p:cNvSpPr>
                  <a:spLocks noChangeAspect="1" noChangeShapeType="1"/>
                </p:cNvSpPr>
                <p:nvPr/>
              </p:nvSpPr>
              <p:spPr bwMode="auto">
                <a:xfrm>
                  <a:off x="1088" y="3529"/>
                  <a:ext cx="22" cy="0"/>
                </a:xfrm>
                <a:prstGeom prst="line">
                  <a:avLst/>
                </a:prstGeom>
                <a:noFill/>
                <a:ln w="3175">
                  <a:solidFill>
                    <a:schemeClr val="tx1"/>
                  </a:solidFill>
                  <a:round/>
                  <a:headEnd type="none" w="sm" len="sm"/>
                  <a:tailEnd type="none" w="sm" len="sm"/>
                </a:ln>
              </p:spPr>
              <p:txBody>
                <a:bodyPr wrap="none" anchor="ctr"/>
                <a:lstStyle/>
                <a:p>
                  <a:endParaRPr lang="en-US">
                    <a:latin typeface="Teuton Mager" pitchFamily="2" charset="0"/>
                  </a:endParaRPr>
                </a:p>
              </p:txBody>
            </p:sp>
            <p:sp>
              <p:nvSpPr>
                <p:cNvPr id="861" name="Line 113"/>
                <p:cNvSpPr>
                  <a:spLocks noChangeAspect="1" noChangeShapeType="1"/>
                </p:cNvSpPr>
                <p:nvPr/>
              </p:nvSpPr>
              <p:spPr bwMode="auto">
                <a:xfrm>
                  <a:off x="1088" y="3515"/>
                  <a:ext cx="22" cy="0"/>
                </a:xfrm>
                <a:prstGeom prst="line">
                  <a:avLst/>
                </a:prstGeom>
                <a:noFill/>
                <a:ln w="3175">
                  <a:solidFill>
                    <a:schemeClr val="tx1"/>
                  </a:solidFill>
                  <a:round/>
                  <a:headEnd type="none" w="sm" len="sm"/>
                  <a:tailEnd type="none" w="sm" len="sm"/>
                </a:ln>
              </p:spPr>
              <p:txBody>
                <a:bodyPr wrap="none" anchor="ctr"/>
                <a:lstStyle/>
                <a:p>
                  <a:endParaRPr lang="en-US">
                    <a:latin typeface="Teuton Mager" pitchFamily="2" charset="0"/>
                  </a:endParaRPr>
                </a:p>
              </p:txBody>
            </p:sp>
            <p:sp>
              <p:nvSpPr>
                <p:cNvPr id="862" name="Line 114"/>
                <p:cNvSpPr>
                  <a:spLocks noChangeAspect="1" noChangeShapeType="1"/>
                </p:cNvSpPr>
                <p:nvPr/>
              </p:nvSpPr>
              <p:spPr bwMode="auto">
                <a:xfrm>
                  <a:off x="1024" y="3763"/>
                  <a:ext cx="148" cy="0"/>
                </a:xfrm>
                <a:prstGeom prst="line">
                  <a:avLst/>
                </a:prstGeom>
                <a:noFill/>
                <a:ln w="3175">
                  <a:solidFill>
                    <a:schemeClr val="tx1"/>
                  </a:solidFill>
                  <a:round/>
                  <a:headEnd type="none" w="sm" len="sm"/>
                  <a:tailEnd type="none" w="sm" len="sm"/>
                </a:ln>
              </p:spPr>
              <p:txBody>
                <a:bodyPr wrap="none" anchor="ctr"/>
                <a:lstStyle/>
                <a:p>
                  <a:endParaRPr lang="en-US">
                    <a:latin typeface="Teuton Mager" pitchFamily="2" charset="0"/>
                  </a:endParaRPr>
                </a:p>
              </p:txBody>
            </p:sp>
            <p:sp>
              <p:nvSpPr>
                <p:cNvPr id="863" name="Line 115"/>
                <p:cNvSpPr>
                  <a:spLocks noChangeAspect="1" noChangeShapeType="1"/>
                </p:cNvSpPr>
                <p:nvPr/>
              </p:nvSpPr>
              <p:spPr bwMode="auto">
                <a:xfrm flipH="1">
                  <a:off x="994" y="3763"/>
                  <a:ext cx="102" cy="63"/>
                </a:xfrm>
                <a:prstGeom prst="line">
                  <a:avLst/>
                </a:prstGeom>
                <a:noFill/>
                <a:ln w="3175">
                  <a:solidFill>
                    <a:schemeClr val="tx1"/>
                  </a:solidFill>
                  <a:round/>
                  <a:headEnd type="none" w="sm" len="sm"/>
                  <a:tailEnd type="none" w="sm" len="sm"/>
                </a:ln>
              </p:spPr>
              <p:txBody>
                <a:bodyPr wrap="none" anchor="ctr"/>
                <a:lstStyle/>
                <a:p>
                  <a:endParaRPr lang="en-US">
                    <a:latin typeface="Teuton Mager" pitchFamily="2" charset="0"/>
                  </a:endParaRPr>
                </a:p>
              </p:txBody>
            </p:sp>
            <p:sp>
              <p:nvSpPr>
                <p:cNvPr id="864" name="Line 116"/>
                <p:cNvSpPr>
                  <a:spLocks noChangeAspect="1" noChangeShapeType="1"/>
                </p:cNvSpPr>
                <p:nvPr/>
              </p:nvSpPr>
              <p:spPr bwMode="auto">
                <a:xfrm>
                  <a:off x="1096" y="3763"/>
                  <a:ext cx="105" cy="63"/>
                </a:xfrm>
                <a:prstGeom prst="line">
                  <a:avLst/>
                </a:prstGeom>
                <a:noFill/>
                <a:ln w="3175">
                  <a:solidFill>
                    <a:schemeClr val="tx1"/>
                  </a:solidFill>
                  <a:round/>
                  <a:headEnd type="none" w="sm" len="sm"/>
                  <a:tailEnd type="none" w="sm" len="sm"/>
                </a:ln>
              </p:spPr>
              <p:txBody>
                <a:bodyPr wrap="none" anchor="ctr"/>
                <a:lstStyle/>
                <a:p>
                  <a:endParaRPr lang="en-US">
                    <a:latin typeface="Teuton Mager" pitchFamily="2" charset="0"/>
                  </a:endParaRPr>
                </a:p>
              </p:txBody>
            </p:sp>
            <p:sp>
              <p:nvSpPr>
                <p:cNvPr id="865" name="Line 117"/>
                <p:cNvSpPr>
                  <a:spLocks noChangeAspect="1" noChangeShapeType="1"/>
                </p:cNvSpPr>
                <p:nvPr/>
              </p:nvSpPr>
              <p:spPr bwMode="auto">
                <a:xfrm flipV="1">
                  <a:off x="1024" y="3699"/>
                  <a:ext cx="125" cy="64"/>
                </a:xfrm>
                <a:prstGeom prst="line">
                  <a:avLst/>
                </a:prstGeom>
                <a:noFill/>
                <a:ln w="3175">
                  <a:solidFill>
                    <a:schemeClr val="tx1"/>
                  </a:solidFill>
                  <a:round/>
                  <a:headEnd type="none" w="sm" len="sm"/>
                  <a:tailEnd type="none" w="sm" len="sm"/>
                </a:ln>
              </p:spPr>
              <p:txBody>
                <a:bodyPr wrap="none" anchor="ctr"/>
                <a:lstStyle/>
                <a:p>
                  <a:endParaRPr lang="en-US">
                    <a:latin typeface="Teuton Mager" pitchFamily="2" charset="0"/>
                  </a:endParaRPr>
                </a:p>
              </p:txBody>
            </p:sp>
            <p:sp>
              <p:nvSpPr>
                <p:cNvPr id="866" name="Line 118"/>
                <p:cNvSpPr>
                  <a:spLocks noChangeAspect="1" noChangeShapeType="1"/>
                </p:cNvSpPr>
                <p:nvPr/>
              </p:nvSpPr>
              <p:spPr bwMode="auto">
                <a:xfrm>
                  <a:off x="1045" y="3699"/>
                  <a:ext cx="124" cy="64"/>
                </a:xfrm>
                <a:prstGeom prst="line">
                  <a:avLst/>
                </a:prstGeom>
                <a:noFill/>
                <a:ln w="3175">
                  <a:solidFill>
                    <a:schemeClr val="tx1"/>
                  </a:solidFill>
                  <a:round/>
                  <a:headEnd type="none" w="sm" len="sm"/>
                  <a:tailEnd type="none" w="sm" len="sm"/>
                </a:ln>
              </p:spPr>
              <p:txBody>
                <a:bodyPr wrap="none" anchor="ctr"/>
                <a:lstStyle/>
                <a:p>
                  <a:endParaRPr lang="en-US">
                    <a:latin typeface="Teuton Mager" pitchFamily="2" charset="0"/>
                  </a:endParaRPr>
                </a:p>
              </p:txBody>
            </p:sp>
            <p:sp>
              <p:nvSpPr>
                <p:cNvPr id="867" name="Line 119"/>
                <p:cNvSpPr>
                  <a:spLocks noChangeAspect="1" noChangeShapeType="1"/>
                </p:cNvSpPr>
                <p:nvPr/>
              </p:nvSpPr>
              <p:spPr bwMode="auto">
                <a:xfrm flipV="1">
                  <a:off x="1045" y="3650"/>
                  <a:ext cx="94" cy="49"/>
                </a:xfrm>
                <a:prstGeom prst="line">
                  <a:avLst/>
                </a:prstGeom>
                <a:noFill/>
                <a:ln w="3175">
                  <a:solidFill>
                    <a:schemeClr val="tx1"/>
                  </a:solidFill>
                  <a:round/>
                  <a:headEnd type="none" w="sm" len="sm"/>
                  <a:tailEnd type="none" w="sm" len="sm"/>
                </a:ln>
              </p:spPr>
              <p:txBody>
                <a:bodyPr wrap="none" anchor="ctr"/>
                <a:lstStyle/>
                <a:p>
                  <a:endParaRPr lang="en-US">
                    <a:latin typeface="Teuton Mager" pitchFamily="2" charset="0"/>
                  </a:endParaRPr>
                </a:p>
              </p:txBody>
            </p:sp>
            <p:sp>
              <p:nvSpPr>
                <p:cNvPr id="868" name="Line 120"/>
                <p:cNvSpPr>
                  <a:spLocks noChangeAspect="1" noChangeShapeType="1"/>
                </p:cNvSpPr>
                <p:nvPr/>
              </p:nvSpPr>
              <p:spPr bwMode="auto">
                <a:xfrm>
                  <a:off x="1057" y="3650"/>
                  <a:ext cx="92" cy="49"/>
                </a:xfrm>
                <a:prstGeom prst="line">
                  <a:avLst/>
                </a:prstGeom>
                <a:noFill/>
                <a:ln w="3175">
                  <a:solidFill>
                    <a:schemeClr val="tx1"/>
                  </a:solidFill>
                  <a:round/>
                  <a:headEnd type="none" w="sm" len="sm"/>
                  <a:tailEnd type="none" w="sm" len="sm"/>
                </a:ln>
              </p:spPr>
              <p:txBody>
                <a:bodyPr wrap="none" anchor="ctr"/>
                <a:lstStyle/>
                <a:p>
                  <a:endParaRPr lang="en-US">
                    <a:latin typeface="Teuton Mager" pitchFamily="2" charset="0"/>
                  </a:endParaRPr>
                </a:p>
              </p:txBody>
            </p:sp>
            <p:sp>
              <p:nvSpPr>
                <p:cNvPr id="869" name="Line 121"/>
                <p:cNvSpPr>
                  <a:spLocks noChangeAspect="1" noChangeShapeType="1"/>
                </p:cNvSpPr>
                <p:nvPr/>
              </p:nvSpPr>
              <p:spPr bwMode="auto">
                <a:xfrm flipV="1">
                  <a:off x="1057" y="3610"/>
                  <a:ext cx="72" cy="40"/>
                </a:xfrm>
                <a:prstGeom prst="line">
                  <a:avLst/>
                </a:prstGeom>
                <a:noFill/>
                <a:ln w="3175">
                  <a:solidFill>
                    <a:schemeClr val="tx1"/>
                  </a:solidFill>
                  <a:round/>
                  <a:headEnd type="none" w="sm" len="sm"/>
                  <a:tailEnd type="none" w="sm" len="sm"/>
                </a:ln>
              </p:spPr>
              <p:txBody>
                <a:bodyPr wrap="none" anchor="ctr"/>
                <a:lstStyle/>
                <a:p>
                  <a:endParaRPr lang="en-US">
                    <a:latin typeface="Teuton Mager" pitchFamily="2" charset="0"/>
                  </a:endParaRPr>
                </a:p>
              </p:txBody>
            </p:sp>
            <p:sp>
              <p:nvSpPr>
                <p:cNvPr id="870" name="Line 122"/>
                <p:cNvSpPr>
                  <a:spLocks noChangeAspect="1" noChangeShapeType="1"/>
                </p:cNvSpPr>
                <p:nvPr/>
              </p:nvSpPr>
              <p:spPr bwMode="auto">
                <a:xfrm>
                  <a:off x="1066" y="3610"/>
                  <a:ext cx="73" cy="40"/>
                </a:xfrm>
                <a:prstGeom prst="line">
                  <a:avLst/>
                </a:prstGeom>
                <a:noFill/>
                <a:ln w="3175">
                  <a:solidFill>
                    <a:schemeClr val="tx1"/>
                  </a:solidFill>
                  <a:round/>
                  <a:headEnd type="none" w="sm" len="sm"/>
                  <a:tailEnd type="none" w="sm" len="sm"/>
                </a:ln>
              </p:spPr>
              <p:txBody>
                <a:bodyPr wrap="none" anchor="ctr"/>
                <a:lstStyle/>
                <a:p>
                  <a:endParaRPr lang="en-US">
                    <a:latin typeface="Teuton Mager" pitchFamily="2" charset="0"/>
                  </a:endParaRPr>
                </a:p>
              </p:txBody>
            </p:sp>
            <p:sp>
              <p:nvSpPr>
                <p:cNvPr id="871" name="Line 123"/>
                <p:cNvSpPr>
                  <a:spLocks noChangeAspect="1" noChangeShapeType="1"/>
                </p:cNvSpPr>
                <p:nvPr/>
              </p:nvSpPr>
              <p:spPr bwMode="auto">
                <a:xfrm flipV="1">
                  <a:off x="1066" y="3572"/>
                  <a:ext cx="50" cy="38"/>
                </a:xfrm>
                <a:prstGeom prst="line">
                  <a:avLst/>
                </a:prstGeom>
                <a:noFill/>
                <a:ln w="3175">
                  <a:solidFill>
                    <a:schemeClr val="tx1"/>
                  </a:solidFill>
                  <a:round/>
                  <a:headEnd type="none" w="sm" len="sm"/>
                  <a:tailEnd type="none" w="sm" len="sm"/>
                </a:ln>
              </p:spPr>
              <p:txBody>
                <a:bodyPr wrap="none" anchor="ctr"/>
                <a:lstStyle/>
                <a:p>
                  <a:endParaRPr lang="en-US">
                    <a:latin typeface="Teuton Mager" pitchFamily="2" charset="0"/>
                  </a:endParaRPr>
                </a:p>
              </p:txBody>
            </p:sp>
            <p:sp>
              <p:nvSpPr>
                <p:cNvPr id="872" name="Line 124"/>
                <p:cNvSpPr>
                  <a:spLocks noChangeAspect="1" noChangeShapeType="1"/>
                </p:cNvSpPr>
                <p:nvPr/>
              </p:nvSpPr>
              <p:spPr bwMode="auto">
                <a:xfrm>
                  <a:off x="1076" y="3572"/>
                  <a:ext cx="53" cy="38"/>
                </a:xfrm>
                <a:prstGeom prst="line">
                  <a:avLst/>
                </a:prstGeom>
                <a:noFill/>
                <a:ln w="3175">
                  <a:solidFill>
                    <a:schemeClr val="tx1"/>
                  </a:solidFill>
                  <a:round/>
                  <a:headEnd type="none" w="sm" len="sm"/>
                  <a:tailEnd type="none" w="sm" len="sm"/>
                </a:ln>
              </p:spPr>
              <p:txBody>
                <a:bodyPr wrap="none" anchor="ctr"/>
                <a:lstStyle/>
                <a:p>
                  <a:endParaRPr lang="en-US">
                    <a:latin typeface="Teuton Mager" pitchFamily="2" charset="0"/>
                  </a:endParaRPr>
                </a:p>
              </p:txBody>
            </p:sp>
            <p:sp>
              <p:nvSpPr>
                <p:cNvPr id="873" name="Line 125"/>
                <p:cNvSpPr>
                  <a:spLocks noChangeAspect="1" noChangeShapeType="1"/>
                </p:cNvSpPr>
                <p:nvPr/>
              </p:nvSpPr>
              <p:spPr bwMode="auto">
                <a:xfrm flipV="1">
                  <a:off x="1076" y="3547"/>
                  <a:ext cx="40" cy="25"/>
                </a:xfrm>
                <a:prstGeom prst="line">
                  <a:avLst/>
                </a:prstGeom>
                <a:noFill/>
                <a:ln w="3175">
                  <a:solidFill>
                    <a:schemeClr val="tx1"/>
                  </a:solidFill>
                  <a:round/>
                  <a:headEnd type="none" w="sm" len="sm"/>
                  <a:tailEnd type="none" w="sm" len="sm"/>
                </a:ln>
              </p:spPr>
              <p:txBody>
                <a:bodyPr wrap="none" anchor="ctr"/>
                <a:lstStyle/>
                <a:p>
                  <a:endParaRPr lang="en-US">
                    <a:latin typeface="Teuton Mager" pitchFamily="2" charset="0"/>
                  </a:endParaRPr>
                </a:p>
              </p:txBody>
            </p:sp>
            <p:sp>
              <p:nvSpPr>
                <p:cNvPr id="874" name="Line 126"/>
                <p:cNvSpPr>
                  <a:spLocks noChangeAspect="1" noChangeShapeType="1"/>
                </p:cNvSpPr>
                <p:nvPr/>
              </p:nvSpPr>
              <p:spPr bwMode="auto">
                <a:xfrm>
                  <a:off x="1076" y="3547"/>
                  <a:ext cx="40" cy="25"/>
                </a:xfrm>
                <a:prstGeom prst="line">
                  <a:avLst/>
                </a:prstGeom>
                <a:noFill/>
                <a:ln w="3175">
                  <a:solidFill>
                    <a:schemeClr val="tx1"/>
                  </a:solidFill>
                  <a:round/>
                  <a:headEnd type="none" w="sm" len="sm"/>
                  <a:tailEnd type="none" w="sm" len="sm"/>
                </a:ln>
              </p:spPr>
              <p:txBody>
                <a:bodyPr wrap="none" anchor="ctr"/>
                <a:lstStyle/>
                <a:p>
                  <a:endParaRPr lang="en-US">
                    <a:latin typeface="Teuton Mager" pitchFamily="2" charset="0"/>
                  </a:endParaRPr>
                </a:p>
              </p:txBody>
            </p:sp>
            <p:sp>
              <p:nvSpPr>
                <p:cNvPr id="875" name="Line 127"/>
                <p:cNvSpPr>
                  <a:spLocks noChangeAspect="1" noChangeShapeType="1"/>
                </p:cNvSpPr>
                <p:nvPr/>
              </p:nvSpPr>
              <p:spPr bwMode="auto">
                <a:xfrm flipV="1">
                  <a:off x="1076" y="3529"/>
                  <a:ext cx="33" cy="18"/>
                </a:xfrm>
                <a:prstGeom prst="line">
                  <a:avLst/>
                </a:prstGeom>
                <a:noFill/>
                <a:ln w="3175">
                  <a:solidFill>
                    <a:schemeClr val="tx1"/>
                  </a:solidFill>
                  <a:round/>
                  <a:headEnd type="none" w="sm" len="sm"/>
                  <a:tailEnd type="none" w="sm" len="sm"/>
                </a:ln>
              </p:spPr>
              <p:txBody>
                <a:bodyPr wrap="none" anchor="ctr"/>
                <a:lstStyle/>
                <a:p>
                  <a:endParaRPr lang="en-US">
                    <a:latin typeface="Teuton Mager" pitchFamily="2" charset="0"/>
                  </a:endParaRPr>
                </a:p>
              </p:txBody>
            </p:sp>
            <p:sp>
              <p:nvSpPr>
                <p:cNvPr id="876" name="Line 128"/>
                <p:cNvSpPr>
                  <a:spLocks noChangeAspect="1" noChangeShapeType="1"/>
                </p:cNvSpPr>
                <p:nvPr/>
              </p:nvSpPr>
              <p:spPr bwMode="auto">
                <a:xfrm>
                  <a:off x="1086" y="3529"/>
                  <a:ext cx="29" cy="18"/>
                </a:xfrm>
                <a:prstGeom prst="line">
                  <a:avLst/>
                </a:prstGeom>
                <a:noFill/>
                <a:ln w="3175">
                  <a:solidFill>
                    <a:schemeClr val="tx1"/>
                  </a:solidFill>
                  <a:round/>
                  <a:headEnd type="none" w="sm" len="sm"/>
                  <a:tailEnd type="none" w="sm" len="sm"/>
                </a:ln>
              </p:spPr>
              <p:txBody>
                <a:bodyPr wrap="none" anchor="ctr"/>
                <a:lstStyle/>
                <a:p>
                  <a:endParaRPr lang="en-US">
                    <a:latin typeface="Teuton Mager" pitchFamily="2" charset="0"/>
                  </a:endParaRPr>
                </a:p>
              </p:txBody>
            </p:sp>
            <p:sp>
              <p:nvSpPr>
                <p:cNvPr id="877" name="Line 129"/>
                <p:cNvSpPr>
                  <a:spLocks noChangeAspect="1" noChangeShapeType="1"/>
                </p:cNvSpPr>
                <p:nvPr/>
              </p:nvSpPr>
              <p:spPr bwMode="auto">
                <a:xfrm>
                  <a:off x="1086" y="3515"/>
                  <a:ext cx="22" cy="14"/>
                </a:xfrm>
                <a:prstGeom prst="line">
                  <a:avLst/>
                </a:prstGeom>
                <a:noFill/>
                <a:ln w="3175">
                  <a:solidFill>
                    <a:schemeClr val="tx1"/>
                  </a:solidFill>
                  <a:round/>
                  <a:headEnd type="none" w="sm" len="sm"/>
                  <a:tailEnd type="none" w="sm" len="sm"/>
                </a:ln>
              </p:spPr>
              <p:txBody>
                <a:bodyPr wrap="none" anchor="ctr"/>
                <a:lstStyle/>
                <a:p>
                  <a:endParaRPr lang="en-US">
                    <a:latin typeface="Teuton Mager" pitchFamily="2" charset="0"/>
                  </a:endParaRPr>
                </a:p>
              </p:txBody>
            </p:sp>
            <p:sp>
              <p:nvSpPr>
                <p:cNvPr id="878" name="Line 130"/>
                <p:cNvSpPr>
                  <a:spLocks noChangeAspect="1" noChangeShapeType="1"/>
                </p:cNvSpPr>
                <p:nvPr/>
              </p:nvSpPr>
              <p:spPr bwMode="auto">
                <a:xfrm flipH="1">
                  <a:off x="1086" y="3515"/>
                  <a:ext cx="22" cy="14"/>
                </a:xfrm>
                <a:prstGeom prst="line">
                  <a:avLst/>
                </a:prstGeom>
                <a:noFill/>
                <a:ln w="3175">
                  <a:solidFill>
                    <a:schemeClr val="tx1"/>
                  </a:solidFill>
                  <a:round/>
                  <a:headEnd type="none" w="sm" len="sm"/>
                  <a:tailEnd type="none" w="sm" len="sm"/>
                </a:ln>
              </p:spPr>
              <p:txBody>
                <a:bodyPr wrap="none" anchor="ctr"/>
                <a:lstStyle/>
                <a:p>
                  <a:endParaRPr lang="en-US">
                    <a:latin typeface="Teuton Mager" pitchFamily="2" charset="0"/>
                  </a:endParaRPr>
                </a:p>
              </p:txBody>
            </p:sp>
            <p:sp>
              <p:nvSpPr>
                <p:cNvPr id="879" name="Line 131"/>
                <p:cNvSpPr>
                  <a:spLocks noChangeAspect="1" noChangeShapeType="1"/>
                </p:cNvSpPr>
                <p:nvPr/>
              </p:nvSpPr>
              <p:spPr bwMode="auto">
                <a:xfrm>
                  <a:off x="1096" y="3485"/>
                  <a:ext cx="0" cy="33"/>
                </a:xfrm>
                <a:prstGeom prst="line">
                  <a:avLst/>
                </a:prstGeom>
                <a:noFill/>
                <a:ln w="3175">
                  <a:solidFill>
                    <a:schemeClr val="tx1"/>
                  </a:solidFill>
                  <a:round/>
                  <a:headEnd type="none" w="sm" len="sm"/>
                  <a:tailEnd type="none" w="sm" len="sm"/>
                </a:ln>
              </p:spPr>
              <p:txBody>
                <a:bodyPr wrap="none" anchor="ctr"/>
                <a:lstStyle/>
                <a:p>
                  <a:endParaRPr lang="en-US">
                    <a:latin typeface="Teuton Mager" pitchFamily="2" charset="0"/>
                  </a:endParaRPr>
                </a:p>
              </p:txBody>
            </p:sp>
          </p:grpSp>
          <p:sp>
            <p:nvSpPr>
              <p:cNvPr id="850" name="Line 132"/>
              <p:cNvSpPr>
                <a:spLocks noChangeAspect="1" noChangeShapeType="1"/>
              </p:cNvSpPr>
              <p:nvPr/>
            </p:nvSpPr>
            <p:spPr bwMode="auto">
              <a:xfrm flipV="1">
                <a:off x="1093" y="3360"/>
                <a:ext cx="0" cy="155"/>
              </a:xfrm>
              <a:prstGeom prst="line">
                <a:avLst/>
              </a:prstGeom>
              <a:noFill/>
              <a:ln w="3175">
                <a:solidFill>
                  <a:schemeClr val="tx1"/>
                </a:solidFill>
                <a:round/>
                <a:headEnd type="none" w="sm" len="sm"/>
                <a:tailEnd type="none" w="sm" len="sm"/>
              </a:ln>
            </p:spPr>
            <p:txBody>
              <a:bodyPr wrap="none" anchor="ctr"/>
              <a:lstStyle/>
              <a:p>
                <a:endParaRPr lang="en-US">
                  <a:latin typeface="Teuton Mager" pitchFamily="2" charset="0"/>
                </a:endParaRPr>
              </a:p>
            </p:txBody>
          </p:sp>
        </p:grpSp>
        <p:cxnSp>
          <p:nvCxnSpPr>
            <p:cNvPr id="843" name="Straight Connector 171"/>
            <p:cNvCxnSpPr/>
            <p:nvPr/>
          </p:nvCxnSpPr>
          <p:spPr>
            <a:xfrm rot="10800000" flipV="1">
              <a:off x="2305100" y="2059589"/>
              <a:ext cx="2250250" cy="626532"/>
            </a:xfrm>
            <a:prstGeom prst="curvedConnector3">
              <a:avLst>
                <a:gd name="adj1" fmla="val 50000"/>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846" name="Rectangle 845"/>
            <p:cNvSpPr/>
            <p:nvPr/>
          </p:nvSpPr>
          <p:spPr>
            <a:xfrm>
              <a:off x="5320498" y="2025024"/>
              <a:ext cx="670598" cy="261610"/>
            </a:xfrm>
            <a:prstGeom prst="rect">
              <a:avLst/>
            </a:prstGeom>
          </p:spPr>
          <p:txBody>
            <a:bodyPr wrap="none">
              <a:spAutoFit/>
            </a:bodyPr>
            <a:lstStyle/>
            <a:p>
              <a:r>
                <a:rPr lang="en-US" sz="1100" dirty="0" smtClean="0">
                  <a:latin typeface="Teuton Mager" pitchFamily="2" charset="0"/>
                </a:rPr>
                <a:t>Fiber Ring</a:t>
              </a:r>
              <a:endParaRPr lang="pt-BR" sz="1100" dirty="0">
                <a:latin typeface="Teuton Mager" pitchFamily="2" charset="0"/>
              </a:endParaRPr>
            </a:p>
          </p:txBody>
        </p:sp>
        <p:sp>
          <p:nvSpPr>
            <p:cNvPr id="847" name="Rectangle 846"/>
            <p:cNvSpPr/>
            <p:nvPr/>
          </p:nvSpPr>
          <p:spPr>
            <a:xfrm>
              <a:off x="2796765" y="2013350"/>
              <a:ext cx="1266916" cy="646331"/>
            </a:xfrm>
            <a:prstGeom prst="rect">
              <a:avLst/>
            </a:prstGeom>
          </p:spPr>
          <p:txBody>
            <a:bodyPr wrap="none">
              <a:spAutoFit/>
            </a:bodyPr>
            <a:lstStyle/>
            <a:p>
              <a:pPr algn="ctr"/>
              <a:r>
                <a:rPr lang="pt-BR" b="0" dirty="0" smtClean="0">
                  <a:solidFill>
                    <a:srgbClr val="FF0000"/>
                  </a:solidFill>
                  <a:latin typeface="Teuton Mager" pitchFamily="2" charset="0"/>
                </a:rPr>
                <a:t>Fiber </a:t>
              </a:r>
              <a:r>
                <a:rPr lang="pt-BR" b="0" dirty="0" err="1" smtClean="0">
                  <a:solidFill>
                    <a:srgbClr val="FF0000"/>
                  </a:solidFill>
                  <a:latin typeface="Teuton Mager" pitchFamily="2" charset="0"/>
                </a:rPr>
                <a:t>or</a:t>
              </a:r>
              <a:r>
                <a:rPr lang="pt-BR" b="0" dirty="0" smtClean="0">
                  <a:solidFill>
                    <a:srgbClr val="FF0000"/>
                  </a:solidFill>
                  <a:latin typeface="Teuton Mager" pitchFamily="2" charset="0"/>
                </a:rPr>
                <a:t> MW </a:t>
              </a:r>
            </a:p>
            <a:p>
              <a:pPr algn="ctr"/>
              <a:r>
                <a:rPr lang="pt-BR" b="0" dirty="0" smtClean="0">
                  <a:solidFill>
                    <a:srgbClr val="FF0000"/>
                  </a:solidFill>
                  <a:latin typeface="Teuton Mager" pitchFamily="2" charset="0"/>
                </a:rPr>
                <a:t>High Capacity</a:t>
              </a:r>
              <a:endParaRPr lang="pt-BR" b="0" dirty="0">
                <a:solidFill>
                  <a:srgbClr val="FF0000"/>
                </a:solidFill>
                <a:latin typeface="Teuton Mager" pitchFamily="2" charset="0"/>
              </a:endParaRPr>
            </a:p>
          </p:txBody>
        </p:sp>
        <p:sp>
          <p:nvSpPr>
            <p:cNvPr id="848" name="TextBox 847"/>
            <p:cNvSpPr txBox="1"/>
            <p:nvPr/>
          </p:nvSpPr>
          <p:spPr>
            <a:xfrm>
              <a:off x="2125626" y="927224"/>
              <a:ext cx="1107108" cy="646331"/>
            </a:xfrm>
            <a:prstGeom prst="rect">
              <a:avLst/>
            </a:prstGeom>
            <a:noFill/>
          </p:spPr>
          <p:txBody>
            <a:bodyPr wrap="none" rtlCol="0">
              <a:spAutoFit/>
            </a:bodyPr>
            <a:lstStyle/>
            <a:p>
              <a:pPr algn="ctr"/>
              <a:r>
                <a:rPr lang="pt-BR" b="0" dirty="0" smtClean="0">
                  <a:solidFill>
                    <a:srgbClr val="FF0000"/>
                  </a:solidFill>
                  <a:latin typeface="Teuton Mager" pitchFamily="2" charset="0"/>
                </a:rPr>
                <a:t>42 </a:t>
              </a:r>
              <a:r>
                <a:rPr lang="pt-BR" b="0" dirty="0" err="1" smtClean="0">
                  <a:solidFill>
                    <a:srgbClr val="FF0000"/>
                  </a:solidFill>
                  <a:latin typeface="Teuton Mager" pitchFamily="2" charset="0"/>
                </a:rPr>
                <a:t>Mbs</a:t>
              </a:r>
              <a:endParaRPr lang="pt-BR" b="0" dirty="0" smtClean="0">
                <a:solidFill>
                  <a:srgbClr val="FF0000"/>
                </a:solidFill>
                <a:latin typeface="Teuton Mager" pitchFamily="2" charset="0"/>
              </a:endParaRPr>
            </a:p>
            <a:p>
              <a:pPr algn="ctr"/>
              <a:r>
                <a:rPr lang="pt-BR" b="0" dirty="0" smtClean="0">
                  <a:solidFill>
                    <a:srgbClr val="FF0000"/>
                  </a:solidFill>
                  <a:latin typeface="Teuton Mager" pitchFamily="2" charset="0"/>
                </a:rPr>
                <a:t>HSDPA+ DC</a:t>
              </a:r>
              <a:endParaRPr lang="en-US" b="0" dirty="0">
                <a:solidFill>
                  <a:srgbClr val="FF0000"/>
                </a:solidFill>
                <a:latin typeface="Teuton Mager" pitchFamily="2" charset="0"/>
              </a:endParaRPr>
            </a:p>
          </p:txBody>
        </p:sp>
      </p:grpSp>
      <p:sp>
        <p:nvSpPr>
          <p:cNvPr id="880" name="Rounded Rectangle 879"/>
          <p:cNvSpPr/>
          <p:nvPr/>
        </p:nvSpPr>
        <p:spPr>
          <a:xfrm>
            <a:off x="1306255" y="3109748"/>
            <a:ext cx="1566620" cy="675075"/>
          </a:xfrm>
          <a:prstGeom prst="round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800" b="1" spc="100" dirty="0" smtClean="0">
                <a:latin typeface="Teuton Mager" pitchFamily="2" charset="0"/>
              </a:rPr>
              <a:t>Caching</a:t>
            </a:r>
            <a:endParaRPr lang="en-US" sz="1600" b="1" spc="100" dirty="0">
              <a:latin typeface="Teuton Mager" pitchFamily="2" charset="0"/>
            </a:endParaRPr>
          </a:p>
        </p:txBody>
      </p:sp>
      <p:sp>
        <p:nvSpPr>
          <p:cNvPr id="881" name="Rounded Rectangle 880"/>
          <p:cNvSpPr/>
          <p:nvPr/>
        </p:nvSpPr>
        <p:spPr>
          <a:xfrm>
            <a:off x="3351060" y="3109748"/>
            <a:ext cx="1566620" cy="675075"/>
          </a:xfrm>
          <a:prstGeom prst="round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800" b="1" spc="100" dirty="0">
                <a:latin typeface="Teuton Mager" pitchFamily="2" charset="0"/>
              </a:rPr>
              <a:t>Peering</a:t>
            </a:r>
            <a:endParaRPr lang="en-US" sz="1800" b="1" spc="100" dirty="0">
              <a:latin typeface="Teuton Mager" pitchFamily="2" charset="0"/>
            </a:endParaRPr>
          </a:p>
        </p:txBody>
      </p:sp>
      <p:sp>
        <p:nvSpPr>
          <p:cNvPr id="882" name="Rounded Rectangle 881"/>
          <p:cNvSpPr/>
          <p:nvPr/>
        </p:nvSpPr>
        <p:spPr>
          <a:xfrm>
            <a:off x="5395866" y="3109748"/>
            <a:ext cx="1566620" cy="675075"/>
          </a:xfrm>
          <a:prstGeom prst="round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800" b="1" spc="100" dirty="0">
                <a:latin typeface="Teuton Mager" pitchFamily="2" charset="0"/>
              </a:rPr>
              <a:t>Transit</a:t>
            </a:r>
            <a:endParaRPr lang="en-US" sz="1800" b="1" spc="100" dirty="0">
              <a:latin typeface="Teuton Mager" pitchFamily="2" charset="0"/>
            </a:endParaRPr>
          </a:p>
        </p:txBody>
      </p:sp>
      <p:sp>
        <p:nvSpPr>
          <p:cNvPr id="883" name="TextBox 882"/>
          <p:cNvSpPr txBox="1"/>
          <p:nvPr/>
        </p:nvSpPr>
        <p:spPr>
          <a:xfrm>
            <a:off x="776999" y="3029566"/>
            <a:ext cx="445956" cy="769441"/>
          </a:xfrm>
          <a:prstGeom prst="rect">
            <a:avLst/>
          </a:prstGeom>
          <a:noFill/>
        </p:spPr>
        <p:txBody>
          <a:bodyPr wrap="none" rtlCol="0">
            <a:spAutoFit/>
          </a:bodyPr>
          <a:lstStyle/>
          <a:p>
            <a:r>
              <a:rPr lang="pt-BR" sz="4400" dirty="0" smtClean="0">
                <a:solidFill>
                  <a:srgbClr val="0070C0"/>
                </a:solidFill>
                <a:latin typeface="Teuton Mager" pitchFamily="2" charset="0"/>
              </a:rPr>
              <a:t>+</a:t>
            </a:r>
            <a:endParaRPr lang="en-US" sz="4400" dirty="0">
              <a:solidFill>
                <a:srgbClr val="0070C0"/>
              </a:solidFill>
              <a:latin typeface="Teuton Mager" pitchFamily="2" charset="0"/>
            </a:endParaRPr>
          </a:p>
        </p:txBody>
      </p:sp>
      <p:sp>
        <p:nvSpPr>
          <p:cNvPr id="884" name="TextBox 883"/>
          <p:cNvSpPr txBox="1"/>
          <p:nvPr/>
        </p:nvSpPr>
        <p:spPr>
          <a:xfrm>
            <a:off x="761041" y="4136403"/>
            <a:ext cx="8358188" cy="1015663"/>
          </a:xfrm>
          <a:prstGeom prst="rect">
            <a:avLst/>
          </a:prstGeom>
          <a:noFill/>
        </p:spPr>
        <p:txBody>
          <a:bodyPr wrap="square" rtlCol="0">
            <a:spAutoFit/>
          </a:bodyPr>
          <a:lstStyle>
            <a:defPPr>
              <a:defRPr lang="en-US"/>
            </a:defPPr>
            <a:lvl2pPr marL="180975" lvl="1" algn="l" defTabSz="873125">
              <a:defRPr sz="1400">
                <a:solidFill>
                  <a:prstClr val="black"/>
                </a:solidFill>
                <a:latin typeface="Franklin Gothic Book" pitchFamily="34" charset="0"/>
                <a:cs typeface="Calibri" pitchFamily="34" charset="0"/>
              </a:defRPr>
            </a:lvl2pPr>
          </a:lstStyle>
          <a:p>
            <a:pPr algn="just"/>
            <a:r>
              <a:rPr lang="en-US" sz="2000" b="0" dirty="0">
                <a:solidFill>
                  <a:srgbClr val="002060"/>
                </a:solidFill>
                <a:latin typeface="Teuton Mager" pitchFamily="2" charset="0"/>
              </a:rPr>
              <a:t>T</a:t>
            </a:r>
            <a:r>
              <a:rPr lang="en-US" sz="2000" b="0" dirty="0" smtClean="0">
                <a:solidFill>
                  <a:srgbClr val="002060"/>
                </a:solidFill>
                <a:latin typeface="Teuton Mager" pitchFamily="2" charset="0"/>
              </a:rPr>
              <a:t>hanks to innovative features and a robust HSDPA+ network, </a:t>
            </a:r>
            <a:r>
              <a:rPr lang="en-US" sz="2000" b="0" dirty="0">
                <a:solidFill>
                  <a:srgbClr val="002060"/>
                </a:solidFill>
                <a:latin typeface="Teuton Mager" pitchFamily="2" charset="0"/>
              </a:rPr>
              <a:t>MBB </a:t>
            </a:r>
            <a:r>
              <a:rPr lang="en-US" sz="2000" b="0" dirty="0" smtClean="0">
                <a:solidFill>
                  <a:srgbClr val="002060"/>
                </a:solidFill>
                <a:latin typeface="Teuton Mager" pitchFamily="2" charset="0"/>
              </a:rPr>
              <a:t>project is </a:t>
            </a:r>
            <a:r>
              <a:rPr lang="en-US" sz="2000" b="0" dirty="0">
                <a:solidFill>
                  <a:srgbClr val="002060"/>
                </a:solidFill>
                <a:latin typeface="Teuton Mager" pitchFamily="2" charset="0"/>
              </a:rPr>
              <a:t>putting forward TIM on </a:t>
            </a:r>
            <a:r>
              <a:rPr lang="en-US" sz="2000" b="0" dirty="0" smtClean="0">
                <a:solidFill>
                  <a:srgbClr val="002060"/>
                </a:solidFill>
                <a:latin typeface="Teuton Mager" pitchFamily="2" charset="0"/>
              </a:rPr>
              <a:t>3G data market </a:t>
            </a:r>
            <a:r>
              <a:rPr lang="en-US" sz="2000" b="0" dirty="0">
                <a:solidFill>
                  <a:srgbClr val="002060"/>
                </a:solidFill>
                <a:latin typeface="Teuton Mager" pitchFamily="2" charset="0"/>
              </a:rPr>
              <a:t>in the major Brazilian cities</a:t>
            </a:r>
            <a:r>
              <a:rPr lang="en-US" sz="2000" b="0" dirty="0" smtClean="0">
                <a:solidFill>
                  <a:srgbClr val="002060"/>
                </a:solidFill>
                <a:latin typeface="Teuton Mager" pitchFamily="2" charset="0"/>
              </a:rPr>
              <a:t>, </a:t>
            </a:r>
            <a:r>
              <a:rPr lang="en-US" sz="2000" b="0" dirty="0">
                <a:solidFill>
                  <a:srgbClr val="002060"/>
                </a:solidFill>
                <a:latin typeface="Teuton Mager" pitchFamily="2" charset="0"/>
              </a:rPr>
              <a:t>supporting as well a good quality for 4G </a:t>
            </a:r>
            <a:r>
              <a:rPr lang="en-US" sz="2000" b="0" dirty="0" smtClean="0">
                <a:solidFill>
                  <a:srgbClr val="002060"/>
                </a:solidFill>
                <a:latin typeface="Teuton Mager" pitchFamily="2" charset="0"/>
              </a:rPr>
              <a:t>adopters.</a:t>
            </a:r>
          </a:p>
        </p:txBody>
      </p:sp>
      <p:sp>
        <p:nvSpPr>
          <p:cNvPr id="885" name="Rounded Rectangle 884"/>
          <p:cNvSpPr/>
          <p:nvPr/>
        </p:nvSpPr>
        <p:spPr>
          <a:xfrm>
            <a:off x="7440673" y="3109748"/>
            <a:ext cx="1566620" cy="675075"/>
          </a:xfrm>
          <a:prstGeom prst="round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800" b="1" spc="100" dirty="0" smtClean="0">
                <a:latin typeface="Teuton Mager" pitchFamily="2" charset="0"/>
              </a:rPr>
              <a:t>Policy Mgmt</a:t>
            </a:r>
            <a:endParaRPr lang="en-US" sz="1800" b="1" spc="100" dirty="0">
              <a:latin typeface="Teuton Mager" pitchFamily="2" charset="0"/>
            </a:endParaRPr>
          </a:p>
        </p:txBody>
      </p:sp>
      <p:sp>
        <p:nvSpPr>
          <p:cNvPr id="886" name="Isosceles Triangle 885"/>
          <p:cNvSpPr/>
          <p:nvPr/>
        </p:nvSpPr>
        <p:spPr>
          <a:xfrm flipV="1">
            <a:off x="744336" y="3995502"/>
            <a:ext cx="8358188" cy="149231"/>
          </a:xfrm>
          <a:prstGeom prst="triangle">
            <a:avLst/>
          </a:prstGeom>
          <a:gradFill>
            <a:gsLst>
              <a:gs pos="0">
                <a:schemeClr val="tx2">
                  <a:alpha val="77000"/>
                </a:schemeClr>
              </a:gs>
              <a:gs pos="100000">
                <a:schemeClr val="tx2">
                  <a:alpha val="47000"/>
                </a:schemeClr>
              </a:gs>
            </a:gsLs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a:latin typeface="Teuton Mager" pitchFamily="2" charset="0"/>
            </a:endParaRPr>
          </a:p>
        </p:txBody>
      </p:sp>
      <p:graphicFrame>
        <p:nvGraphicFramePr>
          <p:cNvPr id="887" name="Table 886"/>
          <p:cNvGraphicFramePr>
            <a:graphicFrameLocks noGrp="1"/>
          </p:cNvGraphicFramePr>
          <p:nvPr>
            <p:extLst>
              <p:ext uri="{D42A27DB-BD31-4B8C-83A1-F6EECF244321}">
                <p14:modId xmlns="" xmlns:p14="http://schemas.microsoft.com/office/powerpoint/2010/main" val="2602143193"/>
              </p:ext>
            </p:extLst>
          </p:nvPr>
        </p:nvGraphicFramePr>
        <p:xfrm>
          <a:off x="2161303" y="5352366"/>
          <a:ext cx="5023945" cy="1080120"/>
        </p:xfrm>
        <a:graphic>
          <a:graphicData uri="http://schemas.openxmlformats.org/drawingml/2006/table">
            <a:tbl>
              <a:tblPr/>
              <a:tblGrid>
                <a:gridCol w="1686237"/>
                <a:gridCol w="834427"/>
                <a:gridCol w="834427"/>
                <a:gridCol w="834427"/>
                <a:gridCol w="834427"/>
              </a:tblGrid>
              <a:tr h="270030">
                <a:tc>
                  <a:txBody>
                    <a:bodyPr/>
                    <a:lstStyle/>
                    <a:p>
                      <a:pPr algn="l" fontAlgn="b"/>
                      <a:endParaRPr lang="pt-BR" sz="1600" b="0" i="0" u="none" strike="noStrike" dirty="0">
                        <a:solidFill>
                          <a:srgbClr val="000000"/>
                        </a:solidFill>
                        <a:effectLst/>
                        <a:latin typeface="Calibri"/>
                      </a:endParaRPr>
                    </a:p>
                  </a:txBody>
                  <a:tcPr marL="8792" marR="8792" marT="952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a:solidFill>
                            <a:srgbClr val="FFFFFF"/>
                          </a:solidFill>
                          <a:effectLst/>
                          <a:latin typeface="Calibri"/>
                        </a:rPr>
                        <a:t>2013</a:t>
                      </a:r>
                    </a:p>
                  </a:txBody>
                  <a:tcPr marL="8792" marR="8792" marT="9525" marB="0" anchor="b">
                    <a:lnL>
                      <a:noFill/>
                    </a:lnL>
                    <a:lnR>
                      <a:noFill/>
                    </a:lnR>
                    <a:lnT>
                      <a:noFill/>
                    </a:lnT>
                    <a:lnB w="6350" cap="flat" cmpd="sng" algn="ctr">
                      <a:solidFill>
                        <a:srgbClr val="000000"/>
                      </a:solidFill>
                      <a:prstDash val="solid"/>
                      <a:round/>
                      <a:headEnd type="none" w="med" len="med"/>
                      <a:tailEnd type="none" w="med" len="med"/>
                    </a:lnB>
                    <a:solidFill>
                      <a:srgbClr val="366092"/>
                    </a:solidFill>
                  </a:tcPr>
                </a:tc>
                <a:tc>
                  <a:txBody>
                    <a:bodyPr/>
                    <a:lstStyle/>
                    <a:p>
                      <a:pPr algn="ctr" fontAlgn="b"/>
                      <a:r>
                        <a:rPr lang="pt-BR" sz="1600" b="0" i="0" u="none" strike="noStrike">
                          <a:solidFill>
                            <a:srgbClr val="FFFFFF"/>
                          </a:solidFill>
                          <a:effectLst/>
                          <a:latin typeface="Calibri"/>
                        </a:rPr>
                        <a:t>2014</a:t>
                      </a:r>
                    </a:p>
                  </a:txBody>
                  <a:tcPr marL="8792" marR="8792" marT="9525" marB="0" anchor="b">
                    <a:lnL>
                      <a:noFill/>
                    </a:lnL>
                    <a:lnR>
                      <a:noFill/>
                    </a:lnR>
                    <a:lnT>
                      <a:noFill/>
                    </a:lnT>
                    <a:lnB w="6350" cap="flat" cmpd="sng" algn="ctr">
                      <a:solidFill>
                        <a:srgbClr val="000000"/>
                      </a:solidFill>
                      <a:prstDash val="solid"/>
                      <a:round/>
                      <a:headEnd type="none" w="med" len="med"/>
                      <a:tailEnd type="none" w="med" len="med"/>
                    </a:lnB>
                    <a:solidFill>
                      <a:srgbClr val="366092"/>
                    </a:solidFill>
                  </a:tcPr>
                </a:tc>
                <a:tc>
                  <a:txBody>
                    <a:bodyPr/>
                    <a:lstStyle/>
                    <a:p>
                      <a:pPr algn="ctr" fontAlgn="b"/>
                      <a:r>
                        <a:rPr lang="pt-BR" sz="1600" b="0" i="0" u="none" strike="noStrike" dirty="0">
                          <a:solidFill>
                            <a:srgbClr val="FFFFFF"/>
                          </a:solidFill>
                          <a:effectLst/>
                          <a:latin typeface="Calibri"/>
                        </a:rPr>
                        <a:t>2015</a:t>
                      </a:r>
                    </a:p>
                  </a:txBody>
                  <a:tcPr marL="8792" marR="8792" marT="9525" marB="0" anchor="b">
                    <a:lnL>
                      <a:noFill/>
                    </a:lnL>
                    <a:lnR>
                      <a:noFill/>
                    </a:lnR>
                    <a:lnT>
                      <a:noFill/>
                    </a:lnT>
                    <a:lnB w="6350" cap="flat" cmpd="sng" algn="ctr">
                      <a:solidFill>
                        <a:srgbClr val="000000"/>
                      </a:solidFill>
                      <a:prstDash val="solid"/>
                      <a:round/>
                      <a:headEnd type="none" w="med" len="med"/>
                      <a:tailEnd type="none" w="med" len="med"/>
                    </a:lnB>
                    <a:solidFill>
                      <a:srgbClr val="366092"/>
                    </a:solidFill>
                  </a:tcPr>
                </a:tc>
                <a:tc>
                  <a:txBody>
                    <a:bodyPr/>
                    <a:lstStyle/>
                    <a:p>
                      <a:pPr algn="ctr" fontAlgn="b"/>
                      <a:r>
                        <a:rPr lang="pt-BR" sz="1600" b="0" i="0" u="none" strike="noStrike">
                          <a:solidFill>
                            <a:srgbClr val="FFFFFF"/>
                          </a:solidFill>
                          <a:effectLst/>
                          <a:latin typeface="Calibri"/>
                        </a:rPr>
                        <a:t>2016</a:t>
                      </a:r>
                    </a:p>
                  </a:txBody>
                  <a:tcPr marL="8792" marR="8792" marT="9525" marB="0" anchor="b">
                    <a:lnL>
                      <a:noFill/>
                    </a:lnL>
                    <a:lnR>
                      <a:noFill/>
                    </a:lnR>
                    <a:lnT>
                      <a:noFill/>
                    </a:lnT>
                    <a:lnB w="6350" cap="flat" cmpd="sng" algn="ctr">
                      <a:solidFill>
                        <a:srgbClr val="000000"/>
                      </a:solidFill>
                      <a:prstDash val="solid"/>
                      <a:round/>
                      <a:headEnd type="none" w="med" len="med"/>
                      <a:tailEnd type="none" w="med" len="med"/>
                    </a:lnB>
                    <a:solidFill>
                      <a:srgbClr val="366092"/>
                    </a:solidFill>
                  </a:tcPr>
                </a:tc>
              </a:tr>
              <a:tr h="270030">
                <a:tc>
                  <a:txBody>
                    <a:bodyPr/>
                    <a:lstStyle/>
                    <a:p>
                      <a:pPr algn="l" fontAlgn="b"/>
                      <a:r>
                        <a:rPr lang="pt-BR" sz="1600" b="0" i="0" u="none" strike="noStrike" dirty="0">
                          <a:solidFill>
                            <a:srgbClr val="000000"/>
                          </a:solidFill>
                          <a:effectLst/>
                          <a:latin typeface="Calibri"/>
                        </a:rPr>
                        <a:t># </a:t>
                      </a:r>
                      <a:r>
                        <a:rPr lang="pt-BR" sz="1600" b="0" i="0" u="none" strike="noStrike" dirty="0" err="1">
                          <a:solidFill>
                            <a:srgbClr val="000000"/>
                          </a:solidFill>
                          <a:effectLst/>
                          <a:latin typeface="Calibri"/>
                        </a:rPr>
                        <a:t>Cities</a:t>
                      </a:r>
                      <a:endParaRPr lang="pt-BR" sz="1600" b="0" i="0" u="none" strike="noStrike" dirty="0">
                        <a:solidFill>
                          <a:srgbClr val="000000"/>
                        </a:solidFill>
                        <a:effectLst/>
                        <a:latin typeface="Calibri"/>
                      </a:endParaRPr>
                    </a:p>
                  </a:txBody>
                  <a:tcPr marL="8792" marR="8792"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pt-BR" sz="1600" b="0" i="0" u="none" strike="noStrike" dirty="0">
                          <a:solidFill>
                            <a:srgbClr val="000000"/>
                          </a:solidFill>
                          <a:effectLst/>
                          <a:latin typeface="Calibri"/>
                        </a:rPr>
                        <a:t>38</a:t>
                      </a:r>
                    </a:p>
                  </a:txBody>
                  <a:tcPr marL="8792" marR="8792"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pt-BR" sz="1600" b="0" i="0" u="none" strike="noStrike" dirty="0">
                          <a:solidFill>
                            <a:srgbClr val="000000"/>
                          </a:solidFill>
                          <a:effectLst/>
                          <a:latin typeface="Calibri"/>
                        </a:rPr>
                        <a:t>66</a:t>
                      </a:r>
                    </a:p>
                  </a:txBody>
                  <a:tcPr marL="8792" marR="8792"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pt-BR" sz="1600" b="0" i="0" u="none" strike="noStrike">
                          <a:solidFill>
                            <a:srgbClr val="000000"/>
                          </a:solidFill>
                          <a:effectLst/>
                          <a:latin typeface="Calibri"/>
                        </a:rPr>
                        <a:t>87</a:t>
                      </a:r>
                    </a:p>
                  </a:txBody>
                  <a:tcPr marL="8792" marR="8792"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pt-BR" sz="1600" b="0" i="0" u="none" strike="noStrike" dirty="0" smtClean="0">
                          <a:solidFill>
                            <a:srgbClr val="000000"/>
                          </a:solidFill>
                          <a:effectLst/>
                          <a:latin typeface="Calibri"/>
                        </a:rPr>
                        <a:t>166</a:t>
                      </a:r>
                      <a:endParaRPr lang="pt-BR" sz="1600" b="0" i="0" u="none" strike="noStrike" dirty="0">
                        <a:solidFill>
                          <a:srgbClr val="000000"/>
                        </a:solidFill>
                        <a:effectLst/>
                        <a:latin typeface="Calibri"/>
                      </a:endParaRPr>
                    </a:p>
                  </a:txBody>
                  <a:tcPr marL="8792" marR="8792"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r>
              <a:tr h="270030">
                <a:tc>
                  <a:txBody>
                    <a:bodyPr/>
                    <a:lstStyle/>
                    <a:p>
                      <a:pPr algn="l" fontAlgn="b"/>
                      <a:r>
                        <a:rPr lang="pt-BR" sz="1600" b="0" i="0" u="none" strike="noStrike" dirty="0">
                          <a:solidFill>
                            <a:srgbClr val="000000"/>
                          </a:solidFill>
                          <a:effectLst/>
                          <a:latin typeface="Symbol"/>
                        </a:rPr>
                        <a:t>D</a:t>
                      </a:r>
                      <a:r>
                        <a:rPr lang="pt-BR" sz="1600" b="0" i="0" u="none" strike="noStrike" dirty="0">
                          <a:solidFill>
                            <a:srgbClr val="000000"/>
                          </a:solidFill>
                          <a:effectLst/>
                          <a:latin typeface="Calibri"/>
                        </a:rPr>
                        <a:t> </a:t>
                      </a:r>
                      <a:r>
                        <a:rPr lang="pt-BR" sz="1600" b="0" i="0" u="none" strike="noStrike" dirty="0" err="1">
                          <a:solidFill>
                            <a:srgbClr val="000000"/>
                          </a:solidFill>
                          <a:effectLst/>
                          <a:latin typeface="Calibri"/>
                        </a:rPr>
                        <a:t>Cities</a:t>
                      </a:r>
                      <a:endParaRPr lang="pt-BR" sz="1600" b="0" i="0" u="none" strike="noStrike" dirty="0">
                        <a:solidFill>
                          <a:srgbClr val="000000"/>
                        </a:solidFill>
                        <a:effectLst/>
                        <a:latin typeface="Calibri"/>
                      </a:endParaRPr>
                    </a:p>
                  </a:txBody>
                  <a:tcPr marL="79131" marR="8792"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pt-BR" sz="1600" b="0" i="0" u="none" strike="noStrike">
                          <a:solidFill>
                            <a:srgbClr val="000000"/>
                          </a:solidFill>
                          <a:effectLst/>
                          <a:latin typeface="Calibri"/>
                        </a:rPr>
                        <a:t>38</a:t>
                      </a:r>
                    </a:p>
                  </a:txBody>
                  <a:tcPr marL="8792" marR="8792"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pt-BR" sz="1600" b="0" i="0" u="none" strike="noStrike">
                          <a:solidFill>
                            <a:srgbClr val="000000"/>
                          </a:solidFill>
                          <a:effectLst/>
                          <a:latin typeface="Calibri"/>
                        </a:rPr>
                        <a:t>28</a:t>
                      </a:r>
                    </a:p>
                  </a:txBody>
                  <a:tcPr marL="8792" marR="8792"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pt-BR" sz="1600" b="0" i="0" u="none" strike="noStrike" dirty="0">
                          <a:solidFill>
                            <a:srgbClr val="000000"/>
                          </a:solidFill>
                          <a:effectLst/>
                          <a:latin typeface="Calibri"/>
                        </a:rPr>
                        <a:t>21</a:t>
                      </a:r>
                    </a:p>
                  </a:txBody>
                  <a:tcPr marL="8792" marR="8792"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pt-BR" sz="1600" b="0" i="0" u="none" strike="noStrike" dirty="0" smtClean="0">
                          <a:solidFill>
                            <a:srgbClr val="000000"/>
                          </a:solidFill>
                          <a:effectLst/>
                          <a:latin typeface="Calibri"/>
                        </a:rPr>
                        <a:t>74</a:t>
                      </a:r>
                      <a:endParaRPr lang="pt-BR" sz="1600" b="0" i="0" u="none" strike="noStrike" dirty="0">
                        <a:solidFill>
                          <a:srgbClr val="000000"/>
                        </a:solidFill>
                        <a:effectLst/>
                        <a:latin typeface="Calibri"/>
                      </a:endParaRPr>
                    </a:p>
                  </a:txBody>
                  <a:tcPr marL="8792" marR="8792"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r>
              <a:tr h="270030">
                <a:tc>
                  <a:txBody>
                    <a:bodyPr/>
                    <a:lstStyle/>
                    <a:p>
                      <a:pPr algn="l" fontAlgn="b"/>
                      <a:r>
                        <a:rPr lang="pt-BR" sz="1600" b="0" i="0" u="none" strike="noStrike" dirty="0" err="1">
                          <a:solidFill>
                            <a:srgbClr val="000000"/>
                          </a:solidFill>
                          <a:effectLst/>
                          <a:latin typeface="Calibri"/>
                        </a:rPr>
                        <a:t>Covered</a:t>
                      </a:r>
                      <a:r>
                        <a:rPr lang="pt-BR" sz="1600" b="0" i="0" u="none" strike="noStrike" dirty="0">
                          <a:solidFill>
                            <a:srgbClr val="000000"/>
                          </a:solidFill>
                          <a:effectLst/>
                          <a:latin typeface="Calibri"/>
                        </a:rPr>
                        <a:t> </a:t>
                      </a:r>
                      <a:r>
                        <a:rPr lang="pt-BR" sz="1600" b="0" i="0" u="none" strike="noStrike" dirty="0" err="1">
                          <a:solidFill>
                            <a:srgbClr val="000000"/>
                          </a:solidFill>
                          <a:effectLst/>
                          <a:latin typeface="Calibri"/>
                        </a:rPr>
                        <a:t>Population</a:t>
                      </a:r>
                      <a:endParaRPr lang="pt-BR" sz="1600" b="0" i="0" u="none" strike="noStrike" dirty="0">
                        <a:solidFill>
                          <a:srgbClr val="000000"/>
                        </a:solidFill>
                        <a:effectLst/>
                        <a:latin typeface="Calibri"/>
                      </a:endParaRPr>
                    </a:p>
                  </a:txBody>
                  <a:tcPr marL="8792" marR="8792"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a:solidFill>
                            <a:srgbClr val="000000"/>
                          </a:solidFill>
                          <a:effectLst/>
                          <a:latin typeface="Calibri"/>
                        </a:rPr>
                        <a:t>30%</a:t>
                      </a:r>
                    </a:p>
                  </a:txBody>
                  <a:tcPr marL="8792" marR="8792"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a:solidFill>
                            <a:srgbClr val="000000"/>
                          </a:solidFill>
                          <a:effectLst/>
                          <a:latin typeface="Calibri"/>
                        </a:rPr>
                        <a:t>38%</a:t>
                      </a:r>
                    </a:p>
                  </a:txBody>
                  <a:tcPr marL="8792" marR="8792"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dirty="0">
                          <a:solidFill>
                            <a:srgbClr val="000000"/>
                          </a:solidFill>
                          <a:effectLst/>
                          <a:latin typeface="Calibri"/>
                        </a:rPr>
                        <a:t>42%</a:t>
                      </a:r>
                    </a:p>
                  </a:txBody>
                  <a:tcPr marL="8792" marR="8792"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pt-BR" sz="1600" b="0" i="0" u="none" strike="noStrike" kern="1200" dirty="0" smtClean="0">
                          <a:solidFill>
                            <a:srgbClr val="000000"/>
                          </a:solidFill>
                          <a:effectLst/>
                          <a:latin typeface="Calibri"/>
                          <a:ea typeface="+mn-ea"/>
                          <a:cs typeface="+mn-cs"/>
                        </a:rPr>
                        <a:t>50%</a:t>
                      </a:r>
                      <a:endParaRPr lang="pt-BR" sz="1600" b="0" i="0" u="none" strike="noStrike" kern="1200" dirty="0">
                        <a:solidFill>
                          <a:srgbClr val="000000"/>
                        </a:solidFill>
                        <a:effectLst/>
                        <a:latin typeface="Calibri"/>
                        <a:ea typeface="+mn-ea"/>
                        <a:cs typeface="+mn-cs"/>
                      </a:endParaRPr>
                    </a:p>
                  </a:txBody>
                  <a:tcPr marL="8792" marR="8792"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 xmlns:p14="http://schemas.microsoft.com/office/powerpoint/2010/main" val="1429565338"/>
      </p:ext>
    </p:extLst>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9" name="Rectangle 48"/>
          <p:cNvSpPr>
            <a:spLocks noChangeArrowheads="1"/>
          </p:cNvSpPr>
          <p:nvPr>
            <p:custDataLst>
              <p:tags r:id="rId1"/>
            </p:custDataLst>
          </p:nvPr>
        </p:nvSpPr>
        <p:spPr bwMode="auto">
          <a:xfrm>
            <a:off x="308014" y="227013"/>
            <a:ext cx="8281579"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lstStyle/>
          <a:p>
            <a:pPr>
              <a:lnSpc>
                <a:spcPct val="80000"/>
              </a:lnSpc>
            </a:pPr>
            <a:r>
              <a:rPr lang="pt-BR" sz="2800" dirty="0">
                <a:solidFill>
                  <a:prstClr val="white"/>
                </a:solidFill>
                <a:latin typeface="+mj-lt"/>
                <a:cs typeface="Teuton Mager"/>
              </a:rPr>
              <a:t>FIRST RESULTS OF MBB PLAN: </a:t>
            </a:r>
            <a:r>
              <a:rPr lang="pt-BR" sz="2800" dirty="0" smtClean="0">
                <a:solidFill>
                  <a:prstClr val="white"/>
                </a:solidFill>
                <a:latin typeface="+mj-lt"/>
                <a:cs typeface="Teuton Mager"/>
              </a:rPr>
              <a:t>RECIFE</a:t>
            </a:r>
            <a:endParaRPr lang="en-US" sz="2600" dirty="0">
              <a:solidFill>
                <a:srgbClr val="FFFFFF"/>
              </a:solidFill>
              <a:latin typeface="+mj-lt"/>
            </a:endParaRPr>
          </a:p>
        </p:txBody>
      </p:sp>
      <p:grpSp>
        <p:nvGrpSpPr>
          <p:cNvPr id="54" name="Group 53"/>
          <p:cNvGrpSpPr/>
          <p:nvPr/>
        </p:nvGrpSpPr>
        <p:grpSpPr>
          <a:xfrm>
            <a:off x="128464" y="1290181"/>
            <a:ext cx="4945664" cy="2786893"/>
            <a:chOff x="56851" y="1331369"/>
            <a:chExt cx="6548665" cy="4002086"/>
          </a:xfrm>
        </p:grpSpPr>
        <p:pic>
          <p:nvPicPr>
            <p:cNvPr id="55" name="Picture 6"/>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56851" y="1331369"/>
              <a:ext cx="6548665" cy="1914525"/>
            </a:xfrm>
            <a:prstGeom prst="rect">
              <a:avLst/>
            </a:prstGeom>
            <a:noFill/>
            <a:ln w="9525">
              <a:solidFill>
                <a:schemeClr val="tx1"/>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56" name="Picture 7"/>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62865" y="3418930"/>
              <a:ext cx="6542651" cy="1914525"/>
            </a:xfrm>
            <a:prstGeom prst="rect">
              <a:avLst/>
            </a:prstGeom>
            <a:noFill/>
            <a:ln w="9525">
              <a:solidFill>
                <a:schemeClr val="tx1"/>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pic>
      </p:grpSp>
      <p:sp>
        <p:nvSpPr>
          <p:cNvPr id="57" name="Chevron 56"/>
          <p:cNvSpPr/>
          <p:nvPr/>
        </p:nvSpPr>
        <p:spPr bwMode="auto">
          <a:xfrm rot="5400000">
            <a:off x="2409244" y="3923007"/>
            <a:ext cx="321557" cy="994684"/>
          </a:xfrm>
          <a:prstGeom prst="chevron">
            <a:avLst>
              <a:gd name="adj" fmla="val 85355"/>
            </a:avLst>
          </a:prstGeom>
          <a:ln>
            <a:noFill/>
          </a:ln>
          <a:extLst/>
        </p:spPr>
        <p:style>
          <a:lnRef idx="2">
            <a:schemeClr val="accent1">
              <a:shade val="50000"/>
            </a:schemeClr>
          </a:lnRef>
          <a:fillRef idx="1">
            <a:schemeClr val="accent1"/>
          </a:fillRef>
          <a:effectRef idx="0">
            <a:schemeClr val="accent1"/>
          </a:effectRef>
          <a:fontRef idx="minor">
            <a:schemeClr val="lt1"/>
          </a:fontRef>
        </p:style>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pt-BR" sz="2000" b="0">
              <a:solidFill>
                <a:prstClr val="black"/>
              </a:solidFill>
              <a:latin typeface="+mj-lt"/>
            </a:endParaRPr>
          </a:p>
        </p:txBody>
      </p:sp>
      <p:sp>
        <p:nvSpPr>
          <p:cNvPr id="58" name="TextBox 57"/>
          <p:cNvSpPr txBox="1"/>
          <p:nvPr/>
        </p:nvSpPr>
        <p:spPr>
          <a:xfrm>
            <a:off x="133006" y="4667652"/>
            <a:ext cx="4941122" cy="1569660"/>
          </a:xfrm>
          <a:prstGeom prst="rect">
            <a:avLst/>
          </a:prstGeom>
          <a:noFill/>
        </p:spPr>
        <p:txBody>
          <a:bodyPr wrap="square" rtlCol="0">
            <a:spAutoFit/>
          </a:bodyPr>
          <a:lstStyle>
            <a:defPPr>
              <a:defRPr lang="en-US"/>
            </a:defPPr>
            <a:lvl2pPr marL="180975" lvl="1" algn="l" defTabSz="873125">
              <a:defRPr sz="1400">
                <a:solidFill>
                  <a:prstClr val="black"/>
                </a:solidFill>
                <a:latin typeface="Franklin Gothic Book" pitchFamily="34" charset="0"/>
                <a:cs typeface="Calibri" pitchFamily="34" charset="0"/>
              </a:defRPr>
            </a:lvl2pPr>
          </a:lstStyle>
          <a:p>
            <a:pPr algn="ctr" defTabSz="457200"/>
            <a:r>
              <a:rPr lang="en-US" sz="2400" b="0" smtClean="0">
                <a:solidFill>
                  <a:prstClr val="black"/>
                </a:solidFill>
                <a:latin typeface="+mj-lt"/>
              </a:rPr>
              <a:t>TIM’s Network in Recife, the first city covered by MBB Plan (July), has reached the leadership position in performance.</a:t>
            </a:r>
            <a:endParaRPr lang="en-US" sz="2400" b="0">
              <a:solidFill>
                <a:prstClr val="black"/>
              </a:solidFill>
              <a:latin typeface="+mj-lt"/>
            </a:endParaRPr>
          </a:p>
        </p:txBody>
      </p:sp>
      <p:sp>
        <p:nvSpPr>
          <p:cNvPr id="59" name="Rectangle 58"/>
          <p:cNvSpPr/>
          <p:nvPr/>
        </p:nvSpPr>
        <p:spPr bwMode="auto">
          <a:xfrm>
            <a:off x="133006" y="4688940"/>
            <a:ext cx="4941122" cy="1548372"/>
          </a:xfrm>
          <a:prstGeom prst="rect">
            <a:avLst/>
          </a:prstGeom>
          <a:noFill/>
          <a:ln w="12700">
            <a:solidFill>
              <a:srgbClr val="0070C0"/>
            </a:solidFill>
            <a:prstDash val="sysDot"/>
          </a:ln>
          <a:extLst/>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pt-BR" sz="2800" b="0">
              <a:solidFill>
                <a:prstClr val="black"/>
              </a:solidFill>
              <a:latin typeface="+mj-lt"/>
            </a:endParaRPr>
          </a:p>
        </p:txBody>
      </p:sp>
      <p:cxnSp>
        <p:nvCxnSpPr>
          <p:cNvPr id="60" name="Straight Connector 59"/>
          <p:cNvCxnSpPr/>
          <p:nvPr/>
        </p:nvCxnSpPr>
        <p:spPr bwMode="auto">
          <a:xfrm>
            <a:off x="5241032" y="1196752"/>
            <a:ext cx="0" cy="5400600"/>
          </a:xfrm>
          <a:prstGeom prst="line">
            <a:avLst/>
          </a:prstGeom>
          <a:solidFill>
            <a:schemeClr val="bg1"/>
          </a:solidFill>
          <a:ln w="9525" cap="flat" cmpd="sng" algn="ctr">
            <a:solidFill>
              <a:srgbClr val="0070C0"/>
            </a:solidFill>
            <a:prstDash val="solid"/>
            <a:round/>
            <a:headEnd type="none" w="med" len="med"/>
            <a:tailEnd type="none" w="med" len="med"/>
          </a:ln>
          <a:effectLst/>
        </p:spPr>
      </p:cxnSp>
      <p:pic>
        <p:nvPicPr>
          <p:cNvPr id="61" name="Picture 2"/>
          <p:cNvPicPr>
            <a:picLocks noChangeAspect="1" noChangeArrowheads="1"/>
          </p:cNvPicPr>
          <p:nvPr/>
        </p:nvPicPr>
        <p:blipFill>
          <a:blip r:embed="rId6" cstate="print">
            <a:extLst>
              <a:ext uri="{28A0092B-C50C-407E-A947-70E740481C1C}">
                <a14:useLocalDpi xmlns="" xmlns:a14="http://schemas.microsoft.com/office/drawing/2010/main" val="0"/>
              </a:ext>
            </a:extLst>
          </a:blip>
          <a:srcRect/>
          <a:stretch>
            <a:fillRect/>
          </a:stretch>
        </p:blipFill>
        <p:spPr bwMode="auto">
          <a:xfrm>
            <a:off x="5313041" y="1268760"/>
            <a:ext cx="4536504" cy="291249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62" name="Chevron 61"/>
          <p:cNvSpPr/>
          <p:nvPr/>
        </p:nvSpPr>
        <p:spPr bwMode="auto">
          <a:xfrm rot="5400000">
            <a:off x="7328677" y="3884525"/>
            <a:ext cx="321557" cy="994684"/>
          </a:xfrm>
          <a:prstGeom prst="chevron">
            <a:avLst>
              <a:gd name="adj" fmla="val 85355"/>
            </a:avLst>
          </a:prstGeom>
          <a:ln>
            <a:noFill/>
          </a:ln>
          <a:extLst/>
        </p:spPr>
        <p:style>
          <a:lnRef idx="2">
            <a:schemeClr val="accent1">
              <a:shade val="50000"/>
            </a:schemeClr>
          </a:lnRef>
          <a:fillRef idx="1">
            <a:schemeClr val="accent1"/>
          </a:fillRef>
          <a:effectRef idx="0">
            <a:schemeClr val="accent1"/>
          </a:effectRef>
          <a:fontRef idx="minor">
            <a:schemeClr val="lt1"/>
          </a:fontRef>
        </p:style>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pt-BR" sz="2000" b="0">
              <a:solidFill>
                <a:prstClr val="black"/>
              </a:solidFill>
              <a:latin typeface="+mj-lt"/>
            </a:endParaRPr>
          </a:p>
        </p:txBody>
      </p:sp>
      <p:sp>
        <p:nvSpPr>
          <p:cNvPr id="63" name="TextBox 62"/>
          <p:cNvSpPr txBox="1"/>
          <p:nvPr/>
        </p:nvSpPr>
        <p:spPr>
          <a:xfrm>
            <a:off x="5443175" y="4688844"/>
            <a:ext cx="4118338" cy="1569660"/>
          </a:xfrm>
          <a:prstGeom prst="rect">
            <a:avLst/>
          </a:prstGeom>
          <a:noFill/>
        </p:spPr>
        <p:txBody>
          <a:bodyPr wrap="square" rtlCol="0">
            <a:spAutoFit/>
          </a:bodyPr>
          <a:lstStyle>
            <a:defPPr>
              <a:defRPr lang="en-US"/>
            </a:defPPr>
            <a:lvl2pPr marL="180975" lvl="1" algn="l" defTabSz="873125">
              <a:defRPr sz="1400">
                <a:solidFill>
                  <a:prstClr val="black"/>
                </a:solidFill>
                <a:latin typeface="Franklin Gothic Book" pitchFamily="34" charset="0"/>
                <a:cs typeface="Calibri" pitchFamily="34" charset="0"/>
              </a:defRPr>
            </a:lvl2pPr>
          </a:lstStyle>
          <a:p>
            <a:pPr algn="ctr" defTabSz="457200"/>
            <a:r>
              <a:rPr lang="en-US" sz="2400" b="0" dirty="0" smtClean="0">
                <a:solidFill>
                  <a:prstClr val="black"/>
                </a:solidFill>
                <a:latin typeface="+mj-lt"/>
              </a:rPr>
              <a:t>After MBB rollout in the city of Recife, traffic volume and number of simultaneous users have been increased</a:t>
            </a:r>
            <a:r>
              <a:rPr lang="en-US" sz="1600" b="0" dirty="0" smtClean="0">
                <a:solidFill>
                  <a:prstClr val="black"/>
                </a:solidFill>
                <a:latin typeface="+mj-lt"/>
              </a:rPr>
              <a:t>.</a:t>
            </a:r>
            <a:endParaRPr lang="en-US" sz="1600" b="0" dirty="0">
              <a:solidFill>
                <a:prstClr val="black"/>
              </a:solidFill>
              <a:latin typeface="+mj-lt"/>
            </a:endParaRPr>
          </a:p>
        </p:txBody>
      </p:sp>
      <p:sp>
        <p:nvSpPr>
          <p:cNvPr id="64" name="Rectangle 63"/>
          <p:cNvSpPr/>
          <p:nvPr/>
        </p:nvSpPr>
        <p:spPr bwMode="auto">
          <a:xfrm>
            <a:off x="5443174" y="4710132"/>
            <a:ext cx="4118339" cy="1548372"/>
          </a:xfrm>
          <a:prstGeom prst="rect">
            <a:avLst/>
          </a:prstGeom>
          <a:noFill/>
          <a:ln w="12700">
            <a:solidFill>
              <a:srgbClr val="0070C0"/>
            </a:solidFill>
            <a:prstDash val="sysDot"/>
          </a:ln>
          <a:extLst/>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US" sz="2800" b="0">
              <a:solidFill>
                <a:prstClr val="black"/>
              </a:solidFill>
              <a:latin typeface="+mj-lt"/>
            </a:endParaRPr>
          </a:p>
        </p:txBody>
      </p:sp>
      <p:sp>
        <p:nvSpPr>
          <p:cNvPr id="65" name="TextBox 64"/>
          <p:cNvSpPr txBox="1"/>
          <p:nvPr/>
        </p:nvSpPr>
        <p:spPr>
          <a:xfrm>
            <a:off x="4232920" y="868650"/>
            <a:ext cx="878189" cy="400110"/>
          </a:xfrm>
          <a:prstGeom prst="rect">
            <a:avLst/>
          </a:prstGeom>
          <a:noFill/>
        </p:spPr>
        <p:txBody>
          <a:bodyPr wrap="none" rtlCol="0">
            <a:spAutoFit/>
          </a:bodyPr>
          <a:lstStyle/>
          <a:p>
            <a:r>
              <a:rPr lang="pt-BR" sz="2000" dirty="0">
                <a:solidFill>
                  <a:schemeClr val="accent1"/>
                </a:solidFill>
                <a:latin typeface="+mj-lt"/>
                <a:cs typeface="Arial" pitchFamily="34" charset="0"/>
              </a:rPr>
              <a:t>Recife</a:t>
            </a:r>
          </a:p>
        </p:txBody>
      </p:sp>
    </p:spTree>
    <p:extLst>
      <p:ext uri="{BB962C8B-B14F-4D97-AF65-F5344CB8AC3E}">
        <p14:creationId xmlns="" xmlns:p14="http://schemas.microsoft.com/office/powerpoint/2010/main" val="557336817"/>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p:cNvGraphicFramePr/>
          <p:nvPr/>
        </p:nvGraphicFramePr>
        <p:xfrm>
          <a:off x="773877" y="1214422"/>
          <a:ext cx="7352160" cy="142876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2" name="Group 4"/>
          <p:cNvGrpSpPr>
            <a:grpSpLocks/>
          </p:cNvGrpSpPr>
          <p:nvPr/>
        </p:nvGrpSpPr>
        <p:grpSpPr bwMode="auto">
          <a:xfrm>
            <a:off x="975876" y="2978154"/>
            <a:ext cx="2753387" cy="950913"/>
            <a:chOff x="0" y="-28117"/>
            <a:chExt cx="2324068" cy="570345"/>
          </a:xfrm>
        </p:grpSpPr>
        <p:sp>
          <p:nvSpPr>
            <p:cNvPr id="7" name="Rounded Rectangle 6"/>
            <p:cNvSpPr/>
            <p:nvPr/>
          </p:nvSpPr>
          <p:spPr>
            <a:xfrm>
              <a:off x="0" y="-28117"/>
              <a:ext cx="2324068" cy="570345"/>
            </a:xfrm>
            <a:prstGeom prst="roundRect">
              <a:avLst/>
            </a:prstGeom>
            <a:solidFill>
              <a:schemeClr val="accent1">
                <a:lumMod val="60000"/>
                <a:lumOff val="4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8" name="Rounded Rectangle 4"/>
            <p:cNvSpPr/>
            <p:nvPr/>
          </p:nvSpPr>
          <p:spPr>
            <a:xfrm>
              <a:off x="0" y="29013"/>
              <a:ext cx="2296486" cy="513215"/>
            </a:xfrm>
            <a:prstGeom prst="rect">
              <a:avLst/>
            </a:prstGeom>
          </p:spPr>
          <p:style>
            <a:lnRef idx="0">
              <a:scrgbClr r="0" g="0" b="0"/>
            </a:lnRef>
            <a:fillRef idx="0">
              <a:scrgbClr r="0" g="0" b="0"/>
            </a:fillRef>
            <a:effectRef idx="0">
              <a:scrgbClr r="0" g="0" b="0"/>
            </a:effectRef>
            <a:fontRef idx="minor">
              <a:schemeClr val="lt1"/>
            </a:fontRef>
          </p:style>
          <p:txBody>
            <a:bodyPr lIns="68580" tIns="68580" rIns="68580" bIns="68580" spcCol="1270" anchor="ctr"/>
            <a:lstStyle/>
            <a:p>
              <a:pPr algn="ctr" defTabSz="800100" eaLnBrk="0" hangingPunct="0">
                <a:lnSpc>
                  <a:spcPct val="90000"/>
                </a:lnSpc>
                <a:spcAft>
                  <a:spcPct val="35000"/>
                </a:spcAft>
                <a:defRPr/>
              </a:pPr>
              <a:r>
                <a:rPr lang="pt-BR" sz="1800" dirty="0"/>
                <a:t>Inovação Relevante</a:t>
              </a:r>
            </a:p>
          </p:txBody>
        </p:sp>
      </p:grpSp>
      <p:grpSp>
        <p:nvGrpSpPr>
          <p:cNvPr id="3" name="Group 4"/>
          <p:cNvGrpSpPr>
            <a:grpSpLocks/>
          </p:cNvGrpSpPr>
          <p:nvPr/>
        </p:nvGrpSpPr>
        <p:grpSpPr bwMode="auto">
          <a:xfrm>
            <a:off x="975876" y="4049731"/>
            <a:ext cx="2753387" cy="950912"/>
            <a:chOff x="0" y="-28117"/>
            <a:chExt cx="2324068" cy="570345"/>
          </a:xfrm>
        </p:grpSpPr>
        <p:sp>
          <p:nvSpPr>
            <p:cNvPr id="10" name="Rounded Rectangle 9"/>
            <p:cNvSpPr/>
            <p:nvPr/>
          </p:nvSpPr>
          <p:spPr>
            <a:xfrm>
              <a:off x="0" y="-28117"/>
              <a:ext cx="2324068" cy="570345"/>
            </a:xfrm>
            <a:prstGeom prst="roundRect">
              <a:avLst/>
            </a:prstGeom>
            <a:solidFill>
              <a:schemeClr val="accent1">
                <a:lumMod val="60000"/>
                <a:lumOff val="4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1" name="Rounded Rectangle 4"/>
            <p:cNvSpPr/>
            <p:nvPr/>
          </p:nvSpPr>
          <p:spPr>
            <a:xfrm>
              <a:off x="0" y="29013"/>
              <a:ext cx="2296486" cy="513215"/>
            </a:xfrm>
            <a:prstGeom prst="rect">
              <a:avLst/>
            </a:prstGeom>
          </p:spPr>
          <p:style>
            <a:lnRef idx="0">
              <a:scrgbClr r="0" g="0" b="0"/>
            </a:lnRef>
            <a:fillRef idx="0">
              <a:scrgbClr r="0" g="0" b="0"/>
            </a:fillRef>
            <a:effectRef idx="0">
              <a:scrgbClr r="0" g="0" b="0"/>
            </a:effectRef>
            <a:fontRef idx="minor">
              <a:schemeClr val="lt1"/>
            </a:fontRef>
          </p:style>
          <p:txBody>
            <a:bodyPr lIns="68580" tIns="68580" rIns="68580" bIns="68580" spcCol="1270" anchor="ctr"/>
            <a:lstStyle/>
            <a:p>
              <a:pPr algn="ctr" defTabSz="800100" eaLnBrk="0" hangingPunct="0">
                <a:lnSpc>
                  <a:spcPct val="90000"/>
                </a:lnSpc>
                <a:spcAft>
                  <a:spcPct val="35000"/>
                </a:spcAft>
                <a:defRPr/>
              </a:pPr>
              <a:r>
                <a:rPr lang="pt-BR" sz="1800" dirty="0"/>
                <a:t>Qualidade</a:t>
              </a:r>
            </a:p>
          </p:txBody>
        </p:sp>
      </p:grpSp>
      <p:grpSp>
        <p:nvGrpSpPr>
          <p:cNvPr id="4" name="Group 4"/>
          <p:cNvGrpSpPr>
            <a:grpSpLocks/>
          </p:cNvGrpSpPr>
          <p:nvPr/>
        </p:nvGrpSpPr>
        <p:grpSpPr bwMode="auto">
          <a:xfrm>
            <a:off x="975876" y="5121294"/>
            <a:ext cx="2753387" cy="950913"/>
            <a:chOff x="0" y="-28117"/>
            <a:chExt cx="2324068" cy="570345"/>
          </a:xfrm>
        </p:grpSpPr>
        <p:sp>
          <p:nvSpPr>
            <p:cNvPr id="13" name="Rounded Rectangle 12"/>
            <p:cNvSpPr/>
            <p:nvPr/>
          </p:nvSpPr>
          <p:spPr>
            <a:xfrm>
              <a:off x="0" y="-28117"/>
              <a:ext cx="2324068" cy="570345"/>
            </a:xfrm>
            <a:prstGeom prst="roundRect">
              <a:avLst/>
            </a:prstGeom>
            <a:solidFill>
              <a:schemeClr val="accent1">
                <a:lumMod val="60000"/>
                <a:lumOff val="4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4" name="Rounded Rectangle 4"/>
            <p:cNvSpPr/>
            <p:nvPr/>
          </p:nvSpPr>
          <p:spPr>
            <a:xfrm>
              <a:off x="0" y="29013"/>
              <a:ext cx="2296486" cy="513215"/>
            </a:xfrm>
            <a:prstGeom prst="rect">
              <a:avLst/>
            </a:prstGeom>
          </p:spPr>
          <p:style>
            <a:lnRef idx="0">
              <a:scrgbClr r="0" g="0" b="0"/>
            </a:lnRef>
            <a:fillRef idx="0">
              <a:scrgbClr r="0" g="0" b="0"/>
            </a:fillRef>
            <a:effectRef idx="0">
              <a:scrgbClr r="0" g="0" b="0"/>
            </a:effectRef>
            <a:fontRef idx="minor">
              <a:schemeClr val="lt1"/>
            </a:fontRef>
          </p:style>
          <p:txBody>
            <a:bodyPr lIns="68580" tIns="68580" rIns="68580" bIns="68580" spcCol="1270" anchor="ctr"/>
            <a:lstStyle/>
            <a:p>
              <a:pPr algn="ctr" defTabSz="800100" eaLnBrk="0" hangingPunct="0">
                <a:lnSpc>
                  <a:spcPct val="90000"/>
                </a:lnSpc>
                <a:spcAft>
                  <a:spcPct val="35000"/>
                </a:spcAft>
                <a:defRPr/>
              </a:pPr>
              <a:r>
                <a:rPr lang="pt-BR" sz="1800" dirty="0"/>
                <a:t>Transparência</a:t>
              </a:r>
            </a:p>
          </p:txBody>
        </p:sp>
      </p:grpSp>
      <p:grpSp>
        <p:nvGrpSpPr>
          <p:cNvPr id="5" name="Group 4"/>
          <p:cNvGrpSpPr>
            <a:grpSpLocks/>
          </p:cNvGrpSpPr>
          <p:nvPr/>
        </p:nvGrpSpPr>
        <p:grpSpPr bwMode="auto">
          <a:xfrm>
            <a:off x="5110256" y="2763836"/>
            <a:ext cx="2753387" cy="1165231"/>
            <a:chOff x="0" y="-28117"/>
            <a:chExt cx="2324068" cy="570345"/>
          </a:xfrm>
        </p:grpSpPr>
        <p:sp>
          <p:nvSpPr>
            <p:cNvPr id="40" name="Rounded Rectangle 39"/>
            <p:cNvSpPr/>
            <p:nvPr/>
          </p:nvSpPr>
          <p:spPr>
            <a:xfrm>
              <a:off x="0" y="-28117"/>
              <a:ext cx="2324068" cy="570345"/>
            </a:xfrm>
            <a:prstGeom prst="roundRect">
              <a:avLst/>
            </a:prstGeom>
            <a:solidFill>
              <a:schemeClr val="accent1">
                <a:lumMod val="60000"/>
                <a:lumOff val="4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41" name="Rounded Rectangle 4"/>
            <p:cNvSpPr/>
            <p:nvPr/>
          </p:nvSpPr>
          <p:spPr>
            <a:xfrm>
              <a:off x="63236" y="18141"/>
              <a:ext cx="1997455" cy="454153"/>
            </a:xfrm>
            <a:prstGeom prst="rect">
              <a:avLst/>
            </a:prstGeom>
          </p:spPr>
          <p:style>
            <a:lnRef idx="0">
              <a:scrgbClr r="0" g="0" b="0"/>
            </a:lnRef>
            <a:fillRef idx="0">
              <a:scrgbClr r="0" g="0" b="0"/>
            </a:fillRef>
            <a:effectRef idx="0">
              <a:scrgbClr r="0" g="0" b="0"/>
            </a:effectRef>
            <a:fontRef idx="minor">
              <a:schemeClr val="lt1"/>
            </a:fontRef>
          </p:style>
          <p:txBody>
            <a:bodyPr lIns="68580" tIns="68580" rIns="68580" bIns="68580" spcCol="1270" anchor="ctr"/>
            <a:lstStyle/>
            <a:p>
              <a:pPr algn="ctr" defTabSz="800100" eaLnBrk="0" hangingPunct="0">
                <a:spcAft>
                  <a:spcPts val="0"/>
                </a:spcAft>
                <a:defRPr/>
              </a:pPr>
              <a:r>
                <a:rPr lang="pt-BR" sz="1400" dirty="0"/>
                <a:t>“DNA” </a:t>
              </a:r>
              <a:r>
                <a:rPr lang="pt-BR" sz="1400" dirty="0" smtClean="0"/>
                <a:t>TIM</a:t>
              </a:r>
            </a:p>
            <a:p>
              <a:pPr algn="ctr" defTabSz="800100" eaLnBrk="0" hangingPunct="0">
                <a:spcAft>
                  <a:spcPts val="0"/>
                </a:spcAft>
                <a:defRPr/>
              </a:pPr>
              <a:endParaRPr lang="pt-BR" sz="700" dirty="0"/>
            </a:p>
            <a:p>
              <a:pPr algn="ctr" defTabSz="800100" eaLnBrk="0" hangingPunct="0">
                <a:lnSpc>
                  <a:spcPct val="90000"/>
                </a:lnSpc>
                <a:spcAft>
                  <a:spcPts val="600"/>
                </a:spcAft>
                <a:buFont typeface="Wingdings" pitchFamily="2" charset="2"/>
                <a:buChar char="ü"/>
                <a:defRPr/>
              </a:pPr>
              <a:r>
                <a:rPr lang="pt-BR" sz="1400" dirty="0" smtClean="0"/>
                <a:t>LD </a:t>
              </a:r>
              <a:r>
                <a:rPr lang="pt-BR" sz="1400" dirty="0"/>
                <a:t>41</a:t>
              </a:r>
              <a:r>
                <a:rPr lang="pt-BR" sz="1400" dirty="0" smtClean="0"/>
                <a:t>,</a:t>
              </a:r>
            </a:p>
            <a:p>
              <a:pPr algn="ctr" defTabSz="800100" eaLnBrk="0" hangingPunct="0">
                <a:lnSpc>
                  <a:spcPct val="90000"/>
                </a:lnSpc>
                <a:spcAft>
                  <a:spcPts val="600"/>
                </a:spcAft>
                <a:buFont typeface="Wingdings" pitchFamily="2" charset="2"/>
                <a:buChar char="ü"/>
                <a:defRPr/>
              </a:pPr>
              <a:r>
                <a:rPr lang="pt-BR" sz="1400" dirty="0" smtClean="0"/>
                <a:t> </a:t>
              </a:r>
              <a:r>
                <a:rPr lang="pt-BR" sz="1400" dirty="0"/>
                <a:t>Infinity Web, </a:t>
              </a:r>
              <a:endParaRPr lang="pt-BR" sz="1400" dirty="0" smtClean="0"/>
            </a:p>
            <a:p>
              <a:pPr algn="ctr" defTabSz="800100" eaLnBrk="0" hangingPunct="0">
                <a:lnSpc>
                  <a:spcPct val="90000"/>
                </a:lnSpc>
                <a:spcAft>
                  <a:spcPts val="600"/>
                </a:spcAft>
                <a:buFont typeface="Wingdings" pitchFamily="2" charset="2"/>
                <a:buChar char="ü"/>
                <a:defRPr/>
              </a:pPr>
              <a:r>
                <a:rPr lang="pt-BR" sz="1400" dirty="0" smtClean="0"/>
                <a:t>Infinity Passsport</a:t>
              </a:r>
              <a:endParaRPr lang="pt-BR" sz="1400" dirty="0"/>
            </a:p>
          </p:txBody>
        </p:sp>
      </p:grpSp>
      <p:grpSp>
        <p:nvGrpSpPr>
          <p:cNvPr id="9" name="Group 4"/>
          <p:cNvGrpSpPr>
            <a:grpSpLocks/>
          </p:cNvGrpSpPr>
          <p:nvPr/>
        </p:nvGrpSpPr>
        <p:grpSpPr bwMode="auto">
          <a:xfrm>
            <a:off x="5110256" y="4049731"/>
            <a:ext cx="2753387" cy="950912"/>
            <a:chOff x="0" y="-28117"/>
            <a:chExt cx="2324068" cy="570345"/>
          </a:xfrm>
        </p:grpSpPr>
        <p:sp>
          <p:nvSpPr>
            <p:cNvPr id="43" name="Rounded Rectangle 42"/>
            <p:cNvSpPr/>
            <p:nvPr/>
          </p:nvSpPr>
          <p:spPr>
            <a:xfrm>
              <a:off x="0" y="-28117"/>
              <a:ext cx="2324068" cy="570345"/>
            </a:xfrm>
            <a:prstGeom prst="roundRect">
              <a:avLst/>
            </a:prstGeom>
            <a:solidFill>
              <a:schemeClr val="accent1">
                <a:lumMod val="60000"/>
                <a:lumOff val="4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44" name="Rounded Rectangle 4"/>
            <p:cNvSpPr/>
            <p:nvPr/>
          </p:nvSpPr>
          <p:spPr>
            <a:xfrm>
              <a:off x="0" y="29013"/>
              <a:ext cx="2296486" cy="513215"/>
            </a:xfrm>
            <a:prstGeom prst="rect">
              <a:avLst/>
            </a:prstGeom>
          </p:spPr>
          <p:style>
            <a:lnRef idx="0">
              <a:scrgbClr r="0" g="0" b="0"/>
            </a:lnRef>
            <a:fillRef idx="0">
              <a:scrgbClr r="0" g="0" b="0"/>
            </a:fillRef>
            <a:effectRef idx="0">
              <a:scrgbClr r="0" g="0" b="0"/>
            </a:effectRef>
            <a:fontRef idx="minor">
              <a:schemeClr val="lt1"/>
            </a:fontRef>
          </p:style>
          <p:txBody>
            <a:bodyPr lIns="68580" tIns="68580" rIns="68580" bIns="68580" spcCol="1270" anchor="ctr"/>
            <a:lstStyle/>
            <a:p>
              <a:pPr algn="ctr" defTabSz="800100" eaLnBrk="0" hangingPunct="0">
                <a:lnSpc>
                  <a:spcPct val="90000"/>
                </a:lnSpc>
                <a:spcAft>
                  <a:spcPct val="35000"/>
                </a:spcAft>
                <a:buFont typeface="Wingdings" pitchFamily="2" charset="2"/>
                <a:buChar char="ü"/>
                <a:defRPr/>
              </a:pPr>
              <a:r>
                <a:rPr lang="pt-BR" sz="1400" dirty="0"/>
                <a:t> Investimento</a:t>
              </a:r>
            </a:p>
            <a:p>
              <a:pPr algn="ctr" defTabSz="800100" eaLnBrk="0" hangingPunct="0">
                <a:lnSpc>
                  <a:spcPct val="90000"/>
                </a:lnSpc>
                <a:spcAft>
                  <a:spcPct val="35000"/>
                </a:spcAft>
                <a:buFont typeface="Wingdings" pitchFamily="2" charset="2"/>
                <a:buChar char="ü"/>
                <a:defRPr/>
              </a:pPr>
              <a:r>
                <a:rPr lang="pt-BR" sz="1400" dirty="0"/>
                <a:t>Infraestrutura</a:t>
              </a:r>
            </a:p>
            <a:p>
              <a:pPr algn="ctr" defTabSz="800100" eaLnBrk="0" hangingPunct="0">
                <a:lnSpc>
                  <a:spcPct val="90000"/>
                </a:lnSpc>
                <a:spcAft>
                  <a:spcPct val="35000"/>
                </a:spcAft>
                <a:buFont typeface="Wingdings" pitchFamily="2" charset="2"/>
                <a:buChar char="ü"/>
                <a:defRPr/>
              </a:pPr>
              <a:r>
                <a:rPr lang="pt-BR" sz="1400" dirty="0"/>
                <a:t> Relacionamento</a:t>
              </a:r>
            </a:p>
          </p:txBody>
        </p:sp>
      </p:grpSp>
      <p:grpSp>
        <p:nvGrpSpPr>
          <p:cNvPr id="12" name="Group 4"/>
          <p:cNvGrpSpPr>
            <a:grpSpLocks/>
          </p:cNvGrpSpPr>
          <p:nvPr/>
        </p:nvGrpSpPr>
        <p:grpSpPr bwMode="auto">
          <a:xfrm>
            <a:off x="5110256" y="5121294"/>
            <a:ext cx="2753387" cy="950913"/>
            <a:chOff x="0" y="-28117"/>
            <a:chExt cx="2324068" cy="570345"/>
          </a:xfrm>
        </p:grpSpPr>
        <p:sp>
          <p:nvSpPr>
            <p:cNvPr id="46" name="Rounded Rectangle 45"/>
            <p:cNvSpPr/>
            <p:nvPr/>
          </p:nvSpPr>
          <p:spPr>
            <a:xfrm>
              <a:off x="0" y="-28117"/>
              <a:ext cx="2324068" cy="570345"/>
            </a:xfrm>
            <a:prstGeom prst="roundRect">
              <a:avLst/>
            </a:prstGeom>
            <a:solidFill>
              <a:schemeClr val="accent1">
                <a:lumMod val="60000"/>
                <a:lumOff val="4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47" name="Rounded Rectangle 4"/>
            <p:cNvSpPr/>
            <p:nvPr/>
          </p:nvSpPr>
          <p:spPr>
            <a:xfrm>
              <a:off x="0" y="29013"/>
              <a:ext cx="2296486" cy="513215"/>
            </a:xfrm>
            <a:prstGeom prst="rect">
              <a:avLst/>
            </a:prstGeom>
          </p:spPr>
          <p:style>
            <a:lnRef idx="0">
              <a:scrgbClr r="0" g="0" b="0"/>
            </a:lnRef>
            <a:fillRef idx="0">
              <a:scrgbClr r="0" g="0" b="0"/>
            </a:fillRef>
            <a:effectRef idx="0">
              <a:scrgbClr r="0" g="0" b="0"/>
            </a:effectRef>
            <a:fontRef idx="minor">
              <a:schemeClr val="lt1"/>
            </a:fontRef>
          </p:style>
          <p:txBody>
            <a:bodyPr lIns="68580" tIns="68580" rIns="68580" bIns="68580" spcCol="1270" anchor="ctr"/>
            <a:lstStyle/>
            <a:p>
              <a:pPr algn="ctr" defTabSz="800100" eaLnBrk="0" hangingPunct="0">
                <a:lnSpc>
                  <a:spcPct val="90000"/>
                </a:lnSpc>
                <a:spcAft>
                  <a:spcPct val="35000"/>
                </a:spcAft>
                <a:defRPr/>
              </a:pPr>
              <a:r>
                <a:rPr lang="pt-BR" sz="1400" dirty="0"/>
                <a:t>Projeto</a:t>
              </a:r>
              <a:r>
                <a:rPr lang="pt-BR" sz="1800" dirty="0"/>
                <a:t> </a:t>
              </a:r>
              <a:r>
                <a:rPr lang="pt-BR" sz="1400" dirty="0"/>
                <a:t>Portas Abertas</a:t>
              </a:r>
            </a:p>
          </p:txBody>
        </p:sp>
      </p:grpSp>
      <p:sp>
        <p:nvSpPr>
          <p:cNvPr id="48" name="Chevron 47"/>
          <p:cNvSpPr/>
          <p:nvPr/>
        </p:nvSpPr>
        <p:spPr>
          <a:xfrm>
            <a:off x="4166091" y="3143250"/>
            <a:ext cx="524536" cy="484188"/>
          </a:xfrm>
          <a:prstGeom prst="chevron">
            <a:avLst/>
          </a:prstGeom>
          <a:gradFill>
            <a:gsLst>
              <a:gs pos="0">
                <a:srgbClr val="0B3066"/>
              </a:gs>
              <a:gs pos="100000">
                <a:schemeClr val="accent1">
                  <a:tint val="50000"/>
                  <a:shade val="100000"/>
                  <a:satMod val="350000"/>
                </a:schemeClr>
              </a:gs>
            </a:gsLst>
            <a:lin ang="16200000" scaled="0"/>
          </a:gradFill>
        </p:spPr>
        <p:style>
          <a:lnRef idx="1">
            <a:schemeClr val="accent1"/>
          </a:lnRef>
          <a:fillRef idx="3">
            <a:schemeClr val="accent1"/>
          </a:fillRef>
          <a:effectRef idx="2">
            <a:schemeClr val="accent1"/>
          </a:effectRef>
          <a:fontRef idx="minor">
            <a:schemeClr val="lt1"/>
          </a:fontRef>
        </p:style>
        <p:txBody>
          <a:bodyPr anchor="ctr"/>
          <a:lstStyle/>
          <a:p>
            <a:pPr algn="ctr" eaLnBrk="0" hangingPunct="0">
              <a:defRPr/>
            </a:pPr>
            <a:endParaRPr lang="pt-BR" sz="1800" dirty="0">
              <a:solidFill>
                <a:schemeClr val="tx1"/>
              </a:solidFill>
            </a:endParaRPr>
          </a:p>
        </p:txBody>
      </p:sp>
      <p:sp>
        <p:nvSpPr>
          <p:cNvPr id="49" name="Chevron 48"/>
          <p:cNvSpPr/>
          <p:nvPr/>
        </p:nvSpPr>
        <p:spPr>
          <a:xfrm>
            <a:off x="4179112" y="4302143"/>
            <a:ext cx="524537" cy="484188"/>
          </a:xfrm>
          <a:prstGeom prst="chevron">
            <a:avLst/>
          </a:prstGeom>
          <a:gradFill>
            <a:gsLst>
              <a:gs pos="0">
                <a:srgbClr val="0B3066"/>
              </a:gs>
              <a:gs pos="100000">
                <a:schemeClr val="accent1">
                  <a:tint val="50000"/>
                  <a:shade val="100000"/>
                  <a:satMod val="350000"/>
                </a:schemeClr>
              </a:gs>
            </a:gsLst>
          </a:gradFill>
        </p:spPr>
        <p:style>
          <a:lnRef idx="1">
            <a:schemeClr val="accent1"/>
          </a:lnRef>
          <a:fillRef idx="3">
            <a:schemeClr val="accent1"/>
          </a:fillRef>
          <a:effectRef idx="2">
            <a:schemeClr val="accent1"/>
          </a:effectRef>
          <a:fontRef idx="minor">
            <a:schemeClr val="lt1"/>
          </a:fontRef>
        </p:style>
        <p:txBody>
          <a:bodyPr anchor="ctr"/>
          <a:lstStyle/>
          <a:p>
            <a:pPr algn="ctr" eaLnBrk="0" hangingPunct="0">
              <a:defRPr/>
            </a:pPr>
            <a:endParaRPr lang="pt-BR" sz="1800" dirty="0">
              <a:solidFill>
                <a:schemeClr val="tx1"/>
              </a:solidFill>
            </a:endParaRPr>
          </a:p>
        </p:txBody>
      </p:sp>
      <p:sp>
        <p:nvSpPr>
          <p:cNvPr id="50" name="Chevron 49"/>
          <p:cNvSpPr/>
          <p:nvPr/>
        </p:nvSpPr>
        <p:spPr>
          <a:xfrm>
            <a:off x="4179112" y="5373707"/>
            <a:ext cx="524537" cy="484187"/>
          </a:xfrm>
          <a:prstGeom prst="chevron">
            <a:avLst/>
          </a:prstGeom>
          <a:gradFill>
            <a:gsLst>
              <a:gs pos="0">
                <a:srgbClr val="0B3066"/>
              </a:gs>
              <a:gs pos="100000">
                <a:schemeClr val="accent1">
                  <a:tint val="50000"/>
                  <a:shade val="100000"/>
                  <a:satMod val="350000"/>
                </a:schemeClr>
              </a:gs>
            </a:gsLst>
          </a:gradFill>
        </p:spPr>
        <p:style>
          <a:lnRef idx="1">
            <a:schemeClr val="accent1"/>
          </a:lnRef>
          <a:fillRef idx="3">
            <a:schemeClr val="accent1"/>
          </a:fillRef>
          <a:effectRef idx="2">
            <a:schemeClr val="accent1"/>
          </a:effectRef>
          <a:fontRef idx="minor">
            <a:schemeClr val="lt1"/>
          </a:fontRef>
        </p:style>
        <p:txBody>
          <a:bodyPr anchor="ctr"/>
          <a:lstStyle/>
          <a:p>
            <a:pPr algn="ctr" eaLnBrk="0" hangingPunct="0">
              <a:defRPr/>
            </a:pPr>
            <a:endParaRPr lang="pt-BR" sz="1800" dirty="0">
              <a:solidFill>
                <a:schemeClr val="tx1"/>
              </a:solidFill>
            </a:endParaRPr>
          </a:p>
        </p:txBody>
      </p:sp>
      <p:sp>
        <p:nvSpPr>
          <p:cNvPr id="25" name="Rectangle 24"/>
          <p:cNvSpPr/>
          <p:nvPr/>
        </p:nvSpPr>
        <p:spPr>
          <a:xfrm>
            <a:off x="3482568" y="6286520"/>
            <a:ext cx="2863473" cy="35719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dirty="0"/>
          </a:p>
        </p:txBody>
      </p:sp>
      <p:sp>
        <p:nvSpPr>
          <p:cNvPr id="27" name="Title 1"/>
          <p:cNvSpPr>
            <a:spLocks noGrp="1"/>
          </p:cNvSpPr>
          <p:nvPr>
            <p:ph type="title"/>
          </p:nvPr>
        </p:nvSpPr>
        <p:spPr>
          <a:xfrm>
            <a:off x="-35" y="-24"/>
            <a:ext cx="8915400" cy="533400"/>
          </a:xfrm>
        </p:spPr>
        <p:txBody>
          <a:bodyPr/>
          <a:lstStyle/>
          <a:p>
            <a:r>
              <a:rPr lang="en-US" sz="3600" dirty="0" err="1" smtClean="0">
                <a:latin typeface="Candara" pitchFamily="34" charset="0"/>
                <a:ea typeface="ＭＳ Ｐゴシック" pitchFamily="-84" charset="-128"/>
                <a:cs typeface="Trebuchet MS" pitchFamily="34" charset="0"/>
              </a:rPr>
              <a:t>Pilares</a:t>
            </a:r>
            <a:r>
              <a:rPr lang="en-US" sz="3600" dirty="0">
                <a:latin typeface="Candara" pitchFamily="34" charset="0"/>
                <a:ea typeface="ＭＳ Ｐゴシック" pitchFamily="-84" charset="-128"/>
                <a:cs typeface="Trebuchet MS" pitchFamily="34" charset="0"/>
              </a:rPr>
              <a:t> </a:t>
            </a:r>
            <a:r>
              <a:rPr lang="en-US" sz="3600" dirty="0" err="1" smtClean="0">
                <a:latin typeface="Candara" pitchFamily="34" charset="0"/>
                <a:ea typeface="ＭＳ Ｐゴシック" pitchFamily="-84" charset="-128"/>
                <a:cs typeface="Trebuchet MS" pitchFamily="34" charset="0"/>
              </a:rPr>
              <a:t>Estratégicos</a:t>
            </a:r>
            <a:r>
              <a:rPr lang="en-US" sz="3600" dirty="0" smtClean="0">
                <a:latin typeface="Candara" pitchFamily="34" charset="0"/>
                <a:ea typeface="ＭＳ Ｐゴシック" pitchFamily="-84" charset="-128"/>
                <a:cs typeface="Trebuchet MS" pitchFamily="34" charset="0"/>
              </a:rPr>
              <a:t> da TIM</a:t>
            </a:r>
          </a:p>
        </p:txBody>
      </p:sp>
    </p:spTree>
    <p:extLst>
      <p:ext uri="{BB962C8B-B14F-4D97-AF65-F5344CB8AC3E}">
        <p14:creationId xmlns="" xmlns:p14="http://schemas.microsoft.com/office/powerpoint/2010/main" val="338921787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2"/>
          <p:cNvSpPr>
            <a:spLocks noChangeArrowheads="1"/>
          </p:cNvSpPr>
          <p:nvPr/>
        </p:nvSpPr>
        <p:spPr bwMode="auto">
          <a:xfrm>
            <a:off x="1208584" y="4339035"/>
            <a:ext cx="6480000" cy="503999"/>
          </a:xfrm>
          <a:prstGeom prst="snip2DiagRect">
            <a:avLst/>
          </a:prstGeom>
          <a:solidFill>
            <a:srgbClr val="3E628A"/>
          </a:solidFill>
          <a:ln>
            <a:noFill/>
          </a:ln>
          <a:extLst>
            <a:ext uri="{91240B29-F687-4f45-9708-019B960494DF}">
              <a14:hiddenLine xmlns=""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lIns="87766" tIns="43883" rIns="87766" bIns="43883" rtlCol="0" anchor="ctr"/>
          <a:lstStyle/>
          <a:p>
            <a:pPr algn="ctr" eaLnBrk="0" hangingPunct="0"/>
            <a:endParaRPr lang="en-US" smtClean="0">
              <a:solidFill>
                <a:schemeClr val="lt1"/>
              </a:solidFill>
            </a:endParaRPr>
          </a:p>
        </p:txBody>
      </p:sp>
      <p:sp>
        <p:nvSpPr>
          <p:cNvPr id="7" name="Text Box 4"/>
          <p:cNvSpPr txBox="1">
            <a:spLocks noChangeArrowheads="1"/>
          </p:cNvSpPr>
          <p:nvPr/>
        </p:nvSpPr>
        <p:spPr bwMode="auto">
          <a:xfrm>
            <a:off x="1480300" y="1333918"/>
            <a:ext cx="7687545" cy="1880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03659" tIns="0" rIns="103659" bIns="0"/>
          <a:lstStyle>
            <a:lvl1pPr marL="365125" indent="-365125" defTabSz="450850" eaLnBrk="0" hangingPunct="0">
              <a:defRPr sz="1600" b="1">
                <a:solidFill>
                  <a:schemeClr val="tx1"/>
                </a:solidFill>
                <a:latin typeface="Arial" pitchFamily="34" charset="0"/>
                <a:cs typeface="Arial" pitchFamily="34" charset="0"/>
              </a:defRPr>
            </a:lvl1pPr>
            <a:lvl2pPr marL="742950" indent="-285750" defTabSz="450850" eaLnBrk="0" hangingPunct="0">
              <a:defRPr sz="1600" b="1">
                <a:solidFill>
                  <a:schemeClr val="tx1"/>
                </a:solidFill>
                <a:latin typeface="Arial" pitchFamily="34" charset="0"/>
                <a:cs typeface="Arial" pitchFamily="34" charset="0"/>
              </a:defRPr>
            </a:lvl2pPr>
            <a:lvl3pPr marL="1143000" indent="-228600" defTabSz="450850" eaLnBrk="0" hangingPunct="0">
              <a:defRPr sz="1600" b="1">
                <a:solidFill>
                  <a:schemeClr val="tx1"/>
                </a:solidFill>
                <a:latin typeface="Arial" pitchFamily="34" charset="0"/>
                <a:cs typeface="Arial" pitchFamily="34" charset="0"/>
              </a:defRPr>
            </a:lvl3pPr>
            <a:lvl4pPr marL="1600200" indent="-228600" defTabSz="450850" eaLnBrk="0" hangingPunct="0">
              <a:defRPr sz="1600" b="1">
                <a:solidFill>
                  <a:schemeClr val="tx1"/>
                </a:solidFill>
                <a:latin typeface="Arial" pitchFamily="34" charset="0"/>
                <a:cs typeface="Arial" pitchFamily="34" charset="0"/>
              </a:defRPr>
            </a:lvl4pPr>
            <a:lvl5pPr marL="2057400" indent="-228600" defTabSz="450850" eaLnBrk="0" hangingPunct="0">
              <a:defRPr sz="1600" b="1">
                <a:solidFill>
                  <a:schemeClr val="tx1"/>
                </a:solidFill>
                <a:latin typeface="Arial" pitchFamily="34" charset="0"/>
                <a:cs typeface="Arial" pitchFamily="34" charset="0"/>
              </a:defRPr>
            </a:lvl5pPr>
            <a:lvl6pPr marL="2514600" indent="-228600" defTabSz="450850" eaLnBrk="0" fontAlgn="base" hangingPunct="0">
              <a:spcBef>
                <a:spcPct val="0"/>
              </a:spcBef>
              <a:spcAft>
                <a:spcPct val="0"/>
              </a:spcAft>
              <a:defRPr sz="1600" b="1">
                <a:solidFill>
                  <a:schemeClr val="tx1"/>
                </a:solidFill>
                <a:latin typeface="Arial" pitchFamily="34" charset="0"/>
                <a:cs typeface="Arial" pitchFamily="34" charset="0"/>
              </a:defRPr>
            </a:lvl6pPr>
            <a:lvl7pPr marL="2971800" indent="-228600" defTabSz="450850" eaLnBrk="0" fontAlgn="base" hangingPunct="0">
              <a:spcBef>
                <a:spcPct val="0"/>
              </a:spcBef>
              <a:spcAft>
                <a:spcPct val="0"/>
              </a:spcAft>
              <a:defRPr sz="1600" b="1">
                <a:solidFill>
                  <a:schemeClr val="tx1"/>
                </a:solidFill>
                <a:latin typeface="Arial" pitchFamily="34" charset="0"/>
                <a:cs typeface="Arial" pitchFamily="34" charset="0"/>
              </a:defRPr>
            </a:lvl7pPr>
            <a:lvl8pPr marL="3429000" indent="-228600" defTabSz="450850" eaLnBrk="0" fontAlgn="base" hangingPunct="0">
              <a:spcBef>
                <a:spcPct val="0"/>
              </a:spcBef>
              <a:spcAft>
                <a:spcPct val="0"/>
              </a:spcAft>
              <a:defRPr sz="1600" b="1">
                <a:solidFill>
                  <a:schemeClr val="tx1"/>
                </a:solidFill>
                <a:latin typeface="Arial" pitchFamily="34" charset="0"/>
                <a:cs typeface="Arial" pitchFamily="34" charset="0"/>
              </a:defRPr>
            </a:lvl8pPr>
            <a:lvl9pPr marL="3886200" indent="-228600" defTabSz="450850" eaLnBrk="0" fontAlgn="base" hangingPunct="0">
              <a:spcBef>
                <a:spcPct val="0"/>
              </a:spcBef>
              <a:spcAft>
                <a:spcPct val="0"/>
              </a:spcAft>
              <a:defRPr sz="1600" b="1">
                <a:solidFill>
                  <a:schemeClr val="tx1"/>
                </a:solidFill>
                <a:latin typeface="Arial" pitchFamily="34" charset="0"/>
                <a:cs typeface="Arial" pitchFamily="34" charset="0"/>
              </a:defRPr>
            </a:lvl9pPr>
          </a:lstStyle>
          <a:p>
            <a:pPr eaLnBrk="1" hangingPunct="1">
              <a:lnSpc>
                <a:spcPct val="150000"/>
              </a:lnSpc>
              <a:spcBef>
                <a:spcPct val="60000"/>
              </a:spcBef>
              <a:buClr>
                <a:schemeClr val="bg1">
                  <a:lumMod val="65000"/>
                </a:schemeClr>
              </a:buClr>
              <a:buFont typeface="Webdings" pitchFamily="18" charset="2"/>
              <a:buChar char="4"/>
            </a:pPr>
            <a:r>
              <a:rPr lang="en-US" sz="2300" b="0" dirty="0">
                <a:solidFill>
                  <a:schemeClr val="bg1">
                    <a:lumMod val="75000"/>
                  </a:schemeClr>
                </a:solidFill>
                <a:latin typeface="Calibri" pitchFamily="34" charset="0"/>
              </a:rPr>
              <a:t>BACKBONE LD EVOLUTION</a:t>
            </a:r>
          </a:p>
          <a:p>
            <a:pPr eaLnBrk="1" hangingPunct="1">
              <a:lnSpc>
                <a:spcPct val="150000"/>
              </a:lnSpc>
              <a:spcBef>
                <a:spcPct val="60000"/>
              </a:spcBef>
              <a:buClr>
                <a:schemeClr val="bg1">
                  <a:lumMod val="65000"/>
                </a:schemeClr>
              </a:buClr>
              <a:buFont typeface="Webdings" pitchFamily="18" charset="2"/>
              <a:buChar char="4"/>
            </a:pPr>
            <a:r>
              <a:rPr lang="en-US" sz="2300" b="0" dirty="0">
                <a:solidFill>
                  <a:schemeClr val="bg1">
                    <a:lumMod val="75000"/>
                  </a:schemeClr>
                </a:solidFill>
                <a:latin typeface="Calibri" pitchFamily="34" charset="0"/>
              </a:rPr>
              <a:t>CASE LT AMAZONAS</a:t>
            </a:r>
          </a:p>
          <a:p>
            <a:pPr eaLnBrk="1" hangingPunct="1">
              <a:lnSpc>
                <a:spcPct val="150000"/>
              </a:lnSpc>
              <a:spcBef>
                <a:spcPct val="60000"/>
              </a:spcBef>
              <a:buClr>
                <a:schemeClr val="bg1">
                  <a:lumMod val="65000"/>
                </a:schemeClr>
              </a:buClr>
              <a:buFont typeface="Webdings" pitchFamily="18" charset="2"/>
              <a:buChar char="4"/>
            </a:pPr>
            <a:r>
              <a:rPr lang="en-US" sz="2300" b="0" dirty="0">
                <a:solidFill>
                  <a:schemeClr val="bg1">
                    <a:lumMod val="75000"/>
                  </a:schemeClr>
                </a:solidFill>
                <a:latin typeface="Calibri" pitchFamily="34" charset="0"/>
              </a:rPr>
              <a:t>FTTS</a:t>
            </a:r>
            <a:endParaRPr lang="pt-BR" sz="2300" b="0" dirty="0">
              <a:solidFill>
                <a:schemeClr val="bg1">
                  <a:lumMod val="75000"/>
                </a:schemeClr>
              </a:solidFill>
              <a:latin typeface="Calibri" pitchFamily="34" charset="0"/>
            </a:endParaRPr>
          </a:p>
          <a:p>
            <a:pPr eaLnBrk="1" hangingPunct="1">
              <a:lnSpc>
                <a:spcPct val="150000"/>
              </a:lnSpc>
              <a:spcBef>
                <a:spcPct val="60000"/>
              </a:spcBef>
              <a:buClr>
                <a:schemeClr val="bg1">
                  <a:lumMod val="65000"/>
                </a:schemeClr>
              </a:buClr>
              <a:buFont typeface="Webdings" pitchFamily="18" charset="2"/>
              <a:buChar char="4"/>
            </a:pPr>
            <a:r>
              <a:rPr lang="en-US" sz="2300" b="0" dirty="0">
                <a:solidFill>
                  <a:schemeClr val="bg1">
                    <a:lumMod val="75000"/>
                  </a:schemeClr>
                </a:solidFill>
                <a:latin typeface="Calibri" pitchFamily="34" charset="0"/>
              </a:rPr>
              <a:t>MBB</a:t>
            </a:r>
          </a:p>
          <a:p>
            <a:pPr eaLnBrk="1" hangingPunct="1">
              <a:lnSpc>
                <a:spcPct val="150000"/>
              </a:lnSpc>
              <a:spcBef>
                <a:spcPct val="60000"/>
              </a:spcBef>
              <a:buClr>
                <a:schemeClr val="bg1">
                  <a:lumMod val="65000"/>
                </a:schemeClr>
              </a:buClr>
              <a:buFont typeface="Webdings" pitchFamily="18" charset="2"/>
              <a:buChar char="4"/>
            </a:pPr>
            <a:r>
              <a:rPr lang="en-US" sz="2300" b="0" dirty="0">
                <a:solidFill>
                  <a:schemeClr val="bg1"/>
                </a:solidFill>
                <a:latin typeface="Calibri" pitchFamily="34" charset="0"/>
              </a:rPr>
              <a:t>LICENSING CHALLENGES</a:t>
            </a:r>
          </a:p>
        </p:txBody>
      </p:sp>
      <p:sp>
        <p:nvSpPr>
          <p:cNvPr id="8" name="Title 38"/>
          <p:cNvSpPr txBox="1">
            <a:spLocks/>
          </p:cNvSpPr>
          <p:nvPr/>
        </p:nvSpPr>
        <p:spPr>
          <a:xfrm>
            <a:off x="330224" y="227015"/>
            <a:ext cx="7980364" cy="457200"/>
          </a:xfrm>
          <a:prstGeom prst="rect">
            <a:avLst/>
          </a:prstGeom>
          <a:noFill/>
          <a:ln>
            <a:noFill/>
          </a:ln>
        </p:spPr>
        <p:txBody>
          <a:bodyPr vert="horz" wrap="square" lIns="0" tIns="0" rIns="0" bIns="0" numCol="1" anchor="ctr" anchorCtr="0" compatLnSpc="1">
            <a:prstTxWarp prst="textNoShape">
              <a:avLst/>
            </a:prstTxWarp>
          </a:bodyPr>
          <a:lstStyle/>
          <a:p>
            <a:pPr defTabSz="877654" eaLnBrk="0" hangingPunct="0">
              <a:lnSpc>
                <a:spcPct val="80000"/>
              </a:lnSpc>
              <a:defRPr/>
            </a:pPr>
            <a:r>
              <a:rPr lang="en-US" sz="2500" kern="0" dirty="0" smtClean="0">
                <a:solidFill>
                  <a:schemeClr val="bg1"/>
                </a:solidFill>
                <a:latin typeface="Calibri" pitchFamily="34" charset="0"/>
                <a:ea typeface="Arial" charset="0"/>
                <a:cs typeface="+mj-cs"/>
              </a:rPr>
              <a:t>AGENDA</a:t>
            </a:r>
            <a:endParaRPr lang="en-US" sz="2500" kern="0" dirty="0">
              <a:solidFill>
                <a:schemeClr val="bg1"/>
              </a:solidFill>
              <a:latin typeface="Calibri" pitchFamily="34" charset="0"/>
              <a:ea typeface="Arial" charset="0"/>
              <a:cs typeface="+mj-cs"/>
            </a:endParaRPr>
          </a:p>
        </p:txBody>
      </p:sp>
    </p:spTree>
    <p:extLst>
      <p:ext uri="{BB962C8B-B14F-4D97-AF65-F5344CB8AC3E}">
        <p14:creationId xmlns="" xmlns:p14="http://schemas.microsoft.com/office/powerpoint/2010/main" val="9957244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9" name="Rectangle 48"/>
          <p:cNvSpPr>
            <a:spLocks noChangeArrowheads="1"/>
          </p:cNvSpPr>
          <p:nvPr>
            <p:custDataLst>
              <p:tags r:id="rId1"/>
            </p:custDataLst>
          </p:nvPr>
        </p:nvSpPr>
        <p:spPr bwMode="auto">
          <a:xfrm>
            <a:off x="308014" y="227013"/>
            <a:ext cx="8281579"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lstStyle/>
          <a:p>
            <a:pPr>
              <a:lnSpc>
                <a:spcPct val="80000"/>
              </a:lnSpc>
            </a:pPr>
            <a:r>
              <a:rPr lang="en-US" sz="2600" dirty="0" smtClean="0">
                <a:solidFill>
                  <a:srgbClr val="FFFFFF"/>
                </a:solidFill>
                <a:latin typeface="+mn-lt"/>
              </a:rPr>
              <a:t>BACKHAULING : </a:t>
            </a:r>
            <a:r>
              <a:rPr lang="en-US" sz="2600" dirty="0">
                <a:solidFill>
                  <a:srgbClr val="FFFFFF"/>
                </a:solidFill>
                <a:latin typeface="+mn-lt"/>
              </a:rPr>
              <a:t>LICENSING CHALLENGES</a:t>
            </a:r>
          </a:p>
        </p:txBody>
      </p:sp>
      <p:sp>
        <p:nvSpPr>
          <p:cNvPr id="3" name="Rectangle 12"/>
          <p:cNvSpPr>
            <a:spLocks noChangeArrowheads="1"/>
          </p:cNvSpPr>
          <p:nvPr/>
        </p:nvSpPr>
        <p:spPr bwMode="auto">
          <a:xfrm>
            <a:off x="156646" y="934846"/>
            <a:ext cx="9585325" cy="5616624"/>
          </a:xfrm>
          <a:prstGeom prst="rect">
            <a:avLst/>
          </a:prstGeom>
          <a:solidFill>
            <a:srgbClr val="FFFFFF"/>
          </a:solidFill>
          <a:ln w="9525">
            <a:solidFill>
              <a:srgbClr val="97B3D1"/>
            </a:solidFill>
            <a:miter lim="800000"/>
            <a:headEnd/>
            <a:tailEnd/>
          </a:ln>
        </p:spPr>
        <p:txBody>
          <a:bodyPr tIns="82800" bIns="82800"/>
          <a:lstStyle/>
          <a:p>
            <a:pPr marL="185738" indent="-185738">
              <a:buFontTx/>
              <a:buChar char="•"/>
            </a:pPr>
            <a:endParaRPr lang="pt-BR" sz="1050" b="0" dirty="0" smtClean="0">
              <a:latin typeface="Calibri" pitchFamily="34" charset="0"/>
            </a:endParaRPr>
          </a:p>
          <a:p>
            <a:pPr lvl="1"/>
            <a:endParaRPr lang="it-IT" sz="1050" b="0" dirty="0">
              <a:latin typeface="Calibri" pitchFamily="34" charset="0"/>
            </a:endParaRPr>
          </a:p>
        </p:txBody>
      </p:sp>
      <p:sp>
        <p:nvSpPr>
          <p:cNvPr id="4" name="CaixaDeTexto 260"/>
          <p:cNvSpPr txBox="1"/>
          <p:nvPr/>
        </p:nvSpPr>
        <p:spPr>
          <a:xfrm>
            <a:off x="167653" y="954396"/>
            <a:ext cx="9585326" cy="232694"/>
          </a:xfrm>
          <a:prstGeom prst="rect">
            <a:avLst/>
          </a:prstGeom>
          <a:solidFill>
            <a:schemeClr val="tx1"/>
          </a:solidFill>
          <a:ln w="9525" algn="ctr">
            <a:noFill/>
            <a:miter lim="800000"/>
            <a:headEnd/>
            <a:tailEnd/>
          </a:ln>
        </p:spPr>
        <p:txBody>
          <a:bodyPr lIns="72000" tIns="72000" rIns="72000" bIns="72000" anchor="ctr"/>
          <a:lstStyle>
            <a:defPPr>
              <a:defRPr lang="en-US"/>
            </a:defPPr>
            <a:lvl1pPr eaLnBrk="0" fontAlgn="auto" hangingPunct="0">
              <a:spcBef>
                <a:spcPts val="0"/>
              </a:spcBef>
              <a:spcAft>
                <a:spcPts val="0"/>
              </a:spcAft>
              <a:defRPr sz="1100" kern="0">
                <a:solidFill>
                  <a:srgbClr val="FFFFFF"/>
                </a:solidFill>
                <a:latin typeface="Calibri" pitchFamily="34" charset="0"/>
              </a:defRPr>
            </a:lvl1pPr>
          </a:lstStyle>
          <a:p>
            <a:r>
              <a:rPr lang="pt-BR" sz="1050" dirty="0" smtClean="0"/>
              <a:t>CHALLENGES</a:t>
            </a:r>
            <a:endParaRPr lang="pt-BR" sz="1050" dirty="0"/>
          </a:p>
        </p:txBody>
      </p:sp>
      <p:sp>
        <p:nvSpPr>
          <p:cNvPr id="2" name="TextBox 1"/>
          <p:cNvSpPr txBox="1"/>
          <p:nvPr/>
        </p:nvSpPr>
        <p:spPr>
          <a:xfrm>
            <a:off x="141527" y="1297498"/>
            <a:ext cx="9585325" cy="3952363"/>
          </a:xfrm>
          <a:prstGeom prst="rect">
            <a:avLst/>
          </a:prstGeom>
          <a:noFill/>
        </p:spPr>
        <p:txBody>
          <a:bodyPr wrap="square" rtlCol="0">
            <a:spAutoFit/>
          </a:bodyPr>
          <a:lstStyle/>
          <a:p>
            <a:pPr>
              <a:lnSpc>
                <a:spcPct val="150000"/>
              </a:lnSpc>
            </a:pPr>
            <a:r>
              <a:rPr lang="x-none" sz="1400" b="0" u="sng" dirty="0" smtClean="0">
                <a:latin typeface="Calibri" pitchFamily="34" charset="0"/>
                <a:cs typeface="Calibri" pitchFamily="34" charset="0"/>
              </a:rPr>
              <a:t>Licenciamento Construção de redes de fibra óptica e sites</a:t>
            </a:r>
            <a:endParaRPr lang="en-US" sz="1400" b="0" u="sng" dirty="0" smtClean="0">
              <a:latin typeface="Calibri" pitchFamily="34" charset="0"/>
              <a:cs typeface="Calibri" pitchFamily="34" charset="0"/>
            </a:endParaRPr>
          </a:p>
          <a:p>
            <a:pPr>
              <a:lnSpc>
                <a:spcPct val="150000"/>
              </a:lnSpc>
            </a:pPr>
            <a:endParaRPr lang="en-US" sz="1400" b="0" dirty="0" smtClean="0">
              <a:latin typeface="Calibri" pitchFamily="34" charset="0"/>
              <a:cs typeface="Calibri" pitchFamily="34" charset="0"/>
            </a:endParaRPr>
          </a:p>
          <a:p>
            <a:pPr marL="742950" lvl="1" indent="-285750">
              <a:lnSpc>
                <a:spcPct val="150000"/>
              </a:lnSpc>
              <a:buFont typeface="Wingdings" pitchFamily="2" charset="2"/>
              <a:buChar char="ü"/>
            </a:pPr>
            <a:r>
              <a:rPr lang="pt-BR" sz="1400" b="0" dirty="0" smtClean="0">
                <a:latin typeface="Calibri" pitchFamily="34" charset="0"/>
                <a:cs typeface="Calibri" pitchFamily="34" charset="0"/>
              </a:rPr>
              <a:t>Número de pontos limitado por poste, inviabilizando novas redes fibra para conexão de sites.</a:t>
            </a:r>
            <a:endParaRPr lang="pt-BR" sz="1400" b="0" dirty="0">
              <a:latin typeface="Calibri" pitchFamily="34" charset="0"/>
              <a:cs typeface="Calibri" pitchFamily="34" charset="0"/>
            </a:endParaRPr>
          </a:p>
          <a:p>
            <a:pPr marL="742950" lvl="1" indent="-285750">
              <a:lnSpc>
                <a:spcPct val="150000"/>
              </a:lnSpc>
              <a:buFont typeface="Wingdings" pitchFamily="2" charset="2"/>
              <a:buChar char="ü"/>
            </a:pPr>
            <a:r>
              <a:rPr lang="pt-BR" sz="1400" b="0" dirty="0" smtClean="0">
                <a:latin typeface="Calibri" pitchFamily="34" charset="0"/>
                <a:cs typeface="Calibri" pitchFamily="34" charset="0"/>
              </a:rPr>
              <a:t>Tempo de aprovação dos projetos pelas prefeituras elevado, 60 a 120 dias. Cada município tem sua própria legislação</a:t>
            </a:r>
          </a:p>
          <a:p>
            <a:pPr marL="742950" lvl="1" indent="-285750">
              <a:lnSpc>
                <a:spcPct val="150000"/>
              </a:lnSpc>
              <a:buFont typeface="Wingdings" pitchFamily="2" charset="2"/>
              <a:buChar char="ü"/>
            </a:pPr>
            <a:r>
              <a:rPr lang="pt-BR" sz="1400" b="0" dirty="0" smtClean="0">
                <a:latin typeface="Calibri" pitchFamily="34" charset="0"/>
                <a:cs typeface="Calibri" pitchFamily="34" charset="0"/>
              </a:rPr>
              <a:t>Licenças ambientais com muitas restrições muitas vezes inviabilizando cobertura necessária</a:t>
            </a:r>
            <a:endParaRPr lang="pt-BR" sz="1400" b="0" dirty="0">
              <a:latin typeface="Calibri" pitchFamily="34" charset="0"/>
              <a:cs typeface="Calibri" pitchFamily="34" charset="0"/>
            </a:endParaRPr>
          </a:p>
          <a:p>
            <a:pPr marL="742950" lvl="1" indent="-285750">
              <a:lnSpc>
                <a:spcPct val="150000"/>
              </a:lnSpc>
              <a:buFont typeface="Wingdings" pitchFamily="2" charset="2"/>
              <a:buChar char="ü"/>
            </a:pPr>
            <a:r>
              <a:rPr lang="pt-BR" sz="1400" b="0" dirty="0" smtClean="0">
                <a:latin typeface="Calibri" pitchFamily="34" charset="0"/>
                <a:cs typeface="Calibri" pitchFamily="34" charset="0"/>
              </a:rPr>
              <a:t>Processo de aprovação dos </a:t>
            </a:r>
            <a:r>
              <a:rPr lang="pt-BR" sz="1400" b="0" dirty="0">
                <a:latin typeface="Calibri" pitchFamily="34" charset="0"/>
                <a:cs typeface="Calibri" pitchFamily="34" charset="0"/>
              </a:rPr>
              <a:t>projetos no </a:t>
            </a:r>
            <a:r>
              <a:rPr lang="pt-BR" sz="1400" b="0" dirty="0" smtClean="0">
                <a:latin typeface="Calibri" pitchFamily="34" charset="0"/>
                <a:cs typeface="Calibri" pitchFamily="34" charset="0"/>
              </a:rPr>
              <a:t>DNIT, DER  e ANTT muito moroso levando de 6 meses a 1 ano.</a:t>
            </a:r>
          </a:p>
          <a:p>
            <a:pPr marL="742950" lvl="1" indent="-285750">
              <a:lnSpc>
                <a:spcPct val="150000"/>
              </a:lnSpc>
              <a:buFont typeface="Wingdings" pitchFamily="2" charset="2"/>
              <a:buChar char="ü"/>
            </a:pPr>
            <a:r>
              <a:rPr lang="pt-BR" sz="1400" b="0" dirty="0" smtClean="0">
                <a:latin typeface="Calibri" pitchFamily="34" charset="0"/>
                <a:cs typeface="Calibri" pitchFamily="34" charset="0"/>
              </a:rPr>
              <a:t>Prazo de validade da licença inviabiliza solicitações planejadas dentro de um plano tri anual, pois perdem a validade na sua maioria em 1 ano, sendo revalidada somente se a obra estiver em andamento.</a:t>
            </a:r>
          </a:p>
          <a:p>
            <a:pPr marL="742950" lvl="1" indent="-285750">
              <a:lnSpc>
                <a:spcPct val="150000"/>
              </a:lnSpc>
              <a:buFont typeface="Wingdings" pitchFamily="2" charset="2"/>
              <a:buChar char="ü"/>
            </a:pPr>
            <a:endParaRPr lang="pt-BR" sz="1400" b="0" dirty="0">
              <a:latin typeface="Calibri" pitchFamily="34" charset="0"/>
              <a:cs typeface="Calibri" pitchFamily="34" charset="0"/>
            </a:endParaRPr>
          </a:p>
          <a:p>
            <a:pPr>
              <a:lnSpc>
                <a:spcPct val="150000"/>
              </a:lnSpc>
            </a:pPr>
            <a:endParaRPr lang="pt-BR" sz="1400" b="0" dirty="0" smtClean="0">
              <a:latin typeface="Calibri" pitchFamily="34" charset="0"/>
              <a:cs typeface="Calibri" pitchFamily="34" charset="0"/>
            </a:endParaRPr>
          </a:p>
          <a:p>
            <a:pPr>
              <a:lnSpc>
                <a:spcPct val="150000"/>
              </a:lnSpc>
            </a:pPr>
            <a:endParaRPr lang="pt-BR" sz="1400" b="0" dirty="0">
              <a:latin typeface="Calibri" pitchFamily="34" charset="0"/>
              <a:cs typeface="Calibri" pitchFamily="34" charset="0"/>
            </a:endParaRPr>
          </a:p>
          <a:p>
            <a:pPr>
              <a:lnSpc>
                <a:spcPct val="150000"/>
              </a:lnSpc>
            </a:pPr>
            <a:r>
              <a:rPr lang="pt-BR" sz="1400" b="0" dirty="0" smtClean="0">
                <a:latin typeface="Calibri" pitchFamily="34" charset="0"/>
                <a:cs typeface="Calibri" pitchFamily="34" charset="0"/>
              </a:rPr>
              <a:t>	</a:t>
            </a:r>
          </a:p>
        </p:txBody>
      </p:sp>
    </p:spTree>
    <p:extLst>
      <p:ext uri="{BB962C8B-B14F-4D97-AF65-F5344CB8AC3E}">
        <p14:creationId xmlns="" xmlns:p14="http://schemas.microsoft.com/office/powerpoint/2010/main" val="2599248684"/>
      </p:ext>
    </p:extLst>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1" descr="02-3059E-Template-PPT-Pag02-02-FB.jpg"/>
          <p:cNvPicPr>
            <a:picLocks noChangeAspect="1"/>
          </p:cNvPicPr>
          <p:nvPr/>
        </p:nvPicPr>
        <p:blipFill>
          <a:blip r:embed="rId3" cstate="print"/>
          <a:srcRect/>
          <a:stretch>
            <a:fillRect/>
          </a:stretch>
        </p:blipFill>
        <p:spPr bwMode="auto">
          <a:xfrm>
            <a:off x="0" y="0"/>
            <a:ext cx="9906000" cy="6858000"/>
          </a:xfrm>
          <a:prstGeom prst="rect">
            <a:avLst/>
          </a:prstGeom>
          <a:noFill/>
          <a:ln w="9525">
            <a:noFill/>
            <a:miter lim="800000"/>
            <a:headEnd/>
            <a:tailEnd/>
          </a:ln>
        </p:spPr>
      </p:pic>
      <p:sp>
        <p:nvSpPr>
          <p:cNvPr id="6147" name="Title 1"/>
          <p:cNvSpPr txBox="1">
            <a:spLocks/>
          </p:cNvSpPr>
          <p:nvPr/>
        </p:nvSpPr>
        <p:spPr bwMode="auto">
          <a:xfrm>
            <a:off x="541735" y="5645150"/>
            <a:ext cx="8684948" cy="927100"/>
          </a:xfrm>
          <a:prstGeom prst="rect">
            <a:avLst/>
          </a:prstGeom>
          <a:noFill/>
          <a:ln w="9525">
            <a:noFill/>
            <a:miter lim="800000"/>
            <a:headEnd/>
            <a:tailEnd/>
          </a:ln>
        </p:spPr>
        <p:txBody>
          <a:bodyPr lIns="0" rIns="0"/>
          <a:lstStyle/>
          <a:p>
            <a:pPr algn="l" eaLnBrk="1" hangingPunct="1"/>
            <a:r>
              <a:rPr lang="pt-BR" sz="2400" b="0" dirty="0" smtClean="0">
                <a:solidFill>
                  <a:srgbClr val="41B9EB"/>
                </a:solidFill>
                <a:latin typeface="Trebuchet MS" pitchFamily="34" charset="0"/>
              </a:rPr>
              <a:t>Obrigado!</a:t>
            </a:r>
            <a:endParaRPr lang="pt-BR" sz="2400" b="0" dirty="0">
              <a:solidFill>
                <a:srgbClr val="41B9EB"/>
              </a:solidFill>
              <a:latin typeface="Trebuchet MS" pitchFamily="34" charset="0"/>
            </a:endParaRPr>
          </a:p>
          <a:p>
            <a:pPr algn="l" eaLnBrk="1" hangingPunct="1"/>
            <a:r>
              <a:rPr lang="pt-BR" sz="3200" smtClean="0">
                <a:solidFill>
                  <a:schemeClr val="bg1"/>
                </a:solidFill>
                <a:latin typeface="Trebuchet MS" pitchFamily="34" charset="0"/>
              </a:rPr>
              <a:t>André Gustavo</a:t>
            </a:r>
            <a:endParaRPr lang="pt-BR" sz="3200" dirty="0">
              <a:solidFill>
                <a:schemeClr val="bg1"/>
              </a:solidFill>
              <a:latin typeface="Trebuchet MS" pitchFamily="34" charset="0"/>
            </a:endParaRPr>
          </a:p>
        </p:txBody>
      </p:sp>
    </p:spTree>
    <p:extLst>
      <p:ext uri="{BB962C8B-B14F-4D97-AF65-F5344CB8AC3E}">
        <p14:creationId xmlns="" xmlns:p14="http://schemas.microsoft.com/office/powerpoint/2010/main" val="216596449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1" descr="02-3059E-Template-PPT-Pag02-02-FB.jpg"/>
          <p:cNvPicPr>
            <a:picLocks noChangeAspect="1"/>
          </p:cNvPicPr>
          <p:nvPr/>
        </p:nvPicPr>
        <p:blipFill>
          <a:blip r:embed="rId3" cstate="print"/>
          <a:srcRect/>
          <a:stretch>
            <a:fillRect/>
          </a:stretch>
        </p:blipFill>
        <p:spPr bwMode="auto">
          <a:xfrm>
            <a:off x="0" y="0"/>
            <a:ext cx="9906000" cy="6858000"/>
          </a:xfrm>
          <a:prstGeom prst="rect">
            <a:avLst/>
          </a:prstGeom>
          <a:noFill/>
          <a:ln w="9525">
            <a:noFill/>
            <a:miter lim="800000"/>
            <a:headEnd/>
            <a:tailEnd/>
          </a:ln>
        </p:spPr>
      </p:pic>
      <p:sp>
        <p:nvSpPr>
          <p:cNvPr id="6147" name="Title 1"/>
          <p:cNvSpPr txBox="1">
            <a:spLocks/>
          </p:cNvSpPr>
          <p:nvPr/>
        </p:nvSpPr>
        <p:spPr bwMode="auto">
          <a:xfrm>
            <a:off x="541735" y="5645150"/>
            <a:ext cx="8684948" cy="927100"/>
          </a:xfrm>
          <a:prstGeom prst="rect">
            <a:avLst/>
          </a:prstGeom>
          <a:noFill/>
          <a:ln w="9525">
            <a:noFill/>
            <a:miter lim="800000"/>
            <a:headEnd/>
            <a:tailEnd/>
          </a:ln>
        </p:spPr>
        <p:txBody>
          <a:bodyPr lIns="0" rIns="0"/>
          <a:lstStyle/>
          <a:p>
            <a:pPr algn="l" eaLnBrk="1" hangingPunct="1"/>
            <a:r>
              <a:rPr lang="pt-BR" sz="2400" b="0" dirty="0" smtClean="0">
                <a:solidFill>
                  <a:srgbClr val="41B9EB"/>
                </a:solidFill>
                <a:latin typeface="Trebuchet MS" pitchFamily="34" charset="0"/>
              </a:rPr>
              <a:t>Qualidade</a:t>
            </a:r>
            <a:endParaRPr lang="pt-BR" sz="2400" b="0" dirty="0">
              <a:solidFill>
                <a:srgbClr val="41B9EB"/>
              </a:solidFill>
              <a:latin typeface="Trebuchet MS" pitchFamily="34" charset="0"/>
            </a:endParaRPr>
          </a:p>
          <a:p>
            <a:pPr algn="l" eaLnBrk="1" hangingPunct="1"/>
            <a:r>
              <a:rPr lang="pt-BR" sz="3200" dirty="0" smtClean="0">
                <a:solidFill>
                  <a:schemeClr val="bg1"/>
                </a:solidFill>
                <a:latin typeface="Trebuchet MS" pitchFamily="34" charset="0"/>
              </a:rPr>
              <a:t>Investimento e Infraestrutura</a:t>
            </a:r>
            <a:endParaRPr lang="pt-BR" sz="3200" dirty="0">
              <a:solidFill>
                <a:schemeClr val="bg1"/>
              </a:solidFill>
              <a:latin typeface="Trebuchet MS" pitchFamily="34" charset="0"/>
            </a:endParaRPr>
          </a:p>
        </p:txBody>
      </p:sp>
    </p:spTree>
    <p:extLst>
      <p:ext uri="{BB962C8B-B14F-4D97-AF65-F5344CB8AC3E}">
        <p14:creationId xmlns="" xmlns:p14="http://schemas.microsoft.com/office/powerpoint/2010/main" val="335742726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reeform 12"/>
          <p:cNvSpPr/>
          <p:nvPr/>
        </p:nvSpPr>
        <p:spPr>
          <a:xfrm>
            <a:off x="727499" y="2233602"/>
            <a:ext cx="8017669" cy="1260475"/>
          </a:xfrm>
          <a:custGeom>
            <a:avLst/>
            <a:gdLst>
              <a:gd name="connsiteX0" fmla="*/ 0 w 7400948"/>
              <a:gd name="connsiteY0" fmla="*/ 221242 h 2212415"/>
              <a:gd name="connsiteX1" fmla="*/ 64801 w 7400948"/>
              <a:gd name="connsiteY1" fmla="*/ 64800 h 2212415"/>
              <a:gd name="connsiteX2" fmla="*/ 221243 w 7400948"/>
              <a:gd name="connsiteY2" fmla="*/ 0 h 2212415"/>
              <a:gd name="connsiteX3" fmla="*/ 7179706 w 7400948"/>
              <a:gd name="connsiteY3" fmla="*/ 0 h 2212415"/>
              <a:gd name="connsiteX4" fmla="*/ 7336148 w 7400948"/>
              <a:gd name="connsiteY4" fmla="*/ 64801 h 2212415"/>
              <a:gd name="connsiteX5" fmla="*/ 7400948 w 7400948"/>
              <a:gd name="connsiteY5" fmla="*/ 221243 h 2212415"/>
              <a:gd name="connsiteX6" fmla="*/ 7400948 w 7400948"/>
              <a:gd name="connsiteY6" fmla="*/ 1991173 h 2212415"/>
              <a:gd name="connsiteX7" fmla="*/ 7336148 w 7400948"/>
              <a:gd name="connsiteY7" fmla="*/ 2147615 h 2212415"/>
              <a:gd name="connsiteX8" fmla="*/ 7179706 w 7400948"/>
              <a:gd name="connsiteY8" fmla="*/ 2212415 h 2212415"/>
              <a:gd name="connsiteX9" fmla="*/ 221242 w 7400948"/>
              <a:gd name="connsiteY9" fmla="*/ 2212415 h 2212415"/>
              <a:gd name="connsiteX10" fmla="*/ 64800 w 7400948"/>
              <a:gd name="connsiteY10" fmla="*/ 2147615 h 2212415"/>
              <a:gd name="connsiteX11" fmla="*/ 0 w 7400948"/>
              <a:gd name="connsiteY11" fmla="*/ 1991173 h 2212415"/>
              <a:gd name="connsiteX12" fmla="*/ 0 w 7400948"/>
              <a:gd name="connsiteY12" fmla="*/ 221242 h 2212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00948" h="2212415">
                <a:moveTo>
                  <a:pt x="0" y="221242"/>
                </a:moveTo>
                <a:cubicBezTo>
                  <a:pt x="0" y="162565"/>
                  <a:pt x="23310" y="106291"/>
                  <a:pt x="64801" y="64800"/>
                </a:cubicBezTo>
                <a:cubicBezTo>
                  <a:pt x="106292" y="23309"/>
                  <a:pt x="162566" y="0"/>
                  <a:pt x="221243" y="0"/>
                </a:cubicBezTo>
                <a:lnTo>
                  <a:pt x="7179706" y="0"/>
                </a:lnTo>
                <a:cubicBezTo>
                  <a:pt x="7238383" y="0"/>
                  <a:pt x="7294657" y="23310"/>
                  <a:pt x="7336148" y="64801"/>
                </a:cubicBezTo>
                <a:cubicBezTo>
                  <a:pt x="7377639" y="106292"/>
                  <a:pt x="7400948" y="162566"/>
                  <a:pt x="7400948" y="221243"/>
                </a:cubicBezTo>
                <a:lnTo>
                  <a:pt x="7400948" y="1991173"/>
                </a:lnTo>
                <a:cubicBezTo>
                  <a:pt x="7400948" y="2049850"/>
                  <a:pt x="7377639" y="2106124"/>
                  <a:pt x="7336148" y="2147615"/>
                </a:cubicBezTo>
                <a:cubicBezTo>
                  <a:pt x="7294657" y="2189106"/>
                  <a:pt x="7238383" y="2212415"/>
                  <a:pt x="7179706" y="2212415"/>
                </a:cubicBezTo>
                <a:lnTo>
                  <a:pt x="221242" y="2212415"/>
                </a:lnTo>
                <a:cubicBezTo>
                  <a:pt x="162565" y="2212415"/>
                  <a:pt x="106291" y="2189106"/>
                  <a:pt x="64800" y="2147615"/>
                </a:cubicBezTo>
                <a:cubicBezTo>
                  <a:pt x="23309" y="2106124"/>
                  <a:pt x="0" y="2049850"/>
                  <a:pt x="0" y="1991173"/>
                </a:cubicBezTo>
                <a:lnTo>
                  <a:pt x="0" y="221242"/>
                </a:lnTo>
                <a:close/>
              </a:path>
            </a:pathLst>
          </a:custGeom>
          <a:solidFill>
            <a:schemeClr val="accent1">
              <a:lumMod val="60000"/>
              <a:lumOff val="4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1762391" tIns="60960" rIns="60961" bIns="60960" spcCol="1270" anchor="ctr"/>
          <a:lstStyle/>
          <a:p>
            <a:pPr marL="174625" indent="-174625" algn="just" defTabSz="711200" eaLnBrk="0" hangingPunct="0">
              <a:lnSpc>
                <a:spcPct val="90000"/>
              </a:lnSpc>
              <a:spcAft>
                <a:spcPct val="35000"/>
              </a:spcAft>
              <a:buFont typeface="Wingdings" pitchFamily="2" charset="2"/>
              <a:buChar char="Ø"/>
              <a:defRPr/>
            </a:pPr>
            <a:endParaRPr lang="pt-BR" sz="1600" b="0" dirty="0"/>
          </a:p>
          <a:p>
            <a:pPr marL="174625" indent="-174625" algn="just" defTabSz="711200" eaLnBrk="0" hangingPunct="0">
              <a:lnSpc>
                <a:spcPct val="90000"/>
              </a:lnSpc>
              <a:spcAft>
                <a:spcPct val="35000"/>
              </a:spcAft>
              <a:buFont typeface="Wingdings" pitchFamily="2" charset="2"/>
              <a:buChar char="Ø"/>
              <a:defRPr/>
            </a:pPr>
            <a:r>
              <a:rPr lang="pt-BR" sz="1600" b="0" dirty="0"/>
              <a:t>R$ 10,7 bilhões para 2013-2015: mais de 90% em infraestrutura. </a:t>
            </a:r>
          </a:p>
          <a:p>
            <a:pPr lvl="0" algn="just">
              <a:buFont typeface="Wingdings" pitchFamily="2" charset="2"/>
              <a:buChar char="Ø"/>
            </a:pPr>
            <a:r>
              <a:rPr lang="pt-BR" sz="1600" dirty="0" smtClean="0">
                <a:latin typeface="Candara" pitchFamily="34" charset="0"/>
              </a:rPr>
              <a:t> Investimentos em 2013: </a:t>
            </a:r>
            <a:r>
              <a:rPr lang="pt-BR" sz="1600" b="0" dirty="0" smtClean="0">
                <a:latin typeface="Candara" pitchFamily="34" charset="0"/>
              </a:rPr>
              <a:t>a TIM aplicará R$ 3,6 bilhões em 2013, com foco na infraestrutura móvel para melhoria e ampliação da rede.</a:t>
            </a:r>
          </a:p>
          <a:p>
            <a:pPr marL="174625" indent="-174625" algn="just" defTabSz="711200" eaLnBrk="0" hangingPunct="0">
              <a:lnSpc>
                <a:spcPct val="90000"/>
              </a:lnSpc>
              <a:spcAft>
                <a:spcPct val="35000"/>
              </a:spcAft>
              <a:buFont typeface="Wingdings" pitchFamily="2" charset="2"/>
              <a:buChar char="Ø"/>
              <a:defRPr/>
            </a:pPr>
            <a:endParaRPr lang="pt-BR" sz="1600" b="0" dirty="0"/>
          </a:p>
        </p:txBody>
      </p:sp>
      <p:sp>
        <p:nvSpPr>
          <p:cNvPr id="14" name="Rounded Rectangle 13"/>
          <p:cNvSpPr/>
          <p:nvPr/>
        </p:nvSpPr>
        <p:spPr>
          <a:xfrm>
            <a:off x="827246" y="2406639"/>
            <a:ext cx="1602846" cy="893762"/>
          </a:xfrm>
          <a:prstGeom prst="roundRect">
            <a:avLst>
              <a:gd name="adj" fmla="val 10000"/>
            </a:avLst>
          </a:prstGeom>
          <a:blipFill rotWithShape="0">
            <a:blip r:embed="rId2" cstate="prin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5605" name="Title 1"/>
          <p:cNvSpPr txBox="1">
            <a:spLocks/>
          </p:cNvSpPr>
          <p:nvPr/>
        </p:nvSpPr>
        <p:spPr bwMode="auto">
          <a:xfrm>
            <a:off x="3900513" y="1785926"/>
            <a:ext cx="2166938" cy="533400"/>
          </a:xfrm>
          <a:prstGeom prst="rect">
            <a:avLst/>
          </a:prstGeom>
          <a:noFill/>
          <a:ln w="9525">
            <a:noFill/>
            <a:miter lim="800000"/>
            <a:headEnd/>
            <a:tailEnd/>
          </a:ln>
        </p:spPr>
        <p:txBody>
          <a:bodyPr anchor="ctr"/>
          <a:lstStyle/>
          <a:p>
            <a:pPr eaLnBrk="0" hangingPunct="0"/>
            <a:r>
              <a:rPr lang="en-US" sz="2400" dirty="0">
                <a:solidFill>
                  <a:srgbClr val="0B3066"/>
                </a:solidFill>
                <a:latin typeface="+mn-lt"/>
              </a:rPr>
              <a:t>Investimento</a:t>
            </a:r>
            <a:endParaRPr lang="en-US" sz="3600" dirty="0">
              <a:solidFill>
                <a:srgbClr val="0B3066"/>
              </a:solidFill>
              <a:latin typeface="+mn-lt"/>
            </a:endParaRPr>
          </a:p>
        </p:txBody>
      </p:sp>
      <p:sp>
        <p:nvSpPr>
          <p:cNvPr id="20" name="Freeform 19"/>
          <p:cNvSpPr/>
          <p:nvPr/>
        </p:nvSpPr>
        <p:spPr>
          <a:xfrm>
            <a:off x="727499" y="4233866"/>
            <a:ext cx="8017669" cy="1260475"/>
          </a:xfrm>
          <a:custGeom>
            <a:avLst/>
            <a:gdLst>
              <a:gd name="connsiteX0" fmla="*/ 0 w 7400948"/>
              <a:gd name="connsiteY0" fmla="*/ 221242 h 2212415"/>
              <a:gd name="connsiteX1" fmla="*/ 64801 w 7400948"/>
              <a:gd name="connsiteY1" fmla="*/ 64800 h 2212415"/>
              <a:gd name="connsiteX2" fmla="*/ 221243 w 7400948"/>
              <a:gd name="connsiteY2" fmla="*/ 0 h 2212415"/>
              <a:gd name="connsiteX3" fmla="*/ 7179706 w 7400948"/>
              <a:gd name="connsiteY3" fmla="*/ 0 h 2212415"/>
              <a:gd name="connsiteX4" fmla="*/ 7336148 w 7400948"/>
              <a:gd name="connsiteY4" fmla="*/ 64801 h 2212415"/>
              <a:gd name="connsiteX5" fmla="*/ 7400948 w 7400948"/>
              <a:gd name="connsiteY5" fmla="*/ 221243 h 2212415"/>
              <a:gd name="connsiteX6" fmla="*/ 7400948 w 7400948"/>
              <a:gd name="connsiteY6" fmla="*/ 1991173 h 2212415"/>
              <a:gd name="connsiteX7" fmla="*/ 7336148 w 7400948"/>
              <a:gd name="connsiteY7" fmla="*/ 2147615 h 2212415"/>
              <a:gd name="connsiteX8" fmla="*/ 7179706 w 7400948"/>
              <a:gd name="connsiteY8" fmla="*/ 2212415 h 2212415"/>
              <a:gd name="connsiteX9" fmla="*/ 221242 w 7400948"/>
              <a:gd name="connsiteY9" fmla="*/ 2212415 h 2212415"/>
              <a:gd name="connsiteX10" fmla="*/ 64800 w 7400948"/>
              <a:gd name="connsiteY10" fmla="*/ 2147615 h 2212415"/>
              <a:gd name="connsiteX11" fmla="*/ 0 w 7400948"/>
              <a:gd name="connsiteY11" fmla="*/ 1991173 h 2212415"/>
              <a:gd name="connsiteX12" fmla="*/ 0 w 7400948"/>
              <a:gd name="connsiteY12" fmla="*/ 221242 h 2212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00948" h="2212415">
                <a:moveTo>
                  <a:pt x="0" y="221242"/>
                </a:moveTo>
                <a:cubicBezTo>
                  <a:pt x="0" y="162565"/>
                  <a:pt x="23310" y="106291"/>
                  <a:pt x="64801" y="64800"/>
                </a:cubicBezTo>
                <a:cubicBezTo>
                  <a:pt x="106292" y="23309"/>
                  <a:pt x="162566" y="0"/>
                  <a:pt x="221243" y="0"/>
                </a:cubicBezTo>
                <a:lnTo>
                  <a:pt x="7179706" y="0"/>
                </a:lnTo>
                <a:cubicBezTo>
                  <a:pt x="7238383" y="0"/>
                  <a:pt x="7294657" y="23310"/>
                  <a:pt x="7336148" y="64801"/>
                </a:cubicBezTo>
                <a:cubicBezTo>
                  <a:pt x="7377639" y="106292"/>
                  <a:pt x="7400948" y="162566"/>
                  <a:pt x="7400948" y="221243"/>
                </a:cubicBezTo>
                <a:lnTo>
                  <a:pt x="7400948" y="1991173"/>
                </a:lnTo>
                <a:cubicBezTo>
                  <a:pt x="7400948" y="2049850"/>
                  <a:pt x="7377639" y="2106124"/>
                  <a:pt x="7336148" y="2147615"/>
                </a:cubicBezTo>
                <a:cubicBezTo>
                  <a:pt x="7294657" y="2189106"/>
                  <a:pt x="7238383" y="2212415"/>
                  <a:pt x="7179706" y="2212415"/>
                </a:cubicBezTo>
                <a:lnTo>
                  <a:pt x="221242" y="2212415"/>
                </a:lnTo>
                <a:cubicBezTo>
                  <a:pt x="162565" y="2212415"/>
                  <a:pt x="106291" y="2189106"/>
                  <a:pt x="64800" y="2147615"/>
                </a:cubicBezTo>
                <a:cubicBezTo>
                  <a:pt x="23309" y="2106124"/>
                  <a:pt x="0" y="2049850"/>
                  <a:pt x="0" y="1991173"/>
                </a:cubicBezTo>
                <a:lnTo>
                  <a:pt x="0" y="221242"/>
                </a:lnTo>
                <a:close/>
              </a:path>
            </a:pathLst>
          </a:custGeom>
          <a:solidFill>
            <a:schemeClr val="accent1">
              <a:lumMod val="60000"/>
              <a:lumOff val="4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1762391" tIns="60960" rIns="60961" bIns="60960" spcCol="1270" anchor="ctr"/>
          <a:lstStyle/>
          <a:p>
            <a:pPr marL="174625" indent="-174625" algn="just" defTabSz="711200" eaLnBrk="0" hangingPunct="0">
              <a:lnSpc>
                <a:spcPct val="90000"/>
              </a:lnSpc>
              <a:spcAft>
                <a:spcPct val="35000"/>
              </a:spcAft>
              <a:buFont typeface="Wingdings" pitchFamily="2" charset="2"/>
              <a:buChar char="Ø"/>
              <a:defRPr/>
            </a:pPr>
            <a:r>
              <a:rPr lang="pt-BR" sz="1600" b="0" dirty="0"/>
              <a:t>Ampliação da capacidade de voz e dados (mais de 66%).</a:t>
            </a:r>
            <a:r>
              <a:rPr lang="pt-BR" sz="1600" dirty="0"/>
              <a:t> </a:t>
            </a:r>
          </a:p>
          <a:p>
            <a:pPr marL="174625" indent="-174625" algn="just" defTabSz="711200" eaLnBrk="0" hangingPunct="0">
              <a:lnSpc>
                <a:spcPct val="90000"/>
              </a:lnSpc>
              <a:spcAft>
                <a:spcPct val="35000"/>
              </a:spcAft>
              <a:buFont typeface="Wingdings" pitchFamily="2" charset="2"/>
              <a:buChar char="Ø"/>
              <a:defRPr/>
            </a:pPr>
            <a:r>
              <a:rPr lang="pt-BR" sz="1600" dirty="0"/>
              <a:t>Projeto FTTS: </a:t>
            </a:r>
            <a:r>
              <a:rPr lang="pt-BR" sz="1600" b="0" dirty="0"/>
              <a:t>conexão de fibra às antenas.</a:t>
            </a:r>
          </a:p>
        </p:txBody>
      </p:sp>
      <p:sp>
        <p:nvSpPr>
          <p:cNvPr id="25607" name="Title 1"/>
          <p:cNvSpPr txBox="1">
            <a:spLocks/>
          </p:cNvSpPr>
          <p:nvPr/>
        </p:nvSpPr>
        <p:spPr bwMode="auto">
          <a:xfrm>
            <a:off x="3745733" y="3708390"/>
            <a:ext cx="2399110" cy="533400"/>
          </a:xfrm>
          <a:prstGeom prst="rect">
            <a:avLst/>
          </a:prstGeom>
          <a:noFill/>
          <a:ln w="9525">
            <a:noFill/>
            <a:miter lim="800000"/>
            <a:headEnd/>
            <a:tailEnd/>
          </a:ln>
        </p:spPr>
        <p:txBody>
          <a:bodyPr anchor="ctr"/>
          <a:lstStyle/>
          <a:p>
            <a:pPr eaLnBrk="0" hangingPunct="0"/>
            <a:r>
              <a:rPr lang="en-US" sz="2400" dirty="0">
                <a:solidFill>
                  <a:srgbClr val="0B3066"/>
                </a:solidFill>
                <a:latin typeface="+mn-lt"/>
              </a:rPr>
              <a:t>Infraestrutura</a:t>
            </a:r>
            <a:endParaRPr lang="en-US" sz="3600" dirty="0">
              <a:solidFill>
                <a:srgbClr val="0B3066"/>
              </a:solidFill>
              <a:latin typeface="+mn-lt"/>
            </a:endParaRPr>
          </a:p>
        </p:txBody>
      </p:sp>
      <p:sp>
        <p:nvSpPr>
          <p:cNvPr id="27" name="Rounded Rectangle 26"/>
          <p:cNvSpPr/>
          <p:nvPr/>
        </p:nvSpPr>
        <p:spPr>
          <a:xfrm>
            <a:off x="827246" y="4422778"/>
            <a:ext cx="1602846" cy="849313"/>
          </a:xfrm>
          <a:prstGeom prst="roundRect">
            <a:avLst>
              <a:gd name="adj" fmla="val 10000"/>
            </a:avLst>
          </a:prstGeom>
          <a:blipFill rotWithShape="0">
            <a:blip r:embed="rId3" cstate="prin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2" name="Title 1"/>
          <p:cNvSpPr txBox="1">
            <a:spLocks/>
          </p:cNvSpPr>
          <p:nvPr/>
        </p:nvSpPr>
        <p:spPr bwMode="auto">
          <a:xfrm>
            <a:off x="-35" y="466708"/>
            <a:ext cx="8915400" cy="5334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l" defTabSz="457200" rtl="0" eaLnBrk="0" fontAlgn="base" latinLnBrk="0" hangingPunct="0">
              <a:lnSpc>
                <a:spcPct val="80000"/>
              </a:lnSpc>
              <a:spcBef>
                <a:spcPct val="0"/>
              </a:spcBef>
              <a:spcAft>
                <a:spcPct val="0"/>
              </a:spcAft>
              <a:buClrTx/>
              <a:buSzTx/>
              <a:buFontTx/>
              <a:buNone/>
              <a:tabLst/>
              <a:defRPr/>
            </a:pPr>
            <a:r>
              <a:rPr kumimoji="0" lang="pt-BR" sz="2400" b="1" i="0" u="none" strike="noStrike" kern="1200" cap="none" spc="0" normalizeH="0" baseline="0" noProof="0" dirty="0" smtClean="0">
                <a:ln>
                  <a:noFill/>
                </a:ln>
                <a:solidFill>
                  <a:srgbClr val="FFC000"/>
                </a:solidFill>
                <a:effectLst/>
                <a:uLnTx/>
                <a:uFillTx/>
                <a:latin typeface="+mn-lt"/>
                <a:ea typeface="ＭＳ Ｐゴシック" pitchFamily="-65" charset="-128"/>
                <a:cs typeface="Trebuchet MS"/>
              </a:rPr>
              <a:t>Compromisso com Qualidade e Transparência</a:t>
            </a:r>
            <a:endParaRPr kumimoji="0" lang="en-US" sz="1800" b="1" i="0" u="none" strike="noStrike" kern="1200" cap="none" spc="0" normalizeH="0" baseline="0" noProof="0" dirty="0">
              <a:ln>
                <a:noFill/>
              </a:ln>
              <a:solidFill>
                <a:srgbClr val="FFC000"/>
              </a:solidFill>
              <a:effectLst/>
              <a:uLnTx/>
              <a:uFillTx/>
              <a:latin typeface="+mn-lt"/>
              <a:ea typeface="ＭＳ Ｐゴシック" pitchFamily="-65" charset="-128"/>
              <a:cs typeface="Trebuchet MS"/>
            </a:endParaRPr>
          </a:p>
        </p:txBody>
      </p:sp>
      <p:sp>
        <p:nvSpPr>
          <p:cNvPr id="17" name="Rectangle 16"/>
          <p:cNvSpPr/>
          <p:nvPr/>
        </p:nvSpPr>
        <p:spPr>
          <a:xfrm>
            <a:off x="3499756" y="6215082"/>
            <a:ext cx="2863473" cy="35719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dirty="0"/>
          </a:p>
        </p:txBody>
      </p:sp>
      <p:sp>
        <p:nvSpPr>
          <p:cNvPr id="16" name="Title 1"/>
          <p:cNvSpPr txBox="1">
            <a:spLocks/>
          </p:cNvSpPr>
          <p:nvPr/>
        </p:nvSpPr>
        <p:spPr bwMode="auto">
          <a:xfrm>
            <a:off x="-35" y="-24"/>
            <a:ext cx="8915400" cy="5334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3600" b="1" i="0" u="none" strike="noStrike" kern="1200" cap="none" spc="0" normalizeH="0" baseline="0" noProof="0" dirty="0" smtClean="0">
                <a:ln>
                  <a:noFill/>
                </a:ln>
                <a:solidFill>
                  <a:schemeClr val="bg1"/>
                </a:solidFill>
                <a:effectLst/>
                <a:uLnTx/>
                <a:uFillTx/>
                <a:latin typeface="Candara" pitchFamily="34" charset="0"/>
                <a:ea typeface="ＭＳ Ｐゴシック" pitchFamily="-84" charset="-128"/>
                <a:cs typeface="Trebuchet MS" pitchFamily="34" charset="0"/>
              </a:rPr>
              <a:t>Qualidade: </a:t>
            </a:r>
            <a:r>
              <a:rPr kumimoji="0" lang="pt-BR" sz="3600" b="1" i="0" u="none" strike="noStrike" kern="1200" cap="none" spc="0" normalizeH="0" baseline="0" noProof="0" dirty="0" smtClean="0">
                <a:ln>
                  <a:noFill/>
                </a:ln>
                <a:solidFill>
                  <a:schemeClr val="bg1"/>
                </a:solidFill>
                <a:effectLst/>
                <a:uLnTx/>
                <a:uFillTx/>
                <a:latin typeface="Candara" pitchFamily="34" charset="0"/>
                <a:ea typeface="ＭＳ Ｐゴシック" pitchFamily="-84" charset="-128"/>
                <a:cs typeface="Trebuchet MS" pitchFamily="34" charset="0"/>
              </a:rPr>
              <a:t>investimento</a:t>
            </a:r>
          </a:p>
        </p:txBody>
      </p:sp>
    </p:spTree>
    <p:extLst>
      <p:ext uri="{BB962C8B-B14F-4D97-AF65-F5344CB8AC3E}">
        <p14:creationId xmlns="" xmlns:p14="http://schemas.microsoft.com/office/powerpoint/2010/main" val="343992656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35" y="-24"/>
            <a:ext cx="8915400" cy="5334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3600" b="1" i="0" u="none" strike="noStrike" kern="1200" cap="none" spc="0" normalizeH="0" baseline="0" noProof="0" dirty="0" smtClean="0">
                <a:ln>
                  <a:noFill/>
                </a:ln>
                <a:solidFill>
                  <a:schemeClr val="bg1"/>
                </a:solidFill>
                <a:effectLst/>
                <a:uLnTx/>
                <a:uFillTx/>
                <a:latin typeface="Candara" pitchFamily="34" charset="0"/>
                <a:ea typeface="ＭＳ Ｐゴシック" pitchFamily="-84" charset="-128"/>
                <a:cs typeface="Trebuchet MS" pitchFamily="34" charset="0"/>
              </a:rPr>
              <a:t>Qualidade: </a:t>
            </a:r>
            <a:r>
              <a:rPr kumimoji="0" lang="pt-BR" sz="3600" b="1" i="0" u="none" strike="noStrike" kern="1200" cap="none" spc="0" normalizeH="0" baseline="0" noProof="0" dirty="0" smtClean="0">
                <a:ln>
                  <a:noFill/>
                </a:ln>
                <a:solidFill>
                  <a:schemeClr val="bg1"/>
                </a:solidFill>
                <a:effectLst/>
                <a:uLnTx/>
                <a:uFillTx/>
                <a:latin typeface="Candara" pitchFamily="34" charset="0"/>
                <a:ea typeface="ＭＳ Ｐゴシック" pitchFamily="-84" charset="-128"/>
                <a:cs typeface="Trebuchet MS" pitchFamily="34" charset="0"/>
              </a:rPr>
              <a:t>relacionamento</a:t>
            </a:r>
          </a:p>
        </p:txBody>
      </p:sp>
      <p:graphicFrame>
        <p:nvGraphicFramePr>
          <p:cNvPr id="5" name="Diagram 4"/>
          <p:cNvGraphicFramePr/>
          <p:nvPr/>
        </p:nvGraphicFramePr>
        <p:xfrm>
          <a:off x="495300" y="1357298"/>
          <a:ext cx="7940303" cy="464347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Rectangle 5"/>
          <p:cNvSpPr/>
          <p:nvPr/>
        </p:nvSpPr>
        <p:spPr>
          <a:xfrm>
            <a:off x="3499756" y="6215082"/>
            <a:ext cx="2863473" cy="35719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dirty="0"/>
          </a:p>
        </p:txBody>
      </p:sp>
    </p:spTree>
    <p:extLst>
      <p:ext uri="{BB962C8B-B14F-4D97-AF65-F5344CB8AC3E}">
        <p14:creationId xmlns="" xmlns:p14="http://schemas.microsoft.com/office/powerpoint/2010/main" val="44781665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Imagem 26"/>
          <p:cNvPicPr>
            <a:picLocks noChangeAspect="1"/>
          </p:cNvPicPr>
          <p:nvPr/>
        </p:nvPicPr>
        <p:blipFill>
          <a:blip r:embed="rId2" cstate="print"/>
          <a:stretch>
            <a:fillRect/>
          </a:stretch>
        </p:blipFill>
        <p:spPr>
          <a:xfrm>
            <a:off x="93092" y="1136705"/>
            <a:ext cx="5950720" cy="2292295"/>
          </a:xfrm>
          <a:prstGeom prst="rect">
            <a:avLst/>
          </a:prstGeom>
        </p:spPr>
      </p:pic>
      <p:pic>
        <p:nvPicPr>
          <p:cNvPr id="21" name="Imagem 20"/>
          <p:cNvPicPr>
            <a:picLocks noChangeAspect="1"/>
          </p:cNvPicPr>
          <p:nvPr/>
        </p:nvPicPr>
        <p:blipFill>
          <a:blip r:embed="rId3" cstate="print"/>
          <a:stretch>
            <a:fillRect/>
          </a:stretch>
        </p:blipFill>
        <p:spPr>
          <a:xfrm>
            <a:off x="93092" y="3577943"/>
            <a:ext cx="5950720" cy="2292295"/>
          </a:xfrm>
          <a:prstGeom prst="rect">
            <a:avLst/>
          </a:prstGeom>
        </p:spPr>
      </p:pic>
      <p:sp>
        <p:nvSpPr>
          <p:cNvPr id="35" name="TextBox 34"/>
          <p:cNvSpPr txBox="1"/>
          <p:nvPr/>
        </p:nvSpPr>
        <p:spPr>
          <a:xfrm>
            <a:off x="10873835" y="2928935"/>
            <a:ext cx="2476517" cy="246221"/>
          </a:xfrm>
          <a:prstGeom prst="rect">
            <a:avLst/>
          </a:prstGeom>
          <a:noFill/>
        </p:spPr>
        <p:txBody>
          <a:bodyPr wrap="square" rtlCol="0">
            <a:spAutoFit/>
          </a:bodyPr>
          <a:lstStyle/>
          <a:p>
            <a:endParaRPr lang="pt-BR" sz="1000" dirty="0" smtClean="0"/>
          </a:p>
        </p:txBody>
      </p:sp>
      <p:sp>
        <p:nvSpPr>
          <p:cNvPr id="51" name="Rectangle 50"/>
          <p:cNvSpPr/>
          <p:nvPr/>
        </p:nvSpPr>
        <p:spPr>
          <a:xfrm>
            <a:off x="3482568" y="6286520"/>
            <a:ext cx="2863473" cy="35719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dirty="0"/>
          </a:p>
        </p:txBody>
      </p:sp>
      <p:sp>
        <p:nvSpPr>
          <p:cNvPr id="55" name="Retângulo de cantos arredondados 4"/>
          <p:cNvSpPr/>
          <p:nvPr/>
        </p:nvSpPr>
        <p:spPr>
          <a:xfrm>
            <a:off x="868149" y="5924762"/>
            <a:ext cx="7257889" cy="828000"/>
          </a:xfrm>
          <a:prstGeom prst="roundRect">
            <a:avLst>
              <a:gd name="adj" fmla="val 21779"/>
            </a:avLst>
          </a:prstGeom>
          <a:noFill/>
          <a:ln w="12700">
            <a:solidFill>
              <a:schemeClr val="bg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pt-BR" sz="1200" b="0" dirty="0">
                <a:solidFill>
                  <a:srgbClr val="002060"/>
                </a:solidFill>
                <a:latin typeface="Arial" pitchFamily="34" charset="0"/>
                <a:ea typeface="Tahoma" panose="020B0604030504040204" pitchFamily="34" charset="0"/>
                <a:cs typeface="Arial" pitchFamily="34" charset="0"/>
              </a:rPr>
              <a:t>O mercado registra aumento de </a:t>
            </a:r>
            <a:r>
              <a:rPr lang="pt-BR" sz="1200" b="0" dirty="0" smtClean="0">
                <a:solidFill>
                  <a:srgbClr val="002060"/>
                </a:solidFill>
                <a:latin typeface="Arial" pitchFamily="34" charset="0"/>
                <a:ea typeface="Tahoma" panose="020B0604030504040204" pitchFamily="34" charset="0"/>
                <a:cs typeface="Arial" pitchFamily="34" charset="0"/>
              </a:rPr>
              <a:t>50% </a:t>
            </a:r>
            <a:r>
              <a:rPr lang="pt-BR" sz="1200" b="0" dirty="0">
                <a:solidFill>
                  <a:srgbClr val="002060"/>
                </a:solidFill>
                <a:latin typeface="Arial" pitchFamily="34" charset="0"/>
                <a:ea typeface="Tahoma" panose="020B0604030504040204" pitchFamily="34" charset="0"/>
                <a:cs typeface="Arial" pitchFamily="34" charset="0"/>
              </a:rPr>
              <a:t>no número de reclamações entre </a:t>
            </a:r>
            <a:r>
              <a:rPr lang="pt-BR" sz="1200" b="0" dirty="0" smtClean="0">
                <a:solidFill>
                  <a:srgbClr val="002060"/>
                </a:solidFill>
                <a:latin typeface="Arial" pitchFamily="34" charset="0"/>
                <a:ea typeface="Tahoma" panose="020B0604030504040204" pitchFamily="34" charset="0"/>
                <a:cs typeface="Arial" pitchFamily="34" charset="0"/>
              </a:rPr>
              <a:t>1º Sem/11  </a:t>
            </a:r>
            <a:r>
              <a:rPr lang="pt-BR" sz="1200" b="0" dirty="0">
                <a:solidFill>
                  <a:srgbClr val="002060"/>
                </a:solidFill>
                <a:latin typeface="Arial" pitchFamily="34" charset="0"/>
                <a:ea typeface="Tahoma" panose="020B0604030504040204" pitchFamily="34" charset="0"/>
                <a:cs typeface="Arial" pitchFamily="34" charset="0"/>
              </a:rPr>
              <a:t>e </a:t>
            </a:r>
            <a:r>
              <a:rPr lang="pt-BR" sz="1200" b="0" dirty="0" smtClean="0">
                <a:solidFill>
                  <a:srgbClr val="002060"/>
                </a:solidFill>
                <a:latin typeface="Arial" pitchFamily="34" charset="0"/>
                <a:ea typeface="Tahoma" panose="020B0604030504040204" pitchFamily="34" charset="0"/>
                <a:cs typeface="Arial" pitchFamily="34" charset="0"/>
              </a:rPr>
              <a:t>1º Sem/13, </a:t>
            </a:r>
            <a:r>
              <a:rPr lang="pt-BR" sz="1200" b="0" dirty="0">
                <a:solidFill>
                  <a:srgbClr val="002060"/>
                </a:solidFill>
                <a:latin typeface="Arial" pitchFamily="34" charset="0"/>
                <a:ea typeface="Tahoma" panose="020B0604030504040204" pitchFamily="34" charset="0"/>
                <a:cs typeface="Arial" pitchFamily="34" charset="0"/>
              </a:rPr>
              <a:t>porém a TIM registra, no mesmo período, redução de </a:t>
            </a:r>
            <a:r>
              <a:rPr lang="pt-BR" sz="1200" b="0" dirty="0" smtClean="0">
                <a:solidFill>
                  <a:srgbClr val="002060"/>
                </a:solidFill>
                <a:latin typeface="Arial" pitchFamily="34" charset="0"/>
                <a:ea typeface="Tahoma" panose="020B0604030504040204" pitchFamily="34" charset="0"/>
                <a:cs typeface="Arial" pitchFamily="34" charset="0"/>
              </a:rPr>
              <a:t>31% </a:t>
            </a:r>
            <a:r>
              <a:rPr lang="pt-BR" sz="1200" b="0" dirty="0">
                <a:solidFill>
                  <a:srgbClr val="002060"/>
                </a:solidFill>
                <a:latin typeface="Arial" pitchFamily="34" charset="0"/>
                <a:ea typeface="Tahoma" panose="020B0604030504040204" pitchFamily="34" charset="0"/>
                <a:cs typeface="Arial" pitchFamily="34" charset="0"/>
              </a:rPr>
              <a:t>no volume mensal de reclamações de Cobrança, motivada pelas ações de simplificações de ofertas iniciadas em 2011.</a:t>
            </a:r>
          </a:p>
        </p:txBody>
      </p:sp>
      <p:sp>
        <p:nvSpPr>
          <p:cNvPr id="69" name="Title 1"/>
          <p:cNvSpPr txBox="1">
            <a:spLocks/>
          </p:cNvSpPr>
          <p:nvPr/>
        </p:nvSpPr>
        <p:spPr bwMode="auto">
          <a:xfrm>
            <a:off x="-35" y="-24"/>
            <a:ext cx="9751287" cy="756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algn="l">
              <a:defRPr/>
            </a:pPr>
            <a:r>
              <a:rPr lang="pt-BR" sz="2400" dirty="0" smtClean="0">
                <a:solidFill>
                  <a:schemeClr val="bg1"/>
                </a:solidFill>
                <a:latin typeface="Candara" pitchFamily="34" charset="0"/>
                <a:cs typeface="Trebuchet MS" pitchFamily="34" charset="0"/>
              </a:rPr>
              <a:t>Qualidade: Relacionamento</a:t>
            </a:r>
          </a:p>
          <a:p>
            <a:pPr lvl="0" algn="l" defTabSz="914400" eaLnBrk="1" fontAlgn="auto" hangingPunct="1">
              <a:spcBef>
                <a:spcPts val="0"/>
              </a:spcBef>
              <a:spcAft>
                <a:spcPts val="0"/>
              </a:spcAft>
            </a:pPr>
            <a:r>
              <a:rPr lang="pt-BR" sz="1800" b="0" dirty="0" smtClean="0">
                <a:solidFill>
                  <a:srgbClr val="FFC000"/>
                </a:solidFill>
                <a:latin typeface="Candara" pitchFamily="34" charset="0"/>
                <a:ea typeface="+mn-ea"/>
              </a:rPr>
              <a:t>Evolução do Motivo Cobrança na Anatel</a:t>
            </a:r>
            <a:endParaRPr lang="pt-BR" sz="1800" b="0" dirty="0">
              <a:solidFill>
                <a:srgbClr val="FFC000"/>
              </a:solidFill>
              <a:latin typeface="Candara" pitchFamily="34" charset="0"/>
              <a:ea typeface="+mn-ea"/>
            </a:endParaRPr>
          </a:p>
        </p:txBody>
      </p:sp>
      <p:pic>
        <p:nvPicPr>
          <p:cNvPr id="6" name="Imagem 5"/>
          <p:cNvPicPr>
            <a:picLocks noChangeAspect="1"/>
          </p:cNvPicPr>
          <p:nvPr/>
        </p:nvPicPr>
        <p:blipFill>
          <a:blip r:embed="rId4" cstate="print"/>
          <a:stretch>
            <a:fillRect/>
          </a:stretch>
        </p:blipFill>
        <p:spPr>
          <a:xfrm>
            <a:off x="6232988" y="2776758"/>
            <a:ext cx="2730000" cy="1409321"/>
          </a:xfrm>
          <a:prstGeom prst="rect">
            <a:avLst/>
          </a:prstGeom>
        </p:spPr>
      </p:pic>
      <p:pic>
        <p:nvPicPr>
          <p:cNvPr id="8" name="Imagem 7"/>
          <p:cNvPicPr>
            <a:picLocks noChangeAspect="1"/>
          </p:cNvPicPr>
          <p:nvPr/>
        </p:nvPicPr>
        <p:blipFill>
          <a:blip r:embed="rId5" cstate="print"/>
          <a:stretch>
            <a:fillRect/>
          </a:stretch>
        </p:blipFill>
        <p:spPr>
          <a:xfrm>
            <a:off x="6232988" y="4417447"/>
            <a:ext cx="2730000" cy="1409321"/>
          </a:xfrm>
          <a:prstGeom prst="rect">
            <a:avLst/>
          </a:prstGeom>
        </p:spPr>
      </p:pic>
      <p:pic>
        <p:nvPicPr>
          <p:cNvPr id="9" name="Imagem 8"/>
          <p:cNvPicPr>
            <a:picLocks noChangeAspect="1"/>
          </p:cNvPicPr>
          <p:nvPr/>
        </p:nvPicPr>
        <p:blipFill>
          <a:blip r:embed="rId6" cstate="print"/>
          <a:stretch>
            <a:fillRect/>
          </a:stretch>
        </p:blipFill>
        <p:spPr>
          <a:xfrm>
            <a:off x="6232988" y="1136070"/>
            <a:ext cx="2730000" cy="1409321"/>
          </a:xfrm>
          <a:prstGeom prst="rect">
            <a:avLst/>
          </a:prstGeom>
        </p:spPr>
      </p:pic>
      <p:sp>
        <p:nvSpPr>
          <p:cNvPr id="10" name="CaixaDeTexto 9"/>
          <p:cNvSpPr txBox="1"/>
          <p:nvPr/>
        </p:nvSpPr>
        <p:spPr>
          <a:xfrm>
            <a:off x="6435206" y="1129661"/>
            <a:ext cx="1014141" cy="276999"/>
          </a:xfrm>
          <a:prstGeom prst="rect">
            <a:avLst/>
          </a:prstGeom>
          <a:noFill/>
        </p:spPr>
        <p:txBody>
          <a:bodyPr wrap="square" rtlCol="0">
            <a:spAutoFit/>
          </a:bodyPr>
          <a:lstStyle/>
          <a:p>
            <a:pPr algn="ctr"/>
            <a:r>
              <a:rPr lang="pt-BR" sz="1200" dirty="0" smtClean="0">
                <a:solidFill>
                  <a:schemeClr val="tx2">
                    <a:lumMod val="75000"/>
                  </a:schemeClr>
                </a:solidFill>
              </a:rPr>
              <a:t>2011</a:t>
            </a:r>
            <a:endParaRPr lang="pt-BR" sz="1200" dirty="0">
              <a:solidFill>
                <a:schemeClr val="tx2">
                  <a:lumMod val="75000"/>
                </a:schemeClr>
              </a:solidFill>
            </a:endParaRPr>
          </a:p>
        </p:txBody>
      </p:sp>
      <p:sp>
        <p:nvSpPr>
          <p:cNvPr id="16" name="CaixaDeTexto 15"/>
          <p:cNvSpPr txBox="1"/>
          <p:nvPr/>
        </p:nvSpPr>
        <p:spPr>
          <a:xfrm>
            <a:off x="6435206" y="2791070"/>
            <a:ext cx="1014141" cy="276999"/>
          </a:xfrm>
          <a:prstGeom prst="rect">
            <a:avLst/>
          </a:prstGeom>
          <a:noFill/>
        </p:spPr>
        <p:txBody>
          <a:bodyPr wrap="square" rtlCol="0">
            <a:spAutoFit/>
          </a:bodyPr>
          <a:lstStyle/>
          <a:p>
            <a:pPr algn="ctr"/>
            <a:r>
              <a:rPr lang="pt-BR" sz="1200" dirty="0" smtClean="0">
                <a:solidFill>
                  <a:schemeClr val="tx2">
                    <a:lumMod val="75000"/>
                  </a:schemeClr>
                </a:solidFill>
              </a:rPr>
              <a:t>2012</a:t>
            </a:r>
            <a:endParaRPr lang="pt-BR" sz="1200" dirty="0">
              <a:solidFill>
                <a:schemeClr val="tx2">
                  <a:lumMod val="75000"/>
                </a:schemeClr>
              </a:solidFill>
            </a:endParaRPr>
          </a:p>
        </p:txBody>
      </p:sp>
      <p:sp>
        <p:nvSpPr>
          <p:cNvPr id="17" name="CaixaDeTexto 16"/>
          <p:cNvSpPr txBox="1"/>
          <p:nvPr/>
        </p:nvSpPr>
        <p:spPr>
          <a:xfrm>
            <a:off x="6435206" y="4435303"/>
            <a:ext cx="1014141" cy="276999"/>
          </a:xfrm>
          <a:prstGeom prst="rect">
            <a:avLst/>
          </a:prstGeom>
          <a:noFill/>
        </p:spPr>
        <p:txBody>
          <a:bodyPr wrap="square" rtlCol="0">
            <a:spAutoFit/>
          </a:bodyPr>
          <a:lstStyle/>
          <a:p>
            <a:pPr algn="ctr"/>
            <a:r>
              <a:rPr lang="pt-BR" sz="1200" dirty="0" smtClean="0">
                <a:solidFill>
                  <a:schemeClr val="tx2">
                    <a:lumMod val="75000"/>
                  </a:schemeClr>
                </a:solidFill>
              </a:rPr>
              <a:t>2013</a:t>
            </a:r>
            <a:endParaRPr lang="pt-BR" sz="1200" dirty="0">
              <a:solidFill>
                <a:schemeClr val="tx2">
                  <a:lumMod val="75000"/>
                </a:schemeClr>
              </a:solidFill>
            </a:endParaRPr>
          </a:p>
        </p:txBody>
      </p:sp>
      <p:sp>
        <p:nvSpPr>
          <p:cNvPr id="11" name="Triângulo isósceles 10"/>
          <p:cNvSpPr/>
          <p:nvPr/>
        </p:nvSpPr>
        <p:spPr>
          <a:xfrm rot="5400000">
            <a:off x="3911306" y="3291812"/>
            <a:ext cx="4679641" cy="368158"/>
          </a:xfrm>
          <a:prstGeom prst="triangle">
            <a:avLst/>
          </a:prstGeom>
          <a:pattFill prst="narHorz">
            <a:fgClr>
              <a:schemeClr val="bg1">
                <a:lumMod val="50000"/>
              </a:schemeClr>
            </a:fgClr>
            <a:bgClr>
              <a:schemeClr val="bg1"/>
            </a:bgClr>
          </a:patt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a:p>
        </p:txBody>
      </p:sp>
      <p:cxnSp>
        <p:nvCxnSpPr>
          <p:cNvPr id="13" name="Conector de seta reta 12"/>
          <p:cNvCxnSpPr/>
          <p:nvPr/>
        </p:nvCxnSpPr>
        <p:spPr>
          <a:xfrm>
            <a:off x="845080" y="4435303"/>
            <a:ext cx="4497974" cy="554289"/>
          </a:xfrm>
          <a:prstGeom prst="straightConnector1">
            <a:avLst/>
          </a:prstGeom>
          <a:ln>
            <a:solidFill>
              <a:schemeClr val="bg1">
                <a:lumMod val="50000"/>
              </a:schemeClr>
            </a:solidFill>
            <a:prstDash val="sysDash"/>
            <a:tailEnd type="triangle"/>
          </a:ln>
        </p:spPr>
        <p:style>
          <a:lnRef idx="2">
            <a:schemeClr val="accent1"/>
          </a:lnRef>
          <a:fillRef idx="0">
            <a:schemeClr val="accent1"/>
          </a:fillRef>
          <a:effectRef idx="1">
            <a:schemeClr val="accent1"/>
          </a:effectRef>
          <a:fontRef idx="minor">
            <a:schemeClr val="tx1"/>
          </a:fontRef>
        </p:style>
      </p:cxnSp>
      <p:sp>
        <p:nvSpPr>
          <p:cNvPr id="15" name="CaixaDeTexto 14"/>
          <p:cNvSpPr txBox="1"/>
          <p:nvPr/>
        </p:nvSpPr>
        <p:spPr>
          <a:xfrm rot="472050">
            <a:off x="2521587" y="4314383"/>
            <a:ext cx="1103925" cy="369332"/>
          </a:xfrm>
          <a:prstGeom prst="rect">
            <a:avLst/>
          </a:prstGeom>
          <a:noFill/>
        </p:spPr>
        <p:txBody>
          <a:bodyPr wrap="square" rtlCol="0">
            <a:spAutoFit/>
          </a:bodyPr>
          <a:lstStyle/>
          <a:p>
            <a:r>
              <a:rPr lang="pt-BR" sz="1800" dirty="0" smtClean="0">
                <a:solidFill>
                  <a:schemeClr val="tx1">
                    <a:lumMod val="50000"/>
                    <a:lumOff val="50000"/>
                  </a:schemeClr>
                </a:solidFill>
              </a:rPr>
              <a:t>-31%</a:t>
            </a:r>
            <a:endParaRPr lang="pt-BR" sz="1800" dirty="0">
              <a:solidFill>
                <a:schemeClr val="tx1">
                  <a:lumMod val="50000"/>
                  <a:lumOff val="50000"/>
                </a:schemeClr>
              </a:solidFill>
            </a:endParaRPr>
          </a:p>
        </p:txBody>
      </p:sp>
      <p:cxnSp>
        <p:nvCxnSpPr>
          <p:cNvPr id="23" name="Conector de seta reta 22"/>
          <p:cNvCxnSpPr/>
          <p:nvPr/>
        </p:nvCxnSpPr>
        <p:spPr>
          <a:xfrm flipV="1">
            <a:off x="713739" y="1531372"/>
            <a:ext cx="4629315" cy="620455"/>
          </a:xfrm>
          <a:prstGeom prst="straightConnector1">
            <a:avLst/>
          </a:prstGeom>
          <a:ln>
            <a:solidFill>
              <a:schemeClr val="bg1">
                <a:lumMod val="50000"/>
              </a:schemeClr>
            </a:solidFill>
            <a:prstDash val="sysDash"/>
            <a:tailEnd type="triangle"/>
          </a:ln>
        </p:spPr>
        <p:style>
          <a:lnRef idx="2">
            <a:schemeClr val="accent1"/>
          </a:lnRef>
          <a:fillRef idx="0">
            <a:schemeClr val="accent1"/>
          </a:fillRef>
          <a:effectRef idx="1">
            <a:schemeClr val="accent1"/>
          </a:effectRef>
          <a:fontRef idx="minor">
            <a:schemeClr val="tx1"/>
          </a:fontRef>
        </p:style>
      </p:cxnSp>
      <p:sp>
        <p:nvSpPr>
          <p:cNvPr id="25" name="CaixaDeTexto 24"/>
          <p:cNvSpPr txBox="1"/>
          <p:nvPr/>
        </p:nvSpPr>
        <p:spPr>
          <a:xfrm rot="21128625">
            <a:off x="2020080" y="1493776"/>
            <a:ext cx="1313511" cy="369332"/>
          </a:xfrm>
          <a:prstGeom prst="rect">
            <a:avLst/>
          </a:prstGeom>
          <a:noFill/>
        </p:spPr>
        <p:txBody>
          <a:bodyPr wrap="square" rtlCol="0">
            <a:spAutoFit/>
          </a:bodyPr>
          <a:lstStyle/>
          <a:p>
            <a:r>
              <a:rPr lang="pt-BR" sz="1800" dirty="0" smtClean="0">
                <a:solidFill>
                  <a:schemeClr val="tx1">
                    <a:lumMod val="50000"/>
                    <a:lumOff val="50000"/>
                  </a:schemeClr>
                </a:solidFill>
              </a:rPr>
              <a:t>+50%</a:t>
            </a:r>
            <a:endParaRPr lang="pt-BR" sz="1800" dirty="0">
              <a:solidFill>
                <a:schemeClr val="tx1">
                  <a:lumMod val="50000"/>
                  <a:lumOff val="50000"/>
                </a:schemeClr>
              </a:solidFill>
            </a:endParaRPr>
          </a:p>
        </p:txBody>
      </p:sp>
    </p:spTree>
    <p:extLst>
      <p:ext uri="{BB962C8B-B14F-4D97-AF65-F5344CB8AC3E}">
        <p14:creationId xmlns="" xmlns:p14="http://schemas.microsoft.com/office/powerpoint/2010/main" val="531613808"/>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3499756" y="6215082"/>
            <a:ext cx="2863473" cy="35719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dirty="0"/>
          </a:p>
        </p:txBody>
      </p:sp>
      <p:sp>
        <p:nvSpPr>
          <p:cNvPr id="14" name="Title 1"/>
          <p:cNvSpPr txBox="1">
            <a:spLocks/>
          </p:cNvSpPr>
          <p:nvPr/>
        </p:nvSpPr>
        <p:spPr>
          <a:xfrm>
            <a:off x="-35" y="466708"/>
            <a:ext cx="8915400" cy="533400"/>
          </a:xfrm>
          <a:prstGeom prst="rect">
            <a:avLst/>
          </a:prstGeom>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lang="en-US" sz="2300" dirty="0" smtClean="0">
                <a:solidFill>
                  <a:srgbClr val="FFC000"/>
                </a:solidFill>
                <a:latin typeface="+mn-lt"/>
                <a:cs typeface="Trebuchet MS" pitchFamily="34" charset="0"/>
              </a:rPr>
              <a:t>Resultados PROCON SINDEC – Nacional: Consolidado 2012</a:t>
            </a:r>
            <a:endParaRPr kumimoji="0" lang="en-US" sz="2300" b="1" i="0" u="none" strike="noStrike" kern="1200" cap="none" spc="0" normalizeH="0" baseline="0" noProof="0" dirty="0" smtClean="0">
              <a:ln>
                <a:noFill/>
              </a:ln>
              <a:solidFill>
                <a:srgbClr val="FFC000"/>
              </a:solidFill>
              <a:effectLst/>
              <a:uLnTx/>
              <a:uFillTx/>
              <a:latin typeface="+mn-lt"/>
              <a:ea typeface="ＭＳ Ｐゴシック" pitchFamily="-84" charset="-128"/>
              <a:cs typeface="Trebuchet MS" pitchFamily="34" charset="0"/>
            </a:endParaRPr>
          </a:p>
        </p:txBody>
      </p:sp>
      <p:sp>
        <p:nvSpPr>
          <p:cNvPr id="16" name="Title 1"/>
          <p:cNvSpPr txBox="1">
            <a:spLocks/>
          </p:cNvSpPr>
          <p:nvPr/>
        </p:nvSpPr>
        <p:spPr bwMode="auto">
          <a:xfrm>
            <a:off x="-15451" y="-24"/>
            <a:ext cx="8915400" cy="5334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3600" b="1" i="0" u="none" strike="noStrike" kern="1200" cap="none" spc="0" normalizeH="0" baseline="0" noProof="0" dirty="0" smtClean="0">
                <a:ln>
                  <a:noFill/>
                </a:ln>
                <a:solidFill>
                  <a:schemeClr val="bg1"/>
                </a:solidFill>
                <a:effectLst/>
                <a:uLnTx/>
                <a:uFillTx/>
                <a:latin typeface="Candara" pitchFamily="34" charset="0"/>
                <a:ea typeface="ＭＳ Ｐゴシック" pitchFamily="-84" charset="-128"/>
                <a:cs typeface="Trebuchet MS" pitchFamily="34" charset="0"/>
              </a:rPr>
              <a:t>Qualidade: </a:t>
            </a:r>
            <a:r>
              <a:rPr kumimoji="0" lang="pt-BR" sz="3600" b="1" i="0" u="none" strike="noStrike" kern="1200" cap="none" spc="0" normalizeH="0" baseline="0" noProof="0" dirty="0" smtClean="0">
                <a:ln>
                  <a:noFill/>
                </a:ln>
                <a:solidFill>
                  <a:schemeClr val="bg1"/>
                </a:solidFill>
                <a:effectLst/>
                <a:uLnTx/>
                <a:uFillTx/>
                <a:latin typeface="Candara" pitchFamily="34" charset="0"/>
                <a:ea typeface="ＭＳ Ｐゴシック" pitchFamily="-84" charset="-128"/>
                <a:cs typeface="Trebuchet MS" pitchFamily="34" charset="0"/>
              </a:rPr>
              <a:t>relacionamento</a:t>
            </a:r>
          </a:p>
        </p:txBody>
      </p:sp>
      <p:pic>
        <p:nvPicPr>
          <p:cNvPr id="20" name="Picture 3" descr="image001"/>
          <p:cNvPicPr>
            <a:picLocks noChangeAspect="1" noChangeArrowheads="1"/>
          </p:cNvPicPr>
          <p:nvPr/>
        </p:nvPicPr>
        <p:blipFill>
          <a:blip r:embed="rId3" cstate="print"/>
          <a:srcRect/>
          <a:stretch>
            <a:fillRect/>
          </a:stretch>
        </p:blipFill>
        <p:spPr bwMode="auto">
          <a:xfrm>
            <a:off x="232173" y="4043363"/>
            <a:ext cx="5339953" cy="2100262"/>
          </a:xfrm>
          <a:prstGeom prst="rect">
            <a:avLst/>
          </a:prstGeom>
          <a:noFill/>
          <a:ln w="9525">
            <a:noFill/>
            <a:miter lim="800000"/>
            <a:headEnd/>
            <a:tailEnd/>
          </a:ln>
        </p:spPr>
      </p:pic>
      <p:sp>
        <p:nvSpPr>
          <p:cNvPr id="22" name="Rounded Rectangle 21"/>
          <p:cNvSpPr/>
          <p:nvPr/>
        </p:nvSpPr>
        <p:spPr>
          <a:xfrm>
            <a:off x="154781" y="3949701"/>
            <a:ext cx="5339954" cy="2143125"/>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dirty="0"/>
          </a:p>
        </p:txBody>
      </p:sp>
      <p:pic>
        <p:nvPicPr>
          <p:cNvPr id="23" name="Picture 3"/>
          <p:cNvPicPr>
            <a:picLocks noChangeAspect="1" noChangeArrowheads="1"/>
          </p:cNvPicPr>
          <p:nvPr/>
        </p:nvPicPr>
        <p:blipFill>
          <a:blip r:embed="rId4" cstate="print"/>
          <a:srcRect/>
          <a:stretch>
            <a:fillRect/>
          </a:stretch>
        </p:blipFill>
        <p:spPr bwMode="auto">
          <a:xfrm>
            <a:off x="386954" y="1357313"/>
            <a:ext cx="4934082" cy="1949450"/>
          </a:xfrm>
          <a:prstGeom prst="rect">
            <a:avLst/>
          </a:prstGeom>
          <a:noFill/>
          <a:ln w="9525">
            <a:noFill/>
            <a:miter lim="800000"/>
            <a:headEnd/>
            <a:tailEnd/>
          </a:ln>
        </p:spPr>
      </p:pic>
      <p:sp>
        <p:nvSpPr>
          <p:cNvPr id="27" name="Isosceles Triangle 26"/>
          <p:cNvSpPr/>
          <p:nvPr/>
        </p:nvSpPr>
        <p:spPr>
          <a:xfrm rot="5400000">
            <a:off x="4944070" y="2269530"/>
            <a:ext cx="1643063" cy="386954"/>
          </a:xfrm>
          <a:prstGeom prst="triangle">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dirty="0"/>
          </a:p>
        </p:txBody>
      </p:sp>
      <p:sp>
        <p:nvSpPr>
          <p:cNvPr id="28" name="Isosceles Triangle 27"/>
          <p:cNvSpPr/>
          <p:nvPr/>
        </p:nvSpPr>
        <p:spPr>
          <a:xfrm rot="5400000">
            <a:off x="4908352" y="4827786"/>
            <a:ext cx="1714500" cy="386954"/>
          </a:xfrm>
          <a:prstGeom prst="triangle">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dirty="0"/>
          </a:p>
        </p:txBody>
      </p:sp>
      <p:sp>
        <p:nvSpPr>
          <p:cNvPr id="29" name="Rounded Rectangle 28"/>
          <p:cNvSpPr/>
          <p:nvPr/>
        </p:nvSpPr>
        <p:spPr>
          <a:xfrm>
            <a:off x="154781" y="1285876"/>
            <a:ext cx="5339954" cy="2143125"/>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dirty="0"/>
          </a:p>
        </p:txBody>
      </p:sp>
      <p:sp>
        <p:nvSpPr>
          <p:cNvPr id="30" name="Rounded Rectangle 29"/>
          <p:cNvSpPr/>
          <p:nvPr/>
        </p:nvSpPr>
        <p:spPr>
          <a:xfrm>
            <a:off x="619126" y="1000125"/>
            <a:ext cx="4488656" cy="285750"/>
          </a:xfrm>
          <a:prstGeom prst="roundRect">
            <a:avLst/>
          </a:prstGeom>
          <a:ln w="158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pt-BR" sz="1200" dirty="0">
                <a:solidFill>
                  <a:schemeClr val="bg1"/>
                </a:solidFill>
                <a:latin typeface="Arial" pitchFamily="34" charset="0"/>
                <a:cs typeface="Arial" pitchFamily="34" charset="0"/>
              </a:rPr>
              <a:t>Ranking de Assuntos</a:t>
            </a:r>
          </a:p>
        </p:txBody>
      </p:sp>
      <p:sp>
        <p:nvSpPr>
          <p:cNvPr id="31" name="Rounded Rectangle 30"/>
          <p:cNvSpPr/>
          <p:nvPr/>
        </p:nvSpPr>
        <p:spPr>
          <a:xfrm>
            <a:off x="619126" y="3714750"/>
            <a:ext cx="4488656" cy="285750"/>
          </a:xfrm>
          <a:prstGeom prst="roundRect">
            <a:avLst/>
          </a:prstGeom>
          <a:ln w="158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pt-BR" sz="1200" dirty="0">
                <a:solidFill>
                  <a:schemeClr val="bg1"/>
                </a:solidFill>
                <a:latin typeface="Arial" pitchFamily="34" charset="0"/>
                <a:cs typeface="Arial" pitchFamily="34" charset="0"/>
              </a:rPr>
              <a:t>Ranking de Demandas por Grupo Econômico</a:t>
            </a:r>
          </a:p>
        </p:txBody>
      </p:sp>
      <p:grpSp>
        <p:nvGrpSpPr>
          <p:cNvPr id="33" name="Group 32"/>
          <p:cNvGrpSpPr/>
          <p:nvPr/>
        </p:nvGrpSpPr>
        <p:grpSpPr>
          <a:xfrm>
            <a:off x="6113868" y="1589545"/>
            <a:ext cx="3632192" cy="1694995"/>
            <a:chOff x="0" y="152730"/>
            <a:chExt cx="3352793" cy="1694995"/>
          </a:xfrm>
        </p:grpSpPr>
        <p:sp>
          <p:nvSpPr>
            <p:cNvPr id="34" name="Rounded Rectangle 33"/>
            <p:cNvSpPr/>
            <p:nvPr/>
          </p:nvSpPr>
          <p:spPr>
            <a:xfrm>
              <a:off x="0" y="152730"/>
              <a:ext cx="3352793" cy="1694995"/>
            </a:xfrm>
            <a:prstGeom prst="roundRect">
              <a:avLst/>
            </a:prstGeom>
            <a:solidFill>
              <a:schemeClr val="accent1">
                <a:lumMod val="60000"/>
                <a:lumOff val="4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35" name="Rounded Rectangle 4"/>
            <p:cNvSpPr/>
            <p:nvPr/>
          </p:nvSpPr>
          <p:spPr>
            <a:xfrm>
              <a:off x="82743" y="235473"/>
              <a:ext cx="3187307" cy="152950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lvl="0" algn="just">
                <a:defRPr/>
              </a:pPr>
              <a:r>
                <a:rPr lang="pt-BR" sz="1400" dirty="0" smtClean="0">
                  <a:solidFill>
                    <a:schemeClr val="bg1"/>
                  </a:solidFill>
                  <a:latin typeface="Arial" pitchFamily="34" charset="0"/>
                  <a:ea typeface="ＭＳ Ｐゴシック" pitchFamily="-84" charset="-128"/>
                </a:rPr>
                <a:t>No Relatório do  Boletim SINDEC 2012 os assuntos que mais tiveram registros ao longo de 2012, foram: serviços telecomunicações, assuntos financeiros e produtos.</a:t>
              </a:r>
              <a:endParaRPr lang="pt-BR" sz="1400" dirty="0">
                <a:solidFill>
                  <a:schemeClr val="bg1"/>
                </a:solidFill>
                <a:latin typeface="Arial" pitchFamily="34" charset="0"/>
                <a:ea typeface="ＭＳ Ｐゴシック" pitchFamily="-84" charset="-128"/>
              </a:endParaRPr>
            </a:p>
          </p:txBody>
        </p:sp>
      </p:grpSp>
      <p:grpSp>
        <p:nvGrpSpPr>
          <p:cNvPr id="39" name="Group 38"/>
          <p:cNvGrpSpPr/>
          <p:nvPr/>
        </p:nvGrpSpPr>
        <p:grpSpPr>
          <a:xfrm>
            <a:off x="6119061" y="3778266"/>
            <a:ext cx="3632192" cy="2151064"/>
            <a:chOff x="0" y="-303338"/>
            <a:chExt cx="3352793" cy="2151064"/>
          </a:xfrm>
        </p:grpSpPr>
        <p:sp>
          <p:nvSpPr>
            <p:cNvPr id="40" name="Rounded Rectangle 39"/>
            <p:cNvSpPr/>
            <p:nvPr/>
          </p:nvSpPr>
          <p:spPr>
            <a:xfrm>
              <a:off x="0" y="-303338"/>
              <a:ext cx="3352793" cy="2151064"/>
            </a:xfrm>
            <a:prstGeom prst="roundRect">
              <a:avLst/>
            </a:prstGeom>
            <a:solidFill>
              <a:schemeClr val="accent1">
                <a:lumMod val="60000"/>
                <a:lumOff val="4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41" name="Rounded Rectangle 4"/>
            <p:cNvSpPr/>
            <p:nvPr/>
          </p:nvSpPr>
          <p:spPr>
            <a:xfrm>
              <a:off x="82743" y="-160478"/>
              <a:ext cx="3187307" cy="189006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algn="just">
                <a:defRPr/>
              </a:pPr>
              <a:r>
                <a:rPr lang="pt-BR" sz="1400" dirty="0" smtClean="0">
                  <a:solidFill>
                    <a:schemeClr val="bg1"/>
                  </a:solidFill>
                  <a:latin typeface="Arial" pitchFamily="34" charset="0"/>
                </a:rPr>
                <a:t>O Grupo Econômico TIM/Intelig encerrou o ano de 2012 como </a:t>
              </a:r>
              <a:r>
                <a:rPr lang="pt-BR" sz="1400" u="sng" dirty="0" smtClean="0">
                  <a:solidFill>
                    <a:schemeClr val="bg1"/>
                  </a:solidFill>
                  <a:latin typeface="Arial" pitchFamily="34" charset="0"/>
                </a:rPr>
                <a:t>o menos demandado nos Procons vinculados ao SINDEC</a:t>
              </a:r>
              <a:r>
                <a:rPr lang="pt-BR" sz="1400" dirty="0" smtClean="0">
                  <a:solidFill>
                    <a:schemeClr val="bg1"/>
                  </a:solidFill>
                  <a:latin typeface="Arial" pitchFamily="34" charset="0"/>
                </a:rPr>
                <a:t>, entre as operadoras de telecomunicações, melhorando sua colocação em duas posições na lista divulgada pelo órgão, em relação a 2011.</a:t>
              </a:r>
              <a:endParaRPr lang="pt-BR" sz="1400" dirty="0">
                <a:solidFill>
                  <a:schemeClr val="bg1"/>
                </a:solidFill>
                <a:latin typeface="Arial" pitchFamily="34" charset="0"/>
              </a:endParaRPr>
            </a:p>
          </p:txBody>
        </p:sp>
      </p:grpSp>
      <p:sp>
        <p:nvSpPr>
          <p:cNvPr id="42" name="TextBox 38"/>
          <p:cNvSpPr txBox="1">
            <a:spLocks noChangeArrowheads="1"/>
          </p:cNvSpPr>
          <p:nvPr/>
        </p:nvSpPr>
        <p:spPr bwMode="auto">
          <a:xfrm>
            <a:off x="1006051" y="6232588"/>
            <a:ext cx="7429517" cy="553998"/>
          </a:xfrm>
          <a:prstGeom prst="rect">
            <a:avLst/>
          </a:prstGeom>
          <a:noFill/>
          <a:ln w="9525">
            <a:noFill/>
            <a:miter lim="800000"/>
            <a:headEnd/>
            <a:tailEnd/>
          </a:ln>
        </p:spPr>
        <p:txBody>
          <a:bodyPr wrap="square">
            <a:spAutoFit/>
          </a:bodyPr>
          <a:lstStyle/>
          <a:p>
            <a:pPr algn="l"/>
            <a:r>
              <a:rPr lang="pt-BR" sz="1000" b="0" dirty="0" smtClean="0">
                <a:solidFill>
                  <a:srgbClr val="0B3066"/>
                </a:solidFill>
                <a:latin typeface="+mn-lt"/>
              </a:rPr>
              <a:t>Fonte: Boletim SINDEC divulgado pela SENACON em fevereiro/13</a:t>
            </a:r>
          </a:p>
          <a:p>
            <a:pPr algn="l"/>
            <a:r>
              <a:rPr lang="pt-BR" sz="1000" b="0" dirty="0" smtClean="0">
                <a:solidFill>
                  <a:srgbClr val="0B3066"/>
                </a:solidFill>
                <a:latin typeface="+mn-lt"/>
              </a:rPr>
              <a:t>Considera-se os 236 PROCONs integrados ao SINDEC. Estima-se que estes PROCONs representem cerca de 30% e 40% da quantidade de PROCONs Brasil e do total de demandas, respectivamente.</a:t>
            </a:r>
            <a:endParaRPr lang="pt-BR" sz="1000" b="0" dirty="0">
              <a:solidFill>
                <a:srgbClr val="0B3066"/>
              </a:solidFill>
              <a:latin typeface="+mn-lt"/>
            </a:endParaRPr>
          </a:p>
        </p:txBody>
      </p:sp>
    </p:spTree>
    <p:extLst>
      <p:ext uri="{BB962C8B-B14F-4D97-AF65-F5344CB8AC3E}">
        <p14:creationId xmlns="" xmlns:p14="http://schemas.microsoft.com/office/powerpoint/2010/main" val="381038148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1" descr="02-3059E-Template-PPT-Pag02-02-FB.jpg"/>
          <p:cNvPicPr>
            <a:picLocks noChangeAspect="1"/>
          </p:cNvPicPr>
          <p:nvPr/>
        </p:nvPicPr>
        <p:blipFill>
          <a:blip r:embed="rId3" cstate="print"/>
          <a:srcRect/>
          <a:stretch>
            <a:fillRect/>
          </a:stretch>
        </p:blipFill>
        <p:spPr bwMode="auto">
          <a:xfrm>
            <a:off x="0" y="0"/>
            <a:ext cx="9906000" cy="6858000"/>
          </a:xfrm>
          <a:prstGeom prst="rect">
            <a:avLst/>
          </a:prstGeom>
          <a:noFill/>
          <a:ln w="9525">
            <a:noFill/>
            <a:miter lim="800000"/>
            <a:headEnd/>
            <a:tailEnd/>
          </a:ln>
        </p:spPr>
      </p:pic>
      <p:sp>
        <p:nvSpPr>
          <p:cNvPr id="6147" name="Title 1"/>
          <p:cNvSpPr txBox="1">
            <a:spLocks/>
          </p:cNvSpPr>
          <p:nvPr/>
        </p:nvSpPr>
        <p:spPr bwMode="auto">
          <a:xfrm>
            <a:off x="541735" y="5645150"/>
            <a:ext cx="8684948" cy="927100"/>
          </a:xfrm>
          <a:prstGeom prst="rect">
            <a:avLst/>
          </a:prstGeom>
          <a:noFill/>
          <a:ln w="9525">
            <a:noFill/>
            <a:miter lim="800000"/>
            <a:headEnd/>
            <a:tailEnd/>
          </a:ln>
        </p:spPr>
        <p:txBody>
          <a:bodyPr lIns="0" rIns="0"/>
          <a:lstStyle/>
          <a:p>
            <a:pPr algn="l" eaLnBrk="1" hangingPunct="1"/>
            <a:r>
              <a:rPr lang="pt-BR" sz="2400" b="0" dirty="0" smtClean="0">
                <a:solidFill>
                  <a:srgbClr val="41B9EB"/>
                </a:solidFill>
                <a:latin typeface="Trebuchet MS" pitchFamily="34" charset="0"/>
              </a:rPr>
              <a:t>Transparência</a:t>
            </a:r>
            <a:endParaRPr lang="pt-BR" sz="2400" b="0" dirty="0">
              <a:solidFill>
                <a:srgbClr val="41B9EB"/>
              </a:solidFill>
              <a:latin typeface="Trebuchet MS" pitchFamily="34" charset="0"/>
            </a:endParaRPr>
          </a:p>
          <a:p>
            <a:pPr algn="l" eaLnBrk="1" hangingPunct="1"/>
            <a:r>
              <a:rPr lang="pt-BR" sz="3200" dirty="0" smtClean="0">
                <a:solidFill>
                  <a:schemeClr val="bg1"/>
                </a:solidFill>
                <a:latin typeface="Trebuchet MS" pitchFamily="34" charset="0"/>
              </a:rPr>
              <a:t>Portas Abertas</a:t>
            </a:r>
            <a:endParaRPr lang="pt-BR" sz="3200" dirty="0">
              <a:solidFill>
                <a:schemeClr val="bg1"/>
              </a:solidFill>
              <a:latin typeface="Trebuchet MS" pitchFamily="34" charset="0"/>
            </a:endParaRPr>
          </a:p>
        </p:txBody>
      </p:sp>
    </p:spTree>
    <p:extLst>
      <p:ext uri="{BB962C8B-B14F-4D97-AF65-F5344CB8AC3E}">
        <p14:creationId xmlns="" xmlns:p14="http://schemas.microsoft.com/office/powerpoint/2010/main" val="329169489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BRANCHTO" val="264"/>
  <p:tag name="HOTSPOTTYPE" val="None"/>
  <p:tag name="DEFINEDINNAVIGATOR" val="False"/>
  <p:tag name="THINKCELLUNDODONOTDELETE" val="23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NuHhxTsZUGtBRF4VeMY7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NuHhxTsZUGtBRF4VeMY7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NuHhxTsZUGtBRF4VeMY7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NuHhxTsZUGtBRF4VeMY7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NuHhxTsZUGtBRF4VeMY7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NuHhxTsZUGtBRF4VeMY7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NuHhxTsZUGtBRF4VeMY7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NuHhxTsZUGtBRF4VeMY7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NuHhxTsZUGtBRF4VeMY7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NuHhxTsZUGtBRF4VeMY7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NuHhxTsZUGtBRF4VeMY7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NuHhxTsZUGtBRF4VeMY7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NuHhxTsZUGtBRF4VeMY7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NuHhxTsZUGtBRF4VeMY7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NuHhxTsZUGtBRF4VeMY7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NuHhxTsZUGtBRF4VeMY7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JNuHhxTsZUGtBRF4VeMY7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JNuHhxTsZUGtBRF4VeMY7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JNuHhxTsZUGtBRF4VeMY7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JNuHhxTsZUGtBRF4VeMY7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JNuHhxTsZUGtBRF4VeMY7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NuHhxTsZUGtBRF4VeMY7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JNuHhxTsZUGtBRF4VeMY7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7c5zlcNvn0.jPkljsbRp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7c5zlcNvn0.jPkljsbRpj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7c5zlcNvn0.jPkljsbRp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W0KnYabV0WXlCSRJBGvO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W0KnYabV0WXlCSRJBGvO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W0KnYabV0WXlCSRJBGvO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W0KnYabV0WXlCSRJBGvO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W0KnYabV0WXlCSRJBGvO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7c5zlcNvn0.jPkljsbRp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NuHhxTsZUGtBRF4VeMY7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7c5zlcNvn0.jPkljsbRpj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7c5zlcNvn0.jPkljsbRpj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7c5zlcNvn0.jPkljsbRpj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7c5zlcNvn0.jPkljsbRpj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7c5zlcNvn0.jPkljsbRp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NuHhxTsZUGtBRF4VeMY7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NuHhxTsZUGtBRF4VeMY7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NuHhxTsZUGtBRF4VeMY7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NuHhxTsZUGtBRF4VeMY7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NuHhxTsZUGtBRF4VeMY7w"/>
</p:tagLst>
</file>

<file path=ppt/theme/theme1.xml><?xml version="1.0" encoding="utf-8"?>
<a:theme xmlns:a="http://schemas.openxmlformats.org/drawingml/2006/main" name="4_Format grafico per presentazioni istituzionali">
  <a:themeElements>
    <a:clrScheme name="4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fontScheme name="4_Format grafico per presentazioni istituzionali">
      <a:majorFont>
        <a:latin typeface="Franklin Gothic Medium"/>
        <a:ea typeface=""/>
        <a:cs typeface="Arial"/>
      </a:majorFont>
      <a:minorFont>
        <a:latin typeface="Franklin Gothic Medium"/>
        <a:ea typeface=""/>
        <a:cs typeface="Arial"/>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rgbClr val="969696"/>
          </a:solidFill>
          <a:prstDash val="solid"/>
          <a:round/>
          <a:headEnd type="none" w="med" len="med"/>
          <a:tailEnd type="none" w="med" len="med"/>
        </a:ln>
        <a:effectLst>
          <a:prstShdw prst="shdw17" dist="17961" dir="2700000">
            <a:srgbClr val="969696">
              <a:gamma/>
              <a:shade val="60000"/>
              <a:invGamma/>
            </a:srgbClr>
          </a:prstShdw>
        </a:effectLst>
      </a:spPr>
      <a:bodyPr vert="horz" wrap="none" lIns="0" tIns="0" rIns="0" bIns="0" numCol="1" anchor="ctr" anchorCtr="0" compatLnSpc="1">
        <a:prstTxWarp prst="textNoShape">
          <a:avLst/>
        </a:prstTxWarp>
      </a:bodyPr>
      <a:lstStyle>
        <a:defPPr marL="0" marR="0" indent="0" algn="r" defTabSz="873125"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rgbClr val="969696"/>
          </a:solidFill>
          <a:prstDash val="solid"/>
          <a:round/>
          <a:headEnd type="none" w="med" len="med"/>
          <a:tailEnd type="none" w="med" len="med"/>
        </a:ln>
        <a:effectLst>
          <a:prstShdw prst="shdw17" dist="17961" dir="2700000">
            <a:srgbClr val="969696">
              <a:gamma/>
              <a:shade val="60000"/>
              <a:invGamma/>
            </a:srgbClr>
          </a:prstShdw>
        </a:effectLst>
      </a:spPr>
      <a:bodyPr vert="horz" wrap="none" lIns="0" tIns="0" rIns="0" bIns="0" numCol="1" anchor="ctr" anchorCtr="0" compatLnSpc="1">
        <a:prstTxWarp prst="textNoShape">
          <a:avLst/>
        </a:prstTxWarp>
      </a:bodyPr>
      <a:lstStyle>
        <a:defPPr marL="0" marR="0" indent="0" algn="r" defTabSz="873125"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4_Format grafico per presentazioni istituzionali 1">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A3BABA"/>
        </a:folHlink>
      </a:clrScheme>
      <a:clrMap bg1="lt1" tx1="dk1" bg2="lt2" tx2="dk2" accent1="accent1" accent2="accent2" accent3="accent3" accent4="accent4" accent5="accent5" accent6="accent6" hlink="hlink" folHlink="folHlink"/>
    </a:extraClrScheme>
    <a:extraClrScheme>
      <a:clrScheme name="4_Format grafico per presentazioni istituzionali 2">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4_Format grafico per presentazioni istituzionali 3">
        <a:dk1>
          <a:srgbClr val="004990"/>
        </a:dk1>
        <a:lt1>
          <a:srgbClr val="FFFFFF"/>
        </a:lt1>
        <a:dk2>
          <a:srgbClr val="000000"/>
        </a:dk2>
        <a:lt2>
          <a:srgbClr val="969696"/>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4_Format grafico per presentazioni istituzionali 4">
        <a:dk1>
          <a:srgbClr val="004990"/>
        </a:dk1>
        <a:lt1>
          <a:srgbClr val="FFFFFF"/>
        </a:lt1>
        <a:dk2>
          <a:srgbClr val="5F5F5F"/>
        </a:dk2>
        <a:lt2>
          <a:srgbClr val="FFFFFF"/>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4_Format grafico per presentazioni istituzionali 5">
        <a:dk1>
          <a:srgbClr val="004990"/>
        </a:dk1>
        <a:lt1>
          <a:srgbClr val="FFFFFF"/>
        </a:lt1>
        <a:dk2>
          <a:srgbClr val="5F5F5F"/>
        </a:dk2>
        <a:lt2>
          <a:srgbClr val="FFFFFF"/>
        </a:lt2>
        <a:accent1>
          <a:srgbClr val="004990"/>
        </a:accent1>
        <a:accent2>
          <a:srgbClr val="595959"/>
        </a:accent2>
        <a:accent3>
          <a:srgbClr val="FFFFFF"/>
        </a:accent3>
        <a:accent4>
          <a:srgbClr val="003D7A"/>
        </a:accent4>
        <a:accent5>
          <a:srgbClr val="AAB1C6"/>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4_Format grafico per presentazioni istituzionali 6">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4_Format grafico per presentazioni istituzionali 7">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62"/>
        </a:hlink>
        <a:folHlink>
          <a:srgbClr val="7EADE0"/>
        </a:folHlink>
      </a:clrScheme>
      <a:clrMap bg1="lt1" tx1="dk1" bg2="lt2" tx2="dk2" accent1="accent1" accent2="accent2" accent3="accent3" accent4="accent4" accent5="accent5" accent6="accent6" hlink="hlink" folHlink="folHlink"/>
    </a:extraClrScheme>
    <a:extraClrScheme>
      <a:clrScheme name="4_Format grafico per presentazioni istituzionali 8">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7EADE0"/>
        </a:folHlink>
      </a:clrScheme>
      <a:clrMap bg1="lt1" tx1="dk1" bg2="lt2" tx2="dk2" accent1="accent1" accent2="accent2" accent3="accent3" accent4="accent4" accent5="accent5" accent6="accent6" hlink="hlink" folHlink="folHlink"/>
    </a:extraClrScheme>
    <a:extraClrScheme>
      <a:clrScheme name="4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13_Format grafico per presentazioni istituzionali">
  <a:themeElements>
    <a:clrScheme name="3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fontScheme name="3_Format grafico per presentazioni istituzionali">
      <a:majorFont>
        <a:latin typeface="Franklin Gothic Medium"/>
        <a:ea typeface=""/>
        <a:cs typeface="Arial"/>
      </a:majorFont>
      <a:minorFont>
        <a:latin typeface="Franklin Gothic Medium"/>
        <a:ea typeface=""/>
        <a:cs typeface="Arial"/>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rgbClr val="969696"/>
          </a:solidFill>
          <a:prstDash val="solid"/>
          <a:round/>
          <a:headEnd type="none" w="med" len="med"/>
          <a:tailEnd type="none" w="med" len="med"/>
        </a:ln>
        <a:effectLst>
          <a:prstShdw prst="shdw17" dist="17961" dir="2700000">
            <a:srgbClr val="969696">
              <a:gamma/>
              <a:shade val="60000"/>
              <a:invGamma/>
            </a:srgbClr>
          </a:prstShdw>
        </a:effectLst>
      </a:spPr>
      <a:bodyPr vert="horz" wrap="none" lIns="0" tIns="0" rIns="0" bIns="0" numCol="1" anchor="ctr" anchorCtr="0" compatLnSpc="1">
        <a:prstTxWarp prst="textNoShape">
          <a:avLst/>
        </a:prstTxWarp>
      </a:bodyPr>
      <a:lstStyle>
        <a:defPPr marL="0" marR="0" indent="0" algn="r" defTabSz="873125"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rgbClr val="969696"/>
          </a:solidFill>
          <a:prstDash val="solid"/>
          <a:round/>
          <a:headEnd type="none" w="med" len="med"/>
          <a:tailEnd type="none" w="med" len="med"/>
        </a:ln>
        <a:effectLst>
          <a:prstShdw prst="shdw17" dist="17961" dir="2700000">
            <a:srgbClr val="969696">
              <a:gamma/>
              <a:shade val="60000"/>
              <a:invGamma/>
            </a:srgbClr>
          </a:prstShdw>
        </a:effectLst>
      </a:spPr>
      <a:bodyPr vert="horz" wrap="none" lIns="0" tIns="0" rIns="0" bIns="0" numCol="1" anchor="ctr" anchorCtr="0" compatLnSpc="1">
        <a:prstTxWarp prst="textNoShape">
          <a:avLst/>
        </a:prstTxWarp>
      </a:bodyPr>
      <a:lstStyle>
        <a:defPPr marL="0" marR="0" indent="0" algn="r" defTabSz="873125"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3_Format grafico per presentazioni istituzionali 1">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A3BABA"/>
        </a:folHlink>
      </a:clrScheme>
      <a:clrMap bg1="lt1" tx1="dk1" bg2="lt2" tx2="dk2" accent1="accent1" accent2="accent2" accent3="accent3" accent4="accent4" accent5="accent5" accent6="accent6" hlink="hlink" folHlink="folHlink"/>
    </a:extraClrScheme>
    <a:extraClrScheme>
      <a:clrScheme name="3_Format grafico per presentazioni istituzionali 2">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3_Format grafico per presentazioni istituzionali 3">
        <a:dk1>
          <a:srgbClr val="004990"/>
        </a:dk1>
        <a:lt1>
          <a:srgbClr val="FFFFFF"/>
        </a:lt1>
        <a:dk2>
          <a:srgbClr val="000000"/>
        </a:dk2>
        <a:lt2>
          <a:srgbClr val="969696"/>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3_Format grafico per presentazioni istituzionali 4">
        <a:dk1>
          <a:srgbClr val="004990"/>
        </a:dk1>
        <a:lt1>
          <a:srgbClr val="FFFFFF"/>
        </a:lt1>
        <a:dk2>
          <a:srgbClr val="5F5F5F"/>
        </a:dk2>
        <a:lt2>
          <a:srgbClr val="FFFFFF"/>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3_Format grafico per presentazioni istituzionali 5">
        <a:dk1>
          <a:srgbClr val="004990"/>
        </a:dk1>
        <a:lt1>
          <a:srgbClr val="FFFFFF"/>
        </a:lt1>
        <a:dk2>
          <a:srgbClr val="5F5F5F"/>
        </a:dk2>
        <a:lt2>
          <a:srgbClr val="FFFFFF"/>
        </a:lt2>
        <a:accent1>
          <a:srgbClr val="004990"/>
        </a:accent1>
        <a:accent2>
          <a:srgbClr val="595959"/>
        </a:accent2>
        <a:accent3>
          <a:srgbClr val="FFFFFF"/>
        </a:accent3>
        <a:accent4>
          <a:srgbClr val="003D7A"/>
        </a:accent4>
        <a:accent5>
          <a:srgbClr val="AAB1C6"/>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3_Format grafico per presentazioni istituzionali 6">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3_Format grafico per presentazioni istituzionali 7">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62"/>
        </a:hlink>
        <a:folHlink>
          <a:srgbClr val="7EADE0"/>
        </a:folHlink>
      </a:clrScheme>
      <a:clrMap bg1="lt1" tx1="dk1" bg2="lt2" tx2="dk2" accent1="accent1" accent2="accent2" accent3="accent3" accent4="accent4" accent5="accent5" accent6="accent6" hlink="hlink" folHlink="folHlink"/>
    </a:extraClrScheme>
    <a:extraClrScheme>
      <a:clrScheme name="3_Format grafico per presentazioni istituzionali 8">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7EADE0"/>
        </a:folHlink>
      </a:clrScheme>
      <a:clrMap bg1="lt1" tx1="dk1" bg2="lt2" tx2="dk2" accent1="accent1" accent2="accent2" accent3="accent3" accent4="accent4" accent5="accent5" accent6="accent6" hlink="hlink" folHlink="folHlink"/>
    </a:extraClrScheme>
    <a:extraClrScheme>
      <a:clrScheme name="3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14_Format grafico per presentazioni istituzionali">
  <a:themeElements>
    <a:clrScheme name="14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fontScheme name="14_Format grafico per presentazioni istituzionali">
      <a:majorFont>
        <a:latin typeface="Franklin Gothic Medium"/>
        <a:ea typeface=""/>
        <a:cs typeface="Arial"/>
      </a:majorFont>
      <a:minorFont>
        <a:latin typeface="Franklin Gothic Medium"/>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4_Format grafico per presentazioni istituzionali 1">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A3BABA"/>
        </a:folHlink>
      </a:clrScheme>
      <a:clrMap bg1="lt1" tx1="dk1" bg2="lt2" tx2="dk2" accent1="accent1" accent2="accent2" accent3="accent3" accent4="accent4" accent5="accent5" accent6="accent6" hlink="hlink" folHlink="folHlink"/>
    </a:extraClrScheme>
    <a:extraClrScheme>
      <a:clrScheme name="14_Format grafico per presentazioni istituzionali 2">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14_Format grafico per presentazioni istituzionali 3">
        <a:dk1>
          <a:srgbClr val="004990"/>
        </a:dk1>
        <a:lt1>
          <a:srgbClr val="FFFFFF"/>
        </a:lt1>
        <a:dk2>
          <a:srgbClr val="000000"/>
        </a:dk2>
        <a:lt2>
          <a:srgbClr val="969696"/>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14_Format grafico per presentazioni istituzionali 4">
        <a:dk1>
          <a:srgbClr val="004990"/>
        </a:dk1>
        <a:lt1>
          <a:srgbClr val="FFFFFF"/>
        </a:lt1>
        <a:dk2>
          <a:srgbClr val="5F5F5F"/>
        </a:dk2>
        <a:lt2>
          <a:srgbClr val="FFFFFF"/>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14_Format grafico per presentazioni istituzionali 5">
        <a:dk1>
          <a:srgbClr val="004990"/>
        </a:dk1>
        <a:lt1>
          <a:srgbClr val="FFFFFF"/>
        </a:lt1>
        <a:dk2>
          <a:srgbClr val="5F5F5F"/>
        </a:dk2>
        <a:lt2>
          <a:srgbClr val="FFFFFF"/>
        </a:lt2>
        <a:accent1>
          <a:srgbClr val="004990"/>
        </a:accent1>
        <a:accent2>
          <a:srgbClr val="595959"/>
        </a:accent2>
        <a:accent3>
          <a:srgbClr val="FFFFFF"/>
        </a:accent3>
        <a:accent4>
          <a:srgbClr val="003D7A"/>
        </a:accent4>
        <a:accent5>
          <a:srgbClr val="AAB1C6"/>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14_Format grafico per presentazioni istituzionali 6">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14_Format grafico per presentazioni istituzionali 7">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62"/>
        </a:hlink>
        <a:folHlink>
          <a:srgbClr val="7EADE0"/>
        </a:folHlink>
      </a:clrScheme>
      <a:clrMap bg1="lt1" tx1="dk1" bg2="lt2" tx2="dk2" accent1="accent1" accent2="accent2" accent3="accent3" accent4="accent4" accent5="accent5" accent6="accent6" hlink="hlink" folHlink="folHlink"/>
    </a:extraClrScheme>
    <a:extraClrScheme>
      <a:clrScheme name="14_Format grafico per presentazioni istituzionali 8">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7EADE0"/>
        </a:folHlink>
      </a:clrScheme>
      <a:clrMap bg1="lt1" tx1="dk1" bg2="lt2" tx2="dk2" accent1="accent1" accent2="accent2" accent3="accent3" accent4="accent4" accent5="accent5" accent6="accent6" hlink="hlink" folHlink="folHlink"/>
    </a:extraClrScheme>
    <a:extraClrScheme>
      <a:clrScheme name="14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15_Format grafico per presentazioni istituzionali">
  <a:themeElements>
    <a:clrScheme name="15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fontScheme name="15_Format grafico per presentazioni istituzionali">
      <a:majorFont>
        <a:latin typeface="Franklin Gothic Medium"/>
        <a:ea typeface=""/>
        <a:cs typeface="Arial"/>
      </a:majorFont>
      <a:minorFont>
        <a:latin typeface="Franklin Gothic Medium"/>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5_Format grafico per presentazioni istituzionali 1">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A3BABA"/>
        </a:folHlink>
      </a:clrScheme>
      <a:clrMap bg1="lt1" tx1="dk1" bg2="lt2" tx2="dk2" accent1="accent1" accent2="accent2" accent3="accent3" accent4="accent4" accent5="accent5" accent6="accent6" hlink="hlink" folHlink="folHlink"/>
    </a:extraClrScheme>
    <a:extraClrScheme>
      <a:clrScheme name="15_Format grafico per presentazioni istituzionali 2">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15_Format grafico per presentazioni istituzionali 3">
        <a:dk1>
          <a:srgbClr val="004990"/>
        </a:dk1>
        <a:lt1>
          <a:srgbClr val="FFFFFF"/>
        </a:lt1>
        <a:dk2>
          <a:srgbClr val="000000"/>
        </a:dk2>
        <a:lt2>
          <a:srgbClr val="969696"/>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15_Format grafico per presentazioni istituzionali 4">
        <a:dk1>
          <a:srgbClr val="004990"/>
        </a:dk1>
        <a:lt1>
          <a:srgbClr val="FFFFFF"/>
        </a:lt1>
        <a:dk2>
          <a:srgbClr val="5F5F5F"/>
        </a:dk2>
        <a:lt2>
          <a:srgbClr val="FFFFFF"/>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15_Format grafico per presentazioni istituzionali 5">
        <a:dk1>
          <a:srgbClr val="004990"/>
        </a:dk1>
        <a:lt1>
          <a:srgbClr val="FFFFFF"/>
        </a:lt1>
        <a:dk2>
          <a:srgbClr val="5F5F5F"/>
        </a:dk2>
        <a:lt2>
          <a:srgbClr val="FFFFFF"/>
        </a:lt2>
        <a:accent1>
          <a:srgbClr val="004990"/>
        </a:accent1>
        <a:accent2>
          <a:srgbClr val="595959"/>
        </a:accent2>
        <a:accent3>
          <a:srgbClr val="FFFFFF"/>
        </a:accent3>
        <a:accent4>
          <a:srgbClr val="003D7A"/>
        </a:accent4>
        <a:accent5>
          <a:srgbClr val="AAB1C6"/>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15_Format grafico per presentazioni istituzionali 6">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15_Format grafico per presentazioni istituzionali 7">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62"/>
        </a:hlink>
        <a:folHlink>
          <a:srgbClr val="7EADE0"/>
        </a:folHlink>
      </a:clrScheme>
      <a:clrMap bg1="lt1" tx1="dk1" bg2="lt2" tx2="dk2" accent1="accent1" accent2="accent2" accent3="accent3" accent4="accent4" accent5="accent5" accent6="accent6" hlink="hlink" folHlink="folHlink"/>
    </a:extraClrScheme>
    <a:extraClrScheme>
      <a:clrScheme name="15_Format grafico per presentazioni istituzionali 8">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7EADE0"/>
        </a:folHlink>
      </a:clrScheme>
      <a:clrMap bg1="lt1" tx1="dk1" bg2="lt2" tx2="dk2" accent1="accent1" accent2="accent2" accent3="accent3" accent4="accent4" accent5="accent5" accent6="accent6" hlink="hlink" folHlink="folHlink"/>
    </a:extraClrScheme>
    <a:extraClrScheme>
      <a:clrScheme name="15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41_Format grafico per presentazioni istituzionali">
  <a:themeElements>
    <a:clrScheme name="8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fontScheme name="8_Format grafico per presentazioni istituzionali">
      <a:majorFont>
        <a:latin typeface="Franklin Gothic Medium"/>
        <a:ea typeface=""/>
        <a:cs typeface="Arial"/>
      </a:majorFont>
      <a:minorFont>
        <a:latin typeface="Franklin Gothic Medium"/>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8_Format grafico per presentazioni istituzionali 1">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A3BABA"/>
        </a:folHlink>
      </a:clrScheme>
      <a:clrMap bg1="lt1" tx1="dk1" bg2="lt2" tx2="dk2" accent1="accent1" accent2="accent2" accent3="accent3" accent4="accent4" accent5="accent5" accent6="accent6" hlink="hlink" folHlink="folHlink"/>
    </a:extraClrScheme>
    <a:extraClrScheme>
      <a:clrScheme name="8_Format grafico per presentazioni istituzionali 2">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8_Format grafico per presentazioni istituzionali 3">
        <a:dk1>
          <a:srgbClr val="004990"/>
        </a:dk1>
        <a:lt1>
          <a:srgbClr val="FFFFFF"/>
        </a:lt1>
        <a:dk2>
          <a:srgbClr val="000000"/>
        </a:dk2>
        <a:lt2>
          <a:srgbClr val="969696"/>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8_Format grafico per presentazioni istituzionali 4">
        <a:dk1>
          <a:srgbClr val="004990"/>
        </a:dk1>
        <a:lt1>
          <a:srgbClr val="FFFFFF"/>
        </a:lt1>
        <a:dk2>
          <a:srgbClr val="5F5F5F"/>
        </a:dk2>
        <a:lt2>
          <a:srgbClr val="FFFFFF"/>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8_Format grafico per presentazioni istituzionali 5">
        <a:dk1>
          <a:srgbClr val="004990"/>
        </a:dk1>
        <a:lt1>
          <a:srgbClr val="FFFFFF"/>
        </a:lt1>
        <a:dk2>
          <a:srgbClr val="5F5F5F"/>
        </a:dk2>
        <a:lt2>
          <a:srgbClr val="FFFFFF"/>
        </a:lt2>
        <a:accent1>
          <a:srgbClr val="004990"/>
        </a:accent1>
        <a:accent2>
          <a:srgbClr val="595959"/>
        </a:accent2>
        <a:accent3>
          <a:srgbClr val="FFFFFF"/>
        </a:accent3>
        <a:accent4>
          <a:srgbClr val="003D7A"/>
        </a:accent4>
        <a:accent5>
          <a:srgbClr val="AAB1C6"/>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8_Format grafico per presentazioni istituzionali 6">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8_Format grafico per presentazioni istituzionali 7">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62"/>
        </a:hlink>
        <a:folHlink>
          <a:srgbClr val="7EADE0"/>
        </a:folHlink>
      </a:clrScheme>
      <a:clrMap bg1="lt1" tx1="dk1" bg2="lt2" tx2="dk2" accent1="accent1" accent2="accent2" accent3="accent3" accent4="accent4" accent5="accent5" accent6="accent6" hlink="hlink" folHlink="folHlink"/>
    </a:extraClrScheme>
    <a:extraClrScheme>
      <a:clrScheme name="8_Format grafico per presentazioni istituzionali 8">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7EADE0"/>
        </a:folHlink>
      </a:clrScheme>
      <a:clrMap bg1="lt1" tx1="dk1" bg2="lt2" tx2="dk2" accent1="accent1" accent2="accent2" accent3="accent3" accent4="accent4" accent5="accent5" accent6="accent6" hlink="hlink" folHlink="folHlink"/>
    </a:extraClrScheme>
    <a:extraClrScheme>
      <a:clrScheme name="8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17_Format grafico per presentazioni istituzionali">
  <a:themeElements>
    <a:clrScheme name="9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fontScheme name="9_Format grafico per presentazioni istituzionali">
      <a:majorFont>
        <a:latin typeface="Franklin Gothic Medium"/>
        <a:ea typeface=""/>
        <a:cs typeface="Arial"/>
      </a:majorFont>
      <a:minorFont>
        <a:latin typeface="Franklin Gothic Medium"/>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9_Format grafico per presentazioni istituzionali 1">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A3BABA"/>
        </a:folHlink>
      </a:clrScheme>
      <a:clrMap bg1="lt1" tx1="dk1" bg2="lt2" tx2="dk2" accent1="accent1" accent2="accent2" accent3="accent3" accent4="accent4" accent5="accent5" accent6="accent6" hlink="hlink" folHlink="folHlink"/>
    </a:extraClrScheme>
    <a:extraClrScheme>
      <a:clrScheme name="9_Format grafico per presentazioni istituzionali 2">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3">
        <a:dk1>
          <a:srgbClr val="004990"/>
        </a:dk1>
        <a:lt1>
          <a:srgbClr val="FFFFFF"/>
        </a:lt1>
        <a:dk2>
          <a:srgbClr val="000000"/>
        </a:dk2>
        <a:lt2>
          <a:srgbClr val="969696"/>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4">
        <a:dk1>
          <a:srgbClr val="004990"/>
        </a:dk1>
        <a:lt1>
          <a:srgbClr val="FFFFFF"/>
        </a:lt1>
        <a:dk2>
          <a:srgbClr val="5F5F5F"/>
        </a:dk2>
        <a:lt2>
          <a:srgbClr val="FFFFFF"/>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5">
        <a:dk1>
          <a:srgbClr val="004990"/>
        </a:dk1>
        <a:lt1>
          <a:srgbClr val="FFFFFF"/>
        </a:lt1>
        <a:dk2>
          <a:srgbClr val="5F5F5F"/>
        </a:dk2>
        <a:lt2>
          <a:srgbClr val="FFFFFF"/>
        </a:lt2>
        <a:accent1>
          <a:srgbClr val="004990"/>
        </a:accent1>
        <a:accent2>
          <a:srgbClr val="595959"/>
        </a:accent2>
        <a:accent3>
          <a:srgbClr val="FFFFFF"/>
        </a:accent3>
        <a:accent4>
          <a:srgbClr val="003D7A"/>
        </a:accent4>
        <a:accent5>
          <a:srgbClr val="AAB1C6"/>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6">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7">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62"/>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8">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16_Format grafico per presentazioni istituzionali">
  <a:themeElements>
    <a:clrScheme name="9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fontScheme name="9_Format grafico per presentazioni istituzionali">
      <a:majorFont>
        <a:latin typeface="Franklin Gothic Medium"/>
        <a:ea typeface=""/>
        <a:cs typeface="Arial"/>
      </a:majorFont>
      <a:minorFont>
        <a:latin typeface="Franklin Gothic Medium"/>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9_Format grafico per presentazioni istituzionali 1">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A3BABA"/>
        </a:folHlink>
      </a:clrScheme>
      <a:clrMap bg1="lt1" tx1="dk1" bg2="lt2" tx2="dk2" accent1="accent1" accent2="accent2" accent3="accent3" accent4="accent4" accent5="accent5" accent6="accent6" hlink="hlink" folHlink="folHlink"/>
    </a:extraClrScheme>
    <a:extraClrScheme>
      <a:clrScheme name="9_Format grafico per presentazioni istituzionali 2">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3">
        <a:dk1>
          <a:srgbClr val="004990"/>
        </a:dk1>
        <a:lt1>
          <a:srgbClr val="FFFFFF"/>
        </a:lt1>
        <a:dk2>
          <a:srgbClr val="000000"/>
        </a:dk2>
        <a:lt2>
          <a:srgbClr val="969696"/>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4">
        <a:dk1>
          <a:srgbClr val="004990"/>
        </a:dk1>
        <a:lt1>
          <a:srgbClr val="FFFFFF"/>
        </a:lt1>
        <a:dk2>
          <a:srgbClr val="5F5F5F"/>
        </a:dk2>
        <a:lt2>
          <a:srgbClr val="FFFFFF"/>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5">
        <a:dk1>
          <a:srgbClr val="004990"/>
        </a:dk1>
        <a:lt1>
          <a:srgbClr val="FFFFFF"/>
        </a:lt1>
        <a:dk2>
          <a:srgbClr val="5F5F5F"/>
        </a:dk2>
        <a:lt2>
          <a:srgbClr val="FFFFFF"/>
        </a:lt2>
        <a:accent1>
          <a:srgbClr val="004990"/>
        </a:accent1>
        <a:accent2>
          <a:srgbClr val="595959"/>
        </a:accent2>
        <a:accent3>
          <a:srgbClr val="FFFFFF"/>
        </a:accent3>
        <a:accent4>
          <a:srgbClr val="003D7A"/>
        </a:accent4>
        <a:accent5>
          <a:srgbClr val="AAB1C6"/>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6">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7">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62"/>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8">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18_Format grafico per presentazioni istituzionali">
  <a:themeElements>
    <a:clrScheme name="9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fontScheme name="9_Format grafico per presentazioni istituzionali">
      <a:majorFont>
        <a:latin typeface="Franklin Gothic Medium"/>
        <a:ea typeface=""/>
        <a:cs typeface="Arial"/>
      </a:majorFont>
      <a:minorFont>
        <a:latin typeface="Franklin Gothic Medium"/>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9_Format grafico per presentazioni istituzionali 1">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A3BABA"/>
        </a:folHlink>
      </a:clrScheme>
      <a:clrMap bg1="lt1" tx1="dk1" bg2="lt2" tx2="dk2" accent1="accent1" accent2="accent2" accent3="accent3" accent4="accent4" accent5="accent5" accent6="accent6" hlink="hlink" folHlink="folHlink"/>
    </a:extraClrScheme>
    <a:extraClrScheme>
      <a:clrScheme name="9_Format grafico per presentazioni istituzionali 2">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3">
        <a:dk1>
          <a:srgbClr val="004990"/>
        </a:dk1>
        <a:lt1>
          <a:srgbClr val="FFFFFF"/>
        </a:lt1>
        <a:dk2>
          <a:srgbClr val="000000"/>
        </a:dk2>
        <a:lt2>
          <a:srgbClr val="969696"/>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4">
        <a:dk1>
          <a:srgbClr val="004990"/>
        </a:dk1>
        <a:lt1>
          <a:srgbClr val="FFFFFF"/>
        </a:lt1>
        <a:dk2>
          <a:srgbClr val="5F5F5F"/>
        </a:dk2>
        <a:lt2>
          <a:srgbClr val="FFFFFF"/>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5">
        <a:dk1>
          <a:srgbClr val="004990"/>
        </a:dk1>
        <a:lt1>
          <a:srgbClr val="FFFFFF"/>
        </a:lt1>
        <a:dk2>
          <a:srgbClr val="5F5F5F"/>
        </a:dk2>
        <a:lt2>
          <a:srgbClr val="FFFFFF"/>
        </a:lt2>
        <a:accent1>
          <a:srgbClr val="004990"/>
        </a:accent1>
        <a:accent2>
          <a:srgbClr val="595959"/>
        </a:accent2>
        <a:accent3>
          <a:srgbClr val="FFFFFF"/>
        </a:accent3>
        <a:accent4>
          <a:srgbClr val="003D7A"/>
        </a:accent4>
        <a:accent5>
          <a:srgbClr val="AAB1C6"/>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6">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7">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62"/>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8">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clrMap bg1="lt1" tx1="dk1" bg2="lt2" tx2="dk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19_Format grafico per presentazioni istituzionali">
  <a:themeElements>
    <a:clrScheme name="9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fontScheme name="9_Format grafico per presentazioni istituzionali">
      <a:majorFont>
        <a:latin typeface="Franklin Gothic Medium"/>
        <a:ea typeface=""/>
        <a:cs typeface="Arial"/>
      </a:majorFont>
      <a:minorFont>
        <a:latin typeface="Franklin Gothic Medium"/>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9_Format grafico per presentazioni istituzionali 1">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A3BABA"/>
        </a:folHlink>
      </a:clrScheme>
      <a:clrMap bg1="lt1" tx1="dk1" bg2="lt2" tx2="dk2" accent1="accent1" accent2="accent2" accent3="accent3" accent4="accent4" accent5="accent5" accent6="accent6" hlink="hlink" folHlink="folHlink"/>
    </a:extraClrScheme>
    <a:extraClrScheme>
      <a:clrScheme name="9_Format grafico per presentazioni istituzionali 2">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3">
        <a:dk1>
          <a:srgbClr val="004990"/>
        </a:dk1>
        <a:lt1>
          <a:srgbClr val="FFFFFF"/>
        </a:lt1>
        <a:dk2>
          <a:srgbClr val="000000"/>
        </a:dk2>
        <a:lt2>
          <a:srgbClr val="969696"/>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4">
        <a:dk1>
          <a:srgbClr val="004990"/>
        </a:dk1>
        <a:lt1>
          <a:srgbClr val="FFFFFF"/>
        </a:lt1>
        <a:dk2>
          <a:srgbClr val="5F5F5F"/>
        </a:dk2>
        <a:lt2>
          <a:srgbClr val="FFFFFF"/>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5">
        <a:dk1>
          <a:srgbClr val="004990"/>
        </a:dk1>
        <a:lt1>
          <a:srgbClr val="FFFFFF"/>
        </a:lt1>
        <a:dk2>
          <a:srgbClr val="5F5F5F"/>
        </a:dk2>
        <a:lt2>
          <a:srgbClr val="FFFFFF"/>
        </a:lt2>
        <a:accent1>
          <a:srgbClr val="004990"/>
        </a:accent1>
        <a:accent2>
          <a:srgbClr val="595959"/>
        </a:accent2>
        <a:accent3>
          <a:srgbClr val="FFFFFF"/>
        </a:accent3>
        <a:accent4>
          <a:srgbClr val="003D7A"/>
        </a:accent4>
        <a:accent5>
          <a:srgbClr val="AAB1C6"/>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6">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7">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62"/>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8">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20_Format grafico per presentazioni istituzionali">
  <a:themeElements>
    <a:clrScheme name="9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fontScheme name="9_Format grafico per presentazioni istituzionali">
      <a:majorFont>
        <a:latin typeface="Franklin Gothic Medium"/>
        <a:ea typeface=""/>
        <a:cs typeface="Arial"/>
      </a:majorFont>
      <a:minorFont>
        <a:latin typeface="Franklin Gothic Medium"/>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9_Format grafico per presentazioni istituzionali 1">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A3BABA"/>
        </a:folHlink>
      </a:clrScheme>
      <a:clrMap bg1="lt1" tx1="dk1" bg2="lt2" tx2="dk2" accent1="accent1" accent2="accent2" accent3="accent3" accent4="accent4" accent5="accent5" accent6="accent6" hlink="hlink" folHlink="folHlink"/>
    </a:extraClrScheme>
    <a:extraClrScheme>
      <a:clrScheme name="9_Format grafico per presentazioni istituzionali 2">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3">
        <a:dk1>
          <a:srgbClr val="004990"/>
        </a:dk1>
        <a:lt1>
          <a:srgbClr val="FFFFFF"/>
        </a:lt1>
        <a:dk2>
          <a:srgbClr val="000000"/>
        </a:dk2>
        <a:lt2>
          <a:srgbClr val="969696"/>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4">
        <a:dk1>
          <a:srgbClr val="004990"/>
        </a:dk1>
        <a:lt1>
          <a:srgbClr val="FFFFFF"/>
        </a:lt1>
        <a:dk2>
          <a:srgbClr val="5F5F5F"/>
        </a:dk2>
        <a:lt2>
          <a:srgbClr val="FFFFFF"/>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5">
        <a:dk1>
          <a:srgbClr val="004990"/>
        </a:dk1>
        <a:lt1>
          <a:srgbClr val="FFFFFF"/>
        </a:lt1>
        <a:dk2>
          <a:srgbClr val="5F5F5F"/>
        </a:dk2>
        <a:lt2>
          <a:srgbClr val="FFFFFF"/>
        </a:lt2>
        <a:accent1>
          <a:srgbClr val="004990"/>
        </a:accent1>
        <a:accent2>
          <a:srgbClr val="595959"/>
        </a:accent2>
        <a:accent3>
          <a:srgbClr val="FFFFFF"/>
        </a:accent3>
        <a:accent4>
          <a:srgbClr val="003D7A"/>
        </a:accent4>
        <a:accent5>
          <a:srgbClr val="AAB1C6"/>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6">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7">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62"/>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8">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clrMap bg1="lt1" tx1="dk1" bg2="lt2" tx2="dk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42_Format grafico per presentazioni istituzionali">
  <a:themeElements>
    <a:clrScheme name="8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fontScheme name="8_Format grafico per presentazioni istituzionali">
      <a:majorFont>
        <a:latin typeface="Franklin Gothic Medium"/>
        <a:ea typeface=""/>
        <a:cs typeface="Arial"/>
      </a:majorFont>
      <a:minorFont>
        <a:latin typeface="Franklin Gothic Medium"/>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8_Format grafico per presentazioni istituzionali 1">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A3BABA"/>
        </a:folHlink>
      </a:clrScheme>
      <a:clrMap bg1="lt1" tx1="dk1" bg2="lt2" tx2="dk2" accent1="accent1" accent2="accent2" accent3="accent3" accent4="accent4" accent5="accent5" accent6="accent6" hlink="hlink" folHlink="folHlink"/>
    </a:extraClrScheme>
    <a:extraClrScheme>
      <a:clrScheme name="8_Format grafico per presentazioni istituzionali 2">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8_Format grafico per presentazioni istituzionali 3">
        <a:dk1>
          <a:srgbClr val="004990"/>
        </a:dk1>
        <a:lt1>
          <a:srgbClr val="FFFFFF"/>
        </a:lt1>
        <a:dk2>
          <a:srgbClr val="000000"/>
        </a:dk2>
        <a:lt2>
          <a:srgbClr val="969696"/>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8_Format grafico per presentazioni istituzionali 4">
        <a:dk1>
          <a:srgbClr val="004990"/>
        </a:dk1>
        <a:lt1>
          <a:srgbClr val="FFFFFF"/>
        </a:lt1>
        <a:dk2>
          <a:srgbClr val="5F5F5F"/>
        </a:dk2>
        <a:lt2>
          <a:srgbClr val="FFFFFF"/>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8_Format grafico per presentazioni istituzionali 5">
        <a:dk1>
          <a:srgbClr val="004990"/>
        </a:dk1>
        <a:lt1>
          <a:srgbClr val="FFFFFF"/>
        </a:lt1>
        <a:dk2>
          <a:srgbClr val="5F5F5F"/>
        </a:dk2>
        <a:lt2>
          <a:srgbClr val="FFFFFF"/>
        </a:lt2>
        <a:accent1>
          <a:srgbClr val="004990"/>
        </a:accent1>
        <a:accent2>
          <a:srgbClr val="595959"/>
        </a:accent2>
        <a:accent3>
          <a:srgbClr val="FFFFFF"/>
        </a:accent3>
        <a:accent4>
          <a:srgbClr val="003D7A"/>
        </a:accent4>
        <a:accent5>
          <a:srgbClr val="AAB1C6"/>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8_Format grafico per presentazioni istituzionali 6">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8_Format grafico per presentazioni istituzionali 7">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62"/>
        </a:hlink>
        <a:folHlink>
          <a:srgbClr val="7EADE0"/>
        </a:folHlink>
      </a:clrScheme>
      <a:clrMap bg1="lt1" tx1="dk1" bg2="lt2" tx2="dk2" accent1="accent1" accent2="accent2" accent3="accent3" accent4="accent4" accent5="accent5" accent6="accent6" hlink="hlink" folHlink="folHlink"/>
    </a:extraClrScheme>
    <a:extraClrScheme>
      <a:clrScheme name="8_Format grafico per presentazioni istituzionali 8">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7EADE0"/>
        </a:folHlink>
      </a:clrScheme>
      <a:clrMap bg1="lt1" tx1="dk1" bg2="lt2" tx2="dk2" accent1="accent1" accent2="accent2" accent3="accent3" accent4="accent4" accent5="accent5" accent6="accent6" hlink="hlink" folHlink="folHlink"/>
    </a:extraClrScheme>
    <a:extraClrScheme>
      <a:clrScheme name="8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3_Format grafico per presentazioni istituzionali">
  <a:themeElements>
    <a:clrScheme name="3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fontScheme name="3_Format grafico per presentazioni istituzionali">
      <a:majorFont>
        <a:latin typeface="Franklin Gothic Medium"/>
        <a:ea typeface=""/>
        <a:cs typeface="Arial"/>
      </a:majorFont>
      <a:minorFont>
        <a:latin typeface="Franklin Gothic Medium"/>
        <a:ea typeface=""/>
        <a:cs typeface="Arial"/>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rgbClr val="969696"/>
          </a:solidFill>
          <a:prstDash val="solid"/>
          <a:round/>
          <a:headEnd type="none" w="med" len="med"/>
          <a:tailEnd type="none" w="med" len="med"/>
        </a:ln>
        <a:effectLst>
          <a:prstShdw prst="shdw17" dist="17961" dir="2700000">
            <a:srgbClr val="969696">
              <a:gamma/>
              <a:shade val="60000"/>
              <a:invGamma/>
            </a:srgbClr>
          </a:prstShdw>
        </a:effectLst>
      </a:spPr>
      <a:bodyPr vert="horz" wrap="none" lIns="0" tIns="0" rIns="0" bIns="0" numCol="1" anchor="ctr" anchorCtr="0" compatLnSpc="1">
        <a:prstTxWarp prst="textNoShape">
          <a:avLst/>
        </a:prstTxWarp>
      </a:bodyPr>
      <a:lstStyle>
        <a:defPPr marL="0" marR="0" indent="0" algn="r" defTabSz="873125"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rgbClr val="969696"/>
          </a:solidFill>
          <a:prstDash val="solid"/>
          <a:round/>
          <a:headEnd type="none" w="med" len="med"/>
          <a:tailEnd type="none" w="med" len="med"/>
        </a:ln>
        <a:effectLst>
          <a:prstShdw prst="shdw17" dist="17961" dir="2700000">
            <a:srgbClr val="969696">
              <a:gamma/>
              <a:shade val="60000"/>
              <a:invGamma/>
            </a:srgbClr>
          </a:prstShdw>
        </a:effectLst>
      </a:spPr>
      <a:bodyPr vert="horz" wrap="none" lIns="0" tIns="0" rIns="0" bIns="0" numCol="1" anchor="ctr" anchorCtr="0" compatLnSpc="1">
        <a:prstTxWarp prst="textNoShape">
          <a:avLst/>
        </a:prstTxWarp>
      </a:bodyPr>
      <a:lstStyle>
        <a:defPPr marL="0" marR="0" indent="0" algn="r" defTabSz="873125"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3_Format grafico per presentazioni istituzionali 1">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A3BABA"/>
        </a:folHlink>
      </a:clrScheme>
      <a:clrMap bg1="lt1" tx1="dk1" bg2="lt2" tx2="dk2" accent1="accent1" accent2="accent2" accent3="accent3" accent4="accent4" accent5="accent5" accent6="accent6" hlink="hlink" folHlink="folHlink"/>
    </a:extraClrScheme>
    <a:extraClrScheme>
      <a:clrScheme name="3_Format grafico per presentazioni istituzionali 2">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3_Format grafico per presentazioni istituzionali 3">
        <a:dk1>
          <a:srgbClr val="004990"/>
        </a:dk1>
        <a:lt1>
          <a:srgbClr val="FFFFFF"/>
        </a:lt1>
        <a:dk2>
          <a:srgbClr val="000000"/>
        </a:dk2>
        <a:lt2>
          <a:srgbClr val="969696"/>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3_Format grafico per presentazioni istituzionali 4">
        <a:dk1>
          <a:srgbClr val="004990"/>
        </a:dk1>
        <a:lt1>
          <a:srgbClr val="FFFFFF"/>
        </a:lt1>
        <a:dk2>
          <a:srgbClr val="5F5F5F"/>
        </a:dk2>
        <a:lt2>
          <a:srgbClr val="FFFFFF"/>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3_Format grafico per presentazioni istituzionali 5">
        <a:dk1>
          <a:srgbClr val="004990"/>
        </a:dk1>
        <a:lt1>
          <a:srgbClr val="FFFFFF"/>
        </a:lt1>
        <a:dk2>
          <a:srgbClr val="5F5F5F"/>
        </a:dk2>
        <a:lt2>
          <a:srgbClr val="FFFFFF"/>
        </a:lt2>
        <a:accent1>
          <a:srgbClr val="004990"/>
        </a:accent1>
        <a:accent2>
          <a:srgbClr val="595959"/>
        </a:accent2>
        <a:accent3>
          <a:srgbClr val="FFFFFF"/>
        </a:accent3>
        <a:accent4>
          <a:srgbClr val="003D7A"/>
        </a:accent4>
        <a:accent5>
          <a:srgbClr val="AAB1C6"/>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3_Format grafico per presentazioni istituzionali 6">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3_Format grafico per presentazioni istituzionali 7">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62"/>
        </a:hlink>
        <a:folHlink>
          <a:srgbClr val="7EADE0"/>
        </a:folHlink>
      </a:clrScheme>
      <a:clrMap bg1="lt1" tx1="dk1" bg2="lt2" tx2="dk2" accent1="accent1" accent2="accent2" accent3="accent3" accent4="accent4" accent5="accent5" accent6="accent6" hlink="hlink" folHlink="folHlink"/>
    </a:extraClrScheme>
    <a:extraClrScheme>
      <a:clrScheme name="3_Format grafico per presentazioni istituzionali 8">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7EADE0"/>
        </a:folHlink>
      </a:clrScheme>
      <a:clrMap bg1="lt1" tx1="dk1" bg2="lt2" tx2="dk2" accent1="accent1" accent2="accent2" accent3="accent3" accent4="accent4" accent5="accent5" accent6="accent6" hlink="hlink" folHlink="folHlink"/>
    </a:extraClrScheme>
    <a:extraClrScheme>
      <a:clrScheme name="3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21_Format grafico per presentazioni istituzionali">
  <a:themeElements>
    <a:clrScheme name="9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fontScheme name="9_Format grafico per presentazioni istituzionali">
      <a:majorFont>
        <a:latin typeface="Franklin Gothic Medium"/>
        <a:ea typeface=""/>
        <a:cs typeface="Arial"/>
      </a:majorFont>
      <a:minorFont>
        <a:latin typeface="Franklin Gothic Medium"/>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9_Format grafico per presentazioni istituzionali 1">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A3BABA"/>
        </a:folHlink>
      </a:clrScheme>
      <a:clrMap bg1="lt1" tx1="dk1" bg2="lt2" tx2="dk2" accent1="accent1" accent2="accent2" accent3="accent3" accent4="accent4" accent5="accent5" accent6="accent6" hlink="hlink" folHlink="folHlink"/>
    </a:extraClrScheme>
    <a:extraClrScheme>
      <a:clrScheme name="9_Format grafico per presentazioni istituzionali 2">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3">
        <a:dk1>
          <a:srgbClr val="004990"/>
        </a:dk1>
        <a:lt1>
          <a:srgbClr val="FFFFFF"/>
        </a:lt1>
        <a:dk2>
          <a:srgbClr val="000000"/>
        </a:dk2>
        <a:lt2>
          <a:srgbClr val="969696"/>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4">
        <a:dk1>
          <a:srgbClr val="004990"/>
        </a:dk1>
        <a:lt1>
          <a:srgbClr val="FFFFFF"/>
        </a:lt1>
        <a:dk2>
          <a:srgbClr val="5F5F5F"/>
        </a:dk2>
        <a:lt2>
          <a:srgbClr val="FFFFFF"/>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5">
        <a:dk1>
          <a:srgbClr val="004990"/>
        </a:dk1>
        <a:lt1>
          <a:srgbClr val="FFFFFF"/>
        </a:lt1>
        <a:dk2>
          <a:srgbClr val="5F5F5F"/>
        </a:dk2>
        <a:lt2>
          <a:srgbClr val="FFFFFF"/>
        </a:lt2>
        <a:accent1>
          <a:srgbClr val="004990"/>
        </a:accent1>
        <a:accent2>
          <a:srgbClr val="595959"/>
        </a:accent2>
        <a:accent3>
          <a:srgbClr val="FFFFFF"/>
        </a:accent3>
        <a:accent4>
          <a:srgbClr val="003D7A"/>
        </a:accent4>
        <a:accent5>
          <a:srgbClr val="AAB1C6"/>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6">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7">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62"/>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8">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22_Format grafico per presentazioni istituzionali">
  <a:themeElements>
    <a:clrScheme name="9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fontScheme name="9_Format grafico per presentazioni istituzionali">
      <a:majorFont>
        <a:latin typeface="Franklin Gothic Medium"/>
        <a:ea typeface=""/>
        <a:cs typeface="Arial"/>
      </a:majorFont>
      <a:minorFont>
        <a:latin typeface="Franklin Gothic Medium"/>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9_Format grafico per presentazioni istituzionali 1">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A3BABA"/>
        </a:folHlink>
      </a:clrScheme>
      <a:clrMap bg1="lt1" tx1="dk1" bg2="lt2" tx2="dk2" accent1="accent1" accent2="accent2" accent3="accent3" accent4="accent4" accent5="accent5" accent6="accent6" hlink="hlink" folHlink="folHlink"/>
    </a:extraClrScheme>
    <a:extraClrScheme>
      <a:clrScheme name="9_Format grafico per presentazioni istituzionali 2">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3">
        <a:dk1>
          <a:srgbClr val="004990"/>
        </a:dk1>
        <a:lt1>
          <a:srgbClr val="FFFFFF"/>
        </a:lt1>
        <a:dk2>
          <a:srgbClr val="000000"/>
        </a:dk2>
        <a:lt2>
          <a:srgbClr val="969696"/>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4">
        <a:dk1>
          <a:srgbClr val="004990"/>
        </a:dk1>
        <a:lt1>
          <a:srgbClr val="FFFFFF"/>
        </a:lt1>
        <a:dk2>
          <a:srgbClr val="5F5F5F"/>
        </a:dk2>
        <a:lt2>
          <a:srgbClr val="FFFFFF"/>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5">
        <a:dk1>
          <a:srgbClr val="004990"/>
        </a:dk1>
        <a:lt1>
          <a:srgbClr val="FFFFFF"/>
        </a:lt1>
        <a:dk2>
          <a:srgbClr val="5F5F5F"/>
        </a:dk2>
        <a:lt2>
          <a:srgbClr val="FFFFFF"/>
        </a:lt2>
        <a:accent1>
          <a:srgbClr val="004990"/>
        </a:accent1>
        <a:accent2>
          <a:srgbClr val="595959"/>
        </a:accent2>
        <a:accent3>
          <a:srgbClr val="FFFFFF"/>
        </a:accent3>
        <a:accent4>
          <a:srgbClr val="003D7A"/>
        </a:accent4>
        <a:accent5>
          <a:srgbClr val="AAB1C6"/>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6">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7">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62"/>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8">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clrMap bg1="lt1" tx1="dk1" bg2="lt2" tx2="dk2" accent1="accent1" accent2="accent2" accent3="accent3" accent4="accent4" accent5="accent5" accent6="accent6" hlink="hlink" folHlink="folHlink"/>
    </a:extraClrScheme>
  </a:extraClrSchemeLst>
</a:theme>
</file>

<file path=ppt/theme/theme22.xml><?xml version="1.0" encoding="utf-8"?>
<a:theme xmlns:a="http://schemas.openxmlformats.org/drawingml/2006/main" name="43_Format grafico per presentazioni istituzionali">
  <a:themeElements>
    <a:clrScheme name="43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fontScheme name="43_Format grafico per presentazioni istituzionali">
      <a:majorFont>
        <a:latin typeface="Franklin Gothic Medium"/>
        <a:ea typeface=""/>
        <a:cs typeface="Arial"/>
      </a:majorFont>
      <a:minorFont>
        <a:latin typeface="Franklin Gothic Medium"/>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43_Format grafico per presentazioni istituzionali 1">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A3BABA"/>
        </a:folHlink>
      </a:clrScheme>
      <a:clrMap bg1="lt1" tx1="dk1" bg2="lt2" tx2="dk2" accent1="accent1" accent2="accent2" accent3="accent3" accent4="accent4" accent5="accent5" accent6="accent6" hlink="hlink" folHlink="folHlink"/>
    </a:extraClrScheme>
    <a:extraClrScheme>
      <a:clrScheme name="43_Format grafico per presentazioni istituzionali 2">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43_Format grafico per presentazioni istituzionali 3">
        <a:dk1>
          <a:srgbClr val="004990"/>
        </a:dk1>
        <a:lt1>
          <a:srgbClr val="FFFFFF"/>
        </a:lt1>
        <a:dk2>
          <a:srgbClr val="000000"/>
        </a:dk2>
        <a:lt2>
          <a:srgbClr val="969696"/>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43_Format grafico per presentazioni istituzionali 4">
        <a:dk1>
          <a:srgbClr val="004990"/>
        </a:dk1>
        <a:lt1>
          <a:srgbClr val="FFFFFF"/>
        </a:lt1>
        <a:dk2>
          <a:srgbClr val="5F5F5F"/>
        </a:dk2>
        <a:lt2>
          <a:srgbClr val="FFFFFF"/>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43_Format grafico per presentazioni istituzionali 5">
        <a:dk1>
          <a:srgbClr val="004990"/>
        </a:dk1>
        <a:lt1>
          <a:srgbClr val="FFFFFF"/>
        </a:lt1>
        <a:dk2>
          <a:srgbClr val="5F5F5F"/>
        </a:dk2>
        <a:lt2>
          <a:srgbClr val="FFFFFF"/>
        </a:lt2>
        <a:accent1>
          <a:srgbClr val="004990"/>
        </a:accent1>
        <a:accent2>
          <a:srgbClr val="595959"/>
        </a:accent2>
        <a:accent3>
          <a:srgbClr val="FFFFFF"/>
        </a:accent3>
        <a:accent4>
          <a:srgbClr val="003D7A"/>
        </a:accent4>
        <a:accent5>
          <a:srgbClr val="AAB1C6"/>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43_Format grafico per presentazioni istituzionali 6">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43_Format grafico per presentazioni istituzionali 7">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62"/>
        </a:hlink>
        <a:folHlink>
          <a:srgbClr val="7EADE0"/>
        </a:folHlink>
      </a:clrScheme>
      <a:clrMap bg1="lt1" tx1="dk1" bg2="lt2" tx2="dk2" accent1="accent1" accent2="accent2" accent3="accent3" accent4="accent4" accent5="accent5" accent6="accent6" hlink="hlink" folHlink="folHlink"/>
    </a:extraClrScheme>
    <a:extraClrScheme>
      <a:clrScheme name="43_Format grafico per presentazioni istituzionali 8">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7EADE0"/>
        </a:folHlink>
      </a:clrScheme>
      <a:clrMap bg1="lt1" tx1="dk1" bg2="lt2" tx2="dk2" accent1="accent1" accent2="accent2" accent3="accent3" accent4="accent4" accent5="accent5" accent6="accent6" hlink="hlink" folHlink="folHlink"/>
    </a:extraClrScheme>
    <a:extraClrScheme>
      <a:clrScheme name="43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clrMap bg1="lt1" tx1="dk1" bg2="lt2" tx2="dk2" accent1="accent1" accent2="accent2" accent3="accent3" accent4="accent4" accent5="accent5" accent6="accent6" hlink="hlink" folHlink="folHlink"/>
    </a:extraClrScheme>
  </a:extraClrSchemeLst>
</a:theme>
</file>

<file path=ppt/theme/theme23.xml><?xml version="1.0" encoding="utf-8"?>
<a:theme xmlns:a="http://schemas.openxmlformats.org/drawingml/2006/main" name="23_Format grafico per presentazioni istituzionali">
  <a:themeElements>
    <a:clrScheme name="23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fontScheme name="23_Format grafico per presentazioni istituzionali">
      <a:majorFont>
        <a:latin typeface="Franklin Gothic Medium"/>
        <a:ea typeface=""/>
        <a:cs typeface="Arial"/>
      </a:majorFont>
      <a:minorFont>
        <a:latin typeface="Franklin Gothic Medium"/>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3_Format grafico per presentazioni istituzionali 1">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A3BABA"/>
        </a:folHlink>
      </a:clrScheme>
      <a:clrMap bg1="lt1" tx1="dk1" bg2="lt2" tx2="dk2" accent1="accent1" accent2="accent2" accent3="accent3" accent4="accent4" accent5="accent5" accent6="accent6" hlink="hlink" folHlink="folHlink"/>
    </a:extraClrScheme>
    <a:extraClrScheme>
      <a:clrScheme name="23_Format grafico per presentazioni istituzionali 2">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23_Format grafico per presentazioni istituzionali 3">
        <a:dk1>
          <a:srgbClr val="004990"/>
        </a:dk1>
        <a:lt1>
          <a:srgbClr val="FFFFFF"/>
        </a:lt1>
        <a:dk2>
          <a:srgbClr val="000000"/>
        </a:dk2>
        <a:lt2>
          <a:srgbClr val="969696"/>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23_Format grafico per presentazioni istituzionali 4">
        <a:dk1>
          <a:srgbClr val="004990"/>
        </a:dk1>
        <a:lt1>
          <a:srgbClr val="FFFFFF"/>
        </a:lt1>
        <a:dk2>
          <a:srgbClr val="5F5F5F"/>
        </a:dk2>
        <a:lt2>
          <a:srgbClr val="FFFFFF"/>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23_Format grafico per presentazioni istituzionali 5">
        <a:dk1>
          <a:srgbClr val="004990"/>
        </a:dk1>
        <a:lt1>
          <a:srgbClr val="FFFFFF"/>
        </a:lt1>
        <a:dk2>
          <a:srgbClr val="5F5F5F"/>
        </a:dk2>
        <a:lt2>
          <a:srgbClr val="FFFFFF"/>
        </a:lt2>
        <a:accent1>
          <a:srgbClr val="004990"/>
        </a:accent1>
        <a:accent2>
          <a:srgbClr val="595959"/>
        </a:accent2>
        <a:accent3>
          <a:srgbClr val="FFFFFF"/>
        </a:accent3>
        <a:accent4>
          <a:srgbClr val="003D7A"/>
        </a:accent4>
        <a:accent5>
          <a:srgbClr val="AAB1C6"/>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23_Format grafico per presentazioni istituzionali 6">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23_Format grafico per presentazioni istituzionali 7">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62"/>
        </a:hlink>
        <a:folHlink>
          <a:srgbClr val="7EADE0"/>
        </a:folHlink>
      </a:clrScheme>
      <a:clrMap bg1="lt1" tx1="dk1" bg2="lt2" tx2="dk2" accent1="accent1" accent2="accent2" accent3="accent3" accent4="accent4" accent5="accent5" accent6="accent6" hlink="hlink" folHlink="folHlink"/>
    </a:extraClrScheme>
    <a:extraClrScheme>
      <a:clrScheme name="23_Format grafico per presentazioni istituzionali 8">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7EADE0"/>
        </a:folHlink>
      </a:clrScheme>
      <a:clrMap bg1="lt1" tx1="dk1" bg2="lt2" tx2="dk2" accent1="accent1" accent2="accent2" accent3="accent3" accent4="accent4" accent5="accent5" accent6="accent6" hlink="hlink" folHlink="folHlink"/>
    </a:extraClrScheme>
    <a:extraClrScheme>
      <a:clrScheme name="23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clrMap bg1="lt1" tx1="dk1" bg2="lt2" tx2="dk2" accent1="accent1" accent2="accent2" accent3="accent3" accent4="accent4" accent5="accent5" accent6="accent6" hlink="hlink" folHlink="folHlink"/>
    </a:extraClrScheme>
  </a:extraClrSchemeLst>
</a:theme>
</file>

<file path=ppt/theme/theme24.xml><?xml version="1.0" encoding="utf-8"?>
<a:theme xmlns:a="http://schemas.openxmlformats.org/drawingml/2006/main" name="24_Format grafico per presentazioni istituzionali">
  <a:themeElements>
    <a:clrScheme name="24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fontScheme name="24_Format grafico per presentazioni istituzionali">
      <a:majorFont>
        <a:latin typeface="Franklin Gothic Medium"/>
        <a:ea typeface=""/>
        <a:cs typeface="Arial"/>
      </a:majorFont>
      <a:minorFont>
        <a:latin typeface="Franklin Gothic Medium"/>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4_Format grafico per presentazioni istituzionali 1">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A3BABA"/>
        </a:folHlink>
      </a:clrScheme>
      <a:clrMap bg1="lt1" tx1="dk1" bg2="lt2" tx2="dk2" accent1="accent1" accent2="accent2" accent3="accent3" accent4="accent4" accent5="accent5" accent6="accent6" hlink="hlink" folHlink="folHlink"/>
    </a:extraClrScheme>
    <a:extraClrScheme>
      <a:clrScheme name="24_Format grafico per presentazioni istituzionali 2">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24_Format grafico per presentazioni istituzionali 3">
        <a:dk1>
          <a:srgbClr val="004990"/>
        </a:dk1>
        <a:lt1>
          <a:srgbClr val="FFFFFF"/>
        </a:lt1>
        <a:dk2>
          <a:srgbClr val="000000"/>
        </a:dk2>
        <a:lt2>
          <a:srgbClr val="969696"/>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24_Format grafico per presentazioni istituzionali 4">
        <a:dk1>
          <a:srgbClr val="004990"/>
        </a:dk1>
        <a:lt1>
          <a:srgbClr val="FFFFFF"/>
        </a:lt1>
        <a:dk2>
          <a:srgbClr val="5F5F5F"/>
        </a:dk2>
        <a:lt2>
          <a:srgbClr val="FFFFFF"/>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24_Format grafico per presentazioni istituzionali 5">
        <a:dk1>
          <a:srgbClr val="004990"/>
        </a:dk1>
        <a:lt1>
          <a:srgbClr val="FFFFFF"/>
        </a:lt1>
        <a:dk2>
          <a:srgbClr val="5F5F5F"/>
        </a:dk2>
        <a:lt2>
          <a:srgbClr val="FFFFFF"/>
        </a:lt2>
        <a:accent1>
          <a:srgbClr val="004990"/>
        </a:accent1>
        <a:accent2>
          <a:srgbClr val="595959"/>
        </a:accent2>
        <a:accent3>
          <a:srgbClr val="FFFFFF"/>
        </a:accent3>
        <a:accent4>
          <a:srgbClr val="003D7A"/>
        </a:accent4>
        <a:accent5>
          <a:srgbClr val="AAB1C6"/>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24_Format grafico per presentazioni istituzionali 6">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24_Format grafico per presentazioni istituzionali 7">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62"/>
        </a:hlink>
        <a:folHlink>
          <a:srgbClr val="7EADE0"/>
        </a:folHlink>
      </a:clrScheme>
      <a:clrMap bg1="lt1" tx1="dk1" bg2="lt2" tx2="dk2" accent1="accent1" accent2="accent2" accent3="accent3" accent4="accent4" accent5="accent5" accent6="accent6" hlink="hlink" folHlink="folHlink"/>
    </a:extraClrScheme>
    <a:extraClrScheme>
      <a:clrScheme name="24_Format grafico per presentazioni istituzionali 8">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7EADE0"/>
        </a:folHlink>
      </a:clrScheme>
      <a:clrMap bg1="lt1" tx1="dk1" bg2="lt2" tx2="dk2" accent1="accent1" accent2="accent2" accent3="accent3" accent4="accent4" accent5="accent5" accent6="accent6" hlink="hlink" folHlink="folHlink"/>
    </a:extraClrScheme>
    <a:extraClrScheme>
      <a:clrScheme name="24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clrMap bg1="lt1" tx1="dk1" bg2="lt2" tx2="dk2" accent1="accent1" accent2="accent2" accent3="accent3" accent4="accent4" accent5="accent5" accent6="accent6" hlink="hlink" folHlink="folHlink"/>
    </a:extraClrScheme>
  </a:extraClrSchemeLst>
</a:theme>
</file>

<file path=ppt/theme/theme25.xml><?xml version="1.0" encoding="utf-8"?>
<a:theme xmlns:a="http://schemas.openxmlformats.org/drawingml/2006/main" name="25_Format grafico per presentazioni istituzionali">
  <a:themeElements>
    <a:clrScheme name="9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fontScheme name="9_Format grafico per presentazioni istituzionali">
      <a:majorFont>
        <a:latin typeface="Franklin Gothic Medium"/>
        <a:ea typeface=""/>
        <a:cs typeface="Arial"/>
      </a:majorFont>
      <a:minorFont>
        <a:latin typeface="Franklin Gothic Medium"/>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9_Format grafico per presentazioni istituzionali 1">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A3BABA"/>
        </a:folHlink>
      </a:clrScheme>
      <a:clrMap bg1="lt1" tx1="dk1" bg2="lt2" tx2="dk2" accent1="accent1" accent2="accent2" accent3="accent3" accent4="accent4" accent5="accent5" accent6="accent6" hlink="hlink" folHlink="folHlink"/>
    </a:extraClrScheme>
    <a:extraClrScheme>
      <a:clrScheme name="9_Format grafico per presentazioni istituzionali 2">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3">
        <a:dk1>
          <a:srgbClr val="004990"/>
        </a:dk1>
        <a:lt1>
          <a:srgbClr val="FFFFFF"/>
        </a:lt1>
        <a:dk2>
          <a:srgbClr val="000000"/>
        </a:dk2>
        <a:lt2>
          <a:srgbClr val="969696"/>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4">
        <a:dk1>
          <a:srgbClr val="004990"/>
        </a:dk1>
        <a:lt1>
          <a:srgbClr val="FFFFFF"/>
        </a:lt1>
        <a:dk2>
          <a:srgbClr val="5F5F5F"/>
        </a:dk2>
        <a:lt2>
          <a:srgbClr val="FFFFFF"/>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5">
        <a:dk1>
          <a:srgbClr val="004990"/>
        </a:dk1>
        <a:lt1>
          <a:srgbClr val="FFFFFF"/>
        </a:lt1>
        <a:dk2>
          <a:srgbClr val="5F5F5F"/>
        </a:dk2>
        <a:lt2>
          <a:srgbClr val="FFFFFF"/>
        </a:lt2>
        <a:accent1>
          <a:srgbClr val="004990"/>
        </a:accent1>
        <a:accent2>
          <a:srgbClr val="595959"/>
        </a:accent2>
        <a:accent3>
          <a:srgbClr val="FFFFFF"/>
        </a:accent3>
        <a:accent4>
          <a:srgbClr val="003D7A"/>
        </a:accent4>
        <a:accent5>
          <a:srgbClr val="AAB1C6"/>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6">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7">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62"/>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8">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clrMap bg1="lt1" tx1="dk1" bg2="lt2" tx2="dk2" accent1="accent1" accent2="accent2" accent3="accent3" accent4="accent4" accent5="accent5" accent6="accent6" hlink="hlink" folHlink="folHlink"/>
    </a:extraClrScheme>
  </a:extraClrSchemeLst>
</a:theme>
</file>

<file path=ppt/theme/theme26.xml><?xml version="1.0" encoding="utf-8"?>
<a:theme xmlns:a="http://schemas.openxmlformats.org/drawingml/2006/main" name="26_Format grafico per presentazioni istituzionali">
  <a:themeElements>
    <a:clrScheme name="9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fontScheme name="9_Format grafico per presentazioni istituzionali">
      <a:majorFont>
        <a:latin typeface="Franklin Gothic Medium"/>
        <a:ea typeface=""/>
        <a:cs typeface="Arial"/>
      </a:majorFont>
      <a:minorFont>
        <a:latin typeface="Franklin Gothic Medium"/>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9_Format grafico per presentazioni istituzionali 1">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A3BABA"/>
        </a:folHlink>
      </a:clrScheme>
      <a:clrMap bg1="lt1" tx1="dk1" bg2="lt2" tx2="dk2" accent1="accent1" accent2="accent2" accent3="accent3" accent4="accent4" accent5="accent5" accent6="accent6" hlink="hlink" folHlink="folHlink"/>
    </a:extraClrScheme>
    <a:extraClrScheme>
      <a:clrScheme name="9_Format grafico per presentazioni istituzionali 2">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3">
        <a:dk1>
          <a:srgbClr val="004990"/>
        </a:dk1>
        <a:lt1>
          <a:srgbClr val="FFFFFF"/>
        </a:lt1>
        <a:dk2>
          <a:srgbClr val="000000"/>
        </a:dk2>
        <a:lt2>
          <a:srgbClr val="969696"/>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4">
        <a:dk1>
          <a:srgbClr val="004990"/>
        </a:dk1>
        <a:lt1>
          <a:srgbClr val="FFFFFF"/>
        </a:lt1>
        <a:dk2>
          <a:srgbClr val="5F5F5F"/>
        </a:dk2>
        <a:lt2>
          <a:srgbClr val="FFFFFF"/>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5">
        <a:dk1>
          <a:srgbClr val="004990"/>
        </a:dk1>
        <a:lt1>
          <a:srgbClr val="FFFFFF"/>
        </a:lt1>
        <a:dk2>
          <a:srgbClr val="5F5F5F"/>
        </a:dk2>
        <a:lt2>
          <a:srgbClr val="FFFFFF"/>
        </a:lt2>
        <a:accent1>
          <a:srgbClr val="004990"/>
        </a:accent1>
        <a:accent2>
          <a:srgbClr val="595959"/>
        </a:accent2>
        <a:accent3>
          <a:srgbClr val="FFFFFF"/>
        </a:accent3>
        <a:accent4>
          <a:srgbClr val="003D7A"/>
        </a:accent4>
        <a:accent5>
          <a:srgbClr val="AAB1C6"/>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6">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7">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62"/>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8">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clrMap bg1="lt1" tx1="dk1" bg2="lt2" tx2="dk2" accent1="accent1" accent2="accent2" accent3="accent3" accent4="accent4" accent5="accent5" accent6="accent6" hlink="hlink" folHlink="folHlink"/>
    </a:extraClrScheme>
  </a:extraClrSchemeLst>
</a:theme>
</file>

<file path=ppt/theme/theme27.xml><?xml version="1.0" encoding="utf-8"?>
<a:theme xmlns:a="http://schemas.openxmlformats.org/drawingml/2006/main" name="27_Format grafico per presentazioni istituzionali">
  <a:themeElements>
    <a:clrScheme name="27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fontScheme name="27_Format grafico per presentazioni istituzionali">
      <a:majorFont>
        <a:latin typeface="Franklin Gothic Medium"/>
        <a:ea typeface=""/>
        <a:cs typeface="Arial"/>
      </a:majorFont>
      <a:minorFont>
        <a:latin typeface="Franklin Gothic Medium"/>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7_Format grafico per presentazioni istituzionali 1">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A3BABA"/>
        </a:folHlink>
      </a:clrScheme>
      <a:clrMap bg1="lt1" tx1="dk1" bg2="lt2" tx2="dk2" accent1="accent1" accent2="accent2" accent3="accent3" accent4="accent4" accent5="accent5" accent6="accent6" hlink="hlink" folHlink="folHlink"/>
    </a:extraClrScheme>
    <a:extraClrScheme>
      <a:clrScheme name="27_Format grafico per presentazioni istituzionali 2">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27_Format grafico per presentazioni istituzionali 3">
        <a:dk1>
          <a:srgbClr val="004990"/>
        </a:dk1>
        <a:lt1>
          <a:srgbClr val="FFFFFF"/>
        </a:lt1>
        <a:dk2>
          <a:srgbClr val="000000"/>
        </a:dk2>
        <a:lt2>
          <a:srgbClr val="969696"/>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27_Format grafico per presentazioni istituzionali 4">
        <a:dk1>
          <a:srgbClr val="004990"/>
        </a:dk1>
        <a:lt1>
          <a:srgbClr val="FFFFFF"/>
        </a:lt1>
        <a:dk2>
          <a:srgbClr val="5F5F5F"/>
        </a:dk2>
        <a:lt2>
          <a:srgbClr val="FFFFFF"/>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27_Format grafico per presentazioni istituzionali 5">
        <a:dk1>
          <a:srgbClr val="004990"/>
        </a:dk1>
        <a:lt1>
          <a:srgbClr val="FFFFFF"/>
        </a:lt1>
        <a:dk2>
          <a:srgbClr val="5F5F5F"/>
        </a:dk2>
        <a:lt2>
          <a:srgbClr val="FFFFFF"/>
        </a:lt2>
        <a:accent1>
          <a:srgbClr val="004990"/>
        </a:accent1>
        <a:accent2>
          <a:srgbClr val="595959"/>
        </a:accent2>
        <a:accent3>
          <a:srgbClr val="FFFFFF"/>
        </a:accent3>
        <a:accent4>
          <a:srgbClr val="003D7A"/>
        </a:accent4>
        <a:accent5>
          <a:srgbClr val="AAB1C6"/>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27_Format grafico per presentazioni istituzionali 6">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27_Format grafico per presentazioni istituzionali 7">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62"/>
        </a:hlink>
        <a:folHlink>
          <a:srgbClr val="7EADE0"/>
        </a:folHlink>
      </a:clrScheme>
      <a:clrMap bg1="lt1" tx1="dk1" bg2="lt2" tx2="dk2" accent1="accent1" accent2="accent2" accent3="accent3" accent4="accent4" accent5="accent5" accent6="accent6" hlink="hlink" folHlink="folHlink"/>
    </a:extraClrScheme>
    <a:extraClrScheme>
      <a:clrScheme name="27_Format grafico per presentazioni istituzionali 8">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7EADE0"/>
        </a:folHlink>
      </a:clrScheme>
      <a:clrMap bg1="lt1" tx1="dk1" bg2="lt2" tx2="dk2" accent1="accent1" accent2="accent2" accent3="accent3" accent4="accent4" accent5="accent5" accent6="accent6" hlink="hlink" folHlink="folHlink"/>
    </a:extraClrScheme>
    <a:extraClrScheme>
      <a:clrScheme name="27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clrMap bg1="lt1" tx1="dk1" bg2="lt2" tx2="dk2" accent1="accent1" accent2="accent2" accent3="accent3" accent4="accent4" accent5="accent5" accent6="accent6" hlink="hlink" folHlink="folHlink"/>
    </a:extraClrScheme>
  </a:extraClrSchemeLst>
</a:theme>
</file>

<file path=ppt/theme/theme28.xml><?xml version="1.0" encoding="utf-8"?>
<a:theme xmlns:a="http://schemas.openxmlformats.org/drawingml/2006/main" name="28_Format grafico per presentazioni istituzionali">
  <a:themeElements>
    <a:clrScheme name="4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fontScheme name="4_Format grafico per presentazioni istituzionali">
      <a:majorFont>
        <a:latin typeface="Franklin Gothic Medium"/>
        <a:ea typeface=""/>
        <a:cs typeface="Arial"/>
      </a:majorFont>
      <a:minorFont>
        <a:latin typeface="Franklin Gothic Medium"/>
        <a:ea typeface=""/>
        <a:cs typeface="Arial"/>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rgbClr val="969696"/>
          </a:solidFill>
          <a:prstDash val="solid"/>
          <a:round/>
          <a:headEnd type="none" w="med" len="med"/>
          <a:tailEnd type="none" w="med" len="med"/>
        </a:ln>
        <a:effectLst>
          <a:prstShdw prst="shdw17" dist="17961" dir="2700000">
            <a:srgbClr val="969696">
              <a:gamma/>
              <a:shade val="60000"/>
              <a:invGamma/>
            </a:srgbClr>
          </a:prstShdw>
        </a:effectLst>
      </a:spPr>
      <a:bodyPr vert="horz" wrap="none" lIns="0" tIns="0" rIns="0" bIns="0" numCol="1" anchor="ctr" anchorCtr="0" compatLnSpc="1">
        <a:prstTxWarp prst="textNoShape">
          <a:avLst/>
        </a:prstTxWarp>
      </a:bodyPr>
      <a:lstStyle>
        <a:defPPr marL="0" marR="0" indent="0" algn="r" defTabSz="873125"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rgbClr val="969696"/>
          </a:solidFill>
          <a:prstDash val="solid"/>
          <a:round/>
          <a:headEnd type="none" w="med" len="med"/>
          <a:tailEnd type="none" w="med" len="med"/>
        </a:ln>
        <a:effectLst>
          <a:prstShdw prst="shdw17" dist="17961" dir="2700000">
            <a:srgbClr val="969696">
              <a:gamma/>
              <a:shade val="60000"/>
              <a:invGamma/>
            </a:srgbClr>
          </a:prstShdw>
        </a:effectLst>
      </a:spPr>
      <a:bodyPr vert="horz" wrap="none" lIns="0" tIns="0" rIns="0" bIns="0" numCol="1" anchor="ctr" anchorCtr="0" compatLnSpc="1">
        <a:prstTxWarp prst="textNoShape">
          <a:avLst/>
        </a:prstTxWarp>
      </a:bodyPr>
      <a:lstStyle>
        <a:defPPr marL="0" marR="0" indent="0" algn="r" defTabSz="873125"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4_Format grafico per presentazioni istituzionali 1">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A3BABA"/>
        </a:folHlink>
      </a:clrScheme>
      <a:clrMap bg1="lt1" tx1="dk1" bg2="lt2" tx2="dk2" accent1="accent1" accent2="accent2" accent3="accent3" accent4="accent4" accent5="accent5" accent6="accent6" hlink="hlink" folHlink="folHlink"/>
    </a:extraClrScheme>
    <a:extraClrScheme>
      <a:clrScheme name="4_Format grafico per presentazioni istituzionali 2">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4_Format grafico per presentazioni istituzionali 3">
        <a:dk1>
          <a:srgbClr val="004990"/>
        </a:dk1>
        <a:lt1>
          <a:srgbClr val="FFFFFF"/>
        </a:lt1>
        <a:dk2>
          <a:srgbClr val="000000"/>
        </a:dk2>
        <a:lt2>
          <a:srgbClr val="969696"/>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4_Format grafico per presentazioni istituzionali 4">
        <a:dk1>
          <a:srgbClr val="004990"/>
        </a:dk1>
        <a:lt1>
          <a:srgbClr val="FFFFFF"/>
        </a:lt1>
        <a:dk2>
          <a:srgbClr val="5F5F5F"/>
        </a:dk2>
        <a:lt2>
          <a:srgbClr val="FFFFFF"/>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4_Format grafico per presentazioni istituzionali 5">
        <a:dk1>
          <a:srgbClr val="004990"/>
        </a:dk1>
        <a:lt1>
          <a:srgbClr val="FFFFFF"/>
        </a:lt1>
        <a:dk2>
          <a:srgbClr val="5F5F5F"/>
        </a:dk2>
        <a:lt2>
          <a:srgbClr val="FFFFFF"/>
        </a:lt2>
        <a:accent1>
          <a:srgbClr val="004990"/>
        </a:accent1>
        <a:accent2>
          <a:srgbClr val="595959"/>
        </a:accent2>
        <a:accent3>
          <a:srgbClr val="FFFFFF"/>
        </a:accent3>
        <a:accent4>
          <a:srgbClr val="003D7A"/>
        </a:accent4>
        <a:accent5>
          <a:srgbClr val="AAB1C6"/>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4_Format grafico per presentazioni istituzionali 6">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4_Format grafico per presentazioni istituzionali 7">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62"/>
        </a:hlink>
        <a:folHlink>
          <a:srgbClr val="7EADE0"/>
        </a:folHlink>
      </a:clrScheme>
      <a:clrMap bg1="lt1" tx1="dk1" bg2="lt2" tx2="dk2" accent1="accent1" accent2="accent2" accent3="accent3" accent4="accent4" accent5="accent5" accent6="accent6" hlink="hlink" folHlink="folHlink"/>
    </a:extraClrScheme>
    <a:extraClrScheme>
      <a:clrScheme name="4_Format grafico per presentazioni istituzionali 8">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7EADE0"/>
        </a:folHlink>
      </a:clrScheme>
      <a:clrMap bg1="lt1" tx1="dk1" bg2="lt2" tx2="dk2" accent1="accent1" accent2="accent2" accent3="accent3" accent4="accent4" accent5="accent5" accent6="accent6" hlink="hlink" folHlink="folHlink"/>
    </a:extraClrScheme>
    <a:extraClrScheme>
      <a:clrScheme name="4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6_Format grafico per presentazioni istituzionali">
  <a:themeElements>
    <a:clrScheme name="4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fontScheme name="4_Format grafico per presentazioni istituzionali">
      <a:majorFont>
        <a:latin typeface="Franklin Gothic Medium"/>
        <a:ea typeface=""/>
        <a:cs typeface="Arial"/>
      </a:majorFont>
      <a:minorFont>
        <a:latin typeface="Franklin Gothic Medium"/>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rgbClr val="969696"/>
          </a:solidFill>
          <a:prstDash val="solid"/>
          <a:round/>
          <a:headEnd type="none" w="med" len="med"/>
          <a:tailEnd type="none" w="med" len="med"/>
        </a:ln>
        <a:effectLst>
          <a:prstShdw prst="shdw17" dist="17961" dir="2700000">
            <a:srgbClr val="969696">
              <a:gamma/>
              <a:shade val="60000"/>
              <a:invGamma/>
            </a:srgbClr>
          </a:prstShdw>
        </a:effectLst>
      </a:spPr>
      <a:bodyPr vert="horz" wrap="none" lIns="0" tIns="0" rIns="0" bIns="0" numCol="1" anchor="ctr" anchorCtr="0" compatLnSpc="1">
        <a:prstTxWarp prst="textNoShape">
          <a:avLst/>
        </a:prstTxWarp>
      </a:bodyPr>
      <a:lstStyle>
        <a:defPPr marL="0" marR="0" indent="0" algn="r" defTabSz="873125"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pitchFamily="34" charset="0"/>
            <a:cs typeface="Arial" pitchFamily="34" charset="0"/>
          </a:defRPr>
        </a:defPPr>
      </a:lstStyle>
    </a:spDef>
    <a:lnDef>
      <a:spPr bwMode="auto">
        <a:xfrm>
          <a:off x="0" y="0"/>
          <a:ext cx="1" cy="1"/>
        </a:xfrm>
        <a:custGeom>
          <a:avLst/>
          <a:gdLst/>
          <a:ahLst/>
          <a:cxnLst/>
          <a:rect l="0" t="0" r="0" b="0"/>
          <a:pathLst/>
        </a:custGeom>
        <a:solidFill>
          <a:schemeClr val="bg1"/>
        </a:solidFill>
        <a:ln w="9525" cap="flat" cmpd="sng" algn="ctr">
          <a:solidFill>
            <a:srgbClr val="969696"/>
          </a:solidFill>
          <a:prstDash val="solid"/>
          <a:round/>
          <a:headEnd type="none" w="med" len="med"/>
          <a:tailEnd type="none" w="med" len="med"/>
        </a:ln>
        <a:effectLst>
          <a:prstShdw prst="shdw17" dist="17961" dir="2700000">
            <a:srgbClr val="969696">
              <a:gamma/>
              <a:shade val="60000"/>
              <a:invGamma/>
            </a:srgbClr>
          </a:prstShdw>
        </a:effectLst>
      </a:spPr>
      <a:bodyPr vert="horz" wrap="none" lIns="0" tIns="0" rIns="0" bIns="0" numCol="1" anchor="ctr" anchorCtr="0" compatLnSpc="1">
        <a:prstTxWarp prst="textNoShape">
          <a:avLst/>
        </a:prstTxWarp>
      </a:bodyPr>
      <a:lstStyle>
        <a:defPPr marL="0" marR="0" indent="0" algn="r" defTabSz="873125"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pitchFamily="34" charset="0"/>
            <a:cs typeface="Arial" pitchFamily="34" charset="0"/>
          </a:defRPr>
        </a:defPPr>
      </a:lstStyle>
    </a:lnDef>
  </a:objectDefaults>
  <a:extraClrSchemeLst>
    <a:extraClrScheme>
      <a:clrScheme name="4_Format grafico per presentazioni istituzionali 1">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A3BABA"/>
        </a:folHlink>
      </a:clrScheme>
      <a:clrMap bg1="lt1" tx1="dk1" bg2="lt2" tx2="dk2" accent1="accent1" accent2="accent2" accent3="accent3" accent4="accent4" accent5="accent5" accent6="accent6" hlink="hlink" folHlink="folHlink"/>
    </a:extraClrScheme>
    <a:extraClrScheme>
      <a:clrScheme name="4_Format grafico per presentazioni istituzionali 2">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4_Format grafico per presentazioni istituzionali 3">
        <a:dk1>
          <a:srgbClr val="004990"/>
        </a:dk1>
        <a:lt1>
          <a:srgbClr val="FFFFFF"/>
        </a:lt1>
        <a:dk2>
          <a:srgbClr val="000000"/>
        </a:dk2>
        <a:lt2>
          <a:srgbClr val="969696"/>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4_Format grafico per presentazioni istituzionali 4">
        <a:dk1>
          <a:srgbClr val="004990"/>
        </a:dk1>
        <a:lt1>
          <a:srgbClr val="FFFFFF"/>
        </a:lt1>
        <a:dk2>
          <a:srgbClr val="5F5F5F"/>
        </a:dk2>
        <a:lt2>
          <a:srgbClr val="FFFFFF"/>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4_Format grafico per presentazioni istituzionali 5">
        <a:dk1>
          <a:srgbClr val="004990"/>
        </a:dk1>
        <a:lt1>
          <a:srgbClr val="FFFFFF"/>
        </a:lt1>
        <a:dk2>
          <a:srgbClr val="5F5F5F"/>
        </a:dk2>
        <a:lt2>
          <a:srgbClr val="FFFFFF"/>
        </a:lt2>
        <a:accent1>
          <a:srgbClr val="004990"/>
        </a:accent1>
        <a:accent2>
          <a:srgbClr val="595959"/>
        </a:accent2>
        <a:accent3>
          <a:srgbClr val="FFFFFF"/>
        </a:accent3>
        <a:accent4>
          <a:srgbClr val="003D7A"/>
        </a:accent4>
        <a:accent5>
          <a:srgbClr val="AAB1C6"/>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4_Format grafico per presentazioni istituzionali 6">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4_Format grafico per presentazioni istituzionali 7">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62"/>
        </a:hlink>
        <a:folHlink>
          <a:srgbClr val="7EADE0"/>
        </a:folHlink>
      </a:clrScheme>
      <a:clrMap bg1="lt1" tx1="dk1" bg2="lt2" tx2="dk2" accent1="accent1" accent2="accent2" accent3="accent3" accent4="accent4" accent5="accent5" accent6="accent6" hlink="hlink" folHlink="folHlink"/>
    </a:extraClrScheme>
    <a:extraClrScheme>
      <a:clrScheme name="4_Format grafico per presentazioni istituzionali 8">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7EADE0"/>
        </a:folHlink>
      </a:clrScheme>
      <a:clrMap bg1="lt1" tx1="dk1" bg2="lt2" tx2="dk2" accent1="accent1" accent2="accent2" accent3="accent3" accent4="accent4" accent5="accent5" accent6="accent6" hlink="hlink" folHlink="folHlink"/>
    </a:extraClrScheme>
    <a:extraClrScheme>
      <a:clrScheme name="4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5_Format grafico per presentazioni istituzionali">
  <a:themeElements>
    <a:clrScheme name="5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fontScheme name="5_Format grafico per presentazioni istituzionali">
      <a:majorFont>
        <a:latin typeface="Franklin Gothic Medium"/>
        <a:ea typeface=""/>
        <a:cs typeface="Arial"/>
      </a:majorFont>
      <a:minorFont>
        <a:latin typeface="Franklin Gothic Medium"/>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5_Format grafico per presentazioni istituzionali 1">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A3BABA"/>
        </a:folHlink>
      </a:clrScheme>
      <a:clrMap bg1="lt1" tx1="dk1" bg2="lt2" tx2="dk2" accent1="accent1" accent2="accent2" accent3="accent3" accent4="accent4" accent5="accent5" accent6="accent6" hlink="hlink" folHlink="folHlink"/>
    </a:extraClrScheme>
    <a:extraClrScheme>
      <a:clrScheme name="5_Format grafico per presentazioni istituzionali 2">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5_Format grafico per presentazioni istituzionali 3">
        <a:dk1>
          <a:srgbClr val="004990"/>
        </a:dk1>
        <a:lt1>
          <a:srgbClr val="FFFFFF"/>
        </a:lt1>
        <a:dk2>
          <a:srgbClr val="000000"/>
        </a:dk2>
        <a:lt2>
          <a:srgbClr val="969696"/>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5_Format grafico per presentazioni istituzionali 4">
        <a:dk1>
          <a:srgbClr val="004990"/>
        </a:dk1>
        <a:lt1>
          <a:srgbClr val="FFFFFF"/>
        </a:lt1>
        <a:dk2>
          <a:srgbClr val="5F5F5F"/>
        </a:dk2>
        <a:lt2>
          <a:srgbClr val="FFFFFF"/>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5_Format grafico per presentazioni istituzionali 5">
        <a:dk1>
          <a:srgbClr val="004990"/>
        </a:dk1>
        <a:lt1>
          <a:srgbClr val="FFFFFF"/>
        </a:lt1>
        <a:dk2>
          <a:srgbClr val="5F5F5F"/>
        </a:dk2>
        <a:lt2>
          <a:srgbClr val="FFFFFF"/>
        </a:lt2>
        <a:accent1>
          <a:srgbClr val="004990"/>
        </a:accent1>
        <a:accent2>
          <a:srgbClr val="595959"/>
        </a:accent2>
        <a:accent3>
          <a:srgbClr val="FFFFFF"/>
        </a:accent3>
        <a:accent4>
          <a:srgbClr val="003D7A"/>
        </a:accent4>
        <a:accent5>
          <a:srgbClr val="AAB1C6"/>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5_Format grafico per presentazioni istituzionali 6">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5_Format grafico per presentazioni istituzionali 7">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62"/>
        </a:hlink>
        <a:folHlink>
          <a:srgbClr val="7EADE0"/>
        </a:folHlink>
      </a:clrScheme>
      <a:clrMap bg1="lt1" tx1="dk1" bg2="lt2" tx2="dk2" accent1="accent1" accent2="accent2" accent3="accent3" accent4="accent4" accent5="accent5" accent6="accent6" hlink="hlink" folHlink="folHlink"/>
    </a:extraClrScheme>
    <a:extraClrScheme>
      <a:clrScheme name="5_Format grafico per presentazioni istituzionali 8">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7EADE0"/>
        </a:folHlink>
      </a:clrScheme>
      <a:clrMap bg1="lt1" tx1="dk1" bg2="lt2" tx2="dk2" accent1="accent1" accent2="accent2" accent3="accent3" accent4="accent4" accent5="accent5" accent6="accent6" hlink="hlink" folHlink="folHlink"/>
    </a:extraClrScheme>
    <a:extraClrScheme>
      <a:clrScheme name="5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clrMap bg1="lt1" tx1="dk1" bg2="lt2" tx2="dk2" accent1="accent1" accent2="accent2" accent3="accent3" accent4="accent4" accent5="accent5" accent6="accent6" hlink="hlink" folHlink="folHlink"/>
    </a:extraClrScheme>
  </a:extraClrSchemeLst>
</a:theme>
</file>

<file path=ppt/theme/theme30.xml><?xml version="1.0" encoding="utf-8"?>
<a:theme xmlns:a="http://schemas.openxmlformats.org/drawingml/2006/main" name="29_Format grafico per presentazioni istituzionali">
  <a:themeElements>
    <a:clrScheme name="27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fontScheme name="27_Format grafico per presentazioni istituzionali">
      <a:majorFont>
        <a:latin typeface="Franklin Gothic Medium"/>
        <a:ea typeface=""/>
        <a:cs typeface="Arial"/>
      </a:majorFont>
      <a:minorFont>
        <a:latin typeface="Franklin Gothic Medium"/>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7_Format grafico per presentazioni istituzionali 1">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A3BABA"/>
        </a:folHlink>
      </a:clrScheme>
      <a:clrMap bg1="lt1" tx1="dk1" bg2="lt2" tx2="dk2" accent1="accent1" accent2="accent2" accent3="accent3" accent4="accent4" accent5="accent5" accent6="accent6" hlink="hlink" folHlink="folHlink"/>
    </a:extraClrScheme>
    <a:extraClrScheme>
      <a:clrScheme name="27_Format grafico per presentazioni istituzionali 2">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27_Format grafico per presentazioni istituzionali 3">
        <a:dk1>
          <a:srgbClr val="004990"/>
        </a:dk1>
        <a:lt1>
          <a:srgbClr val="FFFFFF"/>
        </a:lt1>
        <a:dk2>
          <a:srgbClr val="000000"/>
        </a:dk2>
        <a:lt2>
          <a:srgbClr val="969696"/>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27_Format grafico per presentazioni istituzionali 4">
        <a:dk1>
          <a:srgbClr val="004990"/>
        </a:dk1>
        <a:lt1>
          <a:srgbClr val="FFFFFF"/>
        </a:lt1>
        <a:dk2>
          <a:srgbClr val="5F5F5F"/>
        </a:dk2>
        <a:lt2>
          <a:srgbClr val="FFFFFF"/>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27_Format grafico per presentazioni istituzionali 5">
        <a:dk1>
          <a:srgbClr val="004990"/>
        </a:dk1>
        <a:lt1>
          <a:srgbClr val="FFFFFF"/>
        </a:lt1>
        <a:dk2>
          <a:srgbClr val="5F5F5F"/>
        </a:dk2>
        <a:lt2>
          <a:srgbClr val="FFFFFF"/>
        </a:lt2>
        <a:accent1>
          <a:srgbClr val="004990"/>
        </a:accent1>
        <a:accent2>
          <a:srgbClr val="595959"/>
        </a:accent2>
        <a:accent3>
          <a:srgbClr val="FFFFFF"/>
        </a:accent3>
        <a:accent4>
          <a:srgbClr val="003D7A"/>
        </a:accent4>
        <a:accent5>
          <a:srgbClr val="AAB1C6"/>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27_Format grafico per presentazioni istituzionali 6">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27_Format grafico per presentazioni istituzionali 7">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62"/>
        </a:hlink>
        <a:folHlink>
          <a:srgbClr val="7EADE0"/>
        </a:folHlink>
      </a:clrScheme>
      <a:clrMap bg1="lt1" tx1="dk1" bg2="lt2" tx2="dk2" accent1="accent1" accent2="accent2" accent3="accent3" accent4="accent4" accent5="accent5" accent6="accent6" hlink="hlink" folHlink="folHlink"/>
    </a:extraClrScheme>
    <a:extraClrScheme>
      <a:clrScheme name="27_Format grafico per presentazioni istituzionali 8">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7EADE0"/>
        </a:folHlink>
      </a:clrScheme>
      <a:clrMap bg1="lt1" tx1="dk1" bg2="lt2" tx2="dk2" accent1="accent1" accent2="accent2" accent3="accent3" accent4="accent4" accent5="accent5" accent6="accent6" hlink="hlink" folHlink="folHlink"/>
    </a:extraClrScheme>
    <a:extraClrScheme>
      <a:clrScheme name="27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clrMap bg1="lt1" tx1="dk1" bg2="lt2" tx2="dk2" accent1="accent1" accent2="accent2" accent3="accent3" accent4="accent4" accent5="accent5" accent6="accent6" hlink="hlink" folHlink="folHlink"/>
    </a:extraClrScheme>
  </a:extraClrSchemeLst>
</a:theme>
</file>

<file path=ppt/theme/theme31.xml><?xml version="1.0" encoding="utf-8"?>
<a:theme xmlns:a="http://schemas.openxmlformats.org/drawingml/2006/main" name="30_Format grafico per presentazioni istituzionali">
  <a:themeElements>
    <a:clrScheme name="30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fontScheme name="30_Format grafico per presentazioni istituzionali">
      <a:majorFont>
        <a:latin typeface="Franklin Gothic Medium"/>
        <a:ea typeface=""/>
        <a:cs typeface="Arial"/>
      </a:majorFont>
      <a:minorFont>
        <a:latin typeface="Franklin Gothic Medium"/>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30_Format grafico per presentazioni istituzionali 1">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A3BABA"/>
        </a:folHlink>
      </a:clrScheme>
      <a:clrMap bg1="lt1" tx1="dk1" bg2="lt2" tx2="dk2" accent1="accent1" accent2="accent2" accent3="accent3" accent4="accent4" accent5="accent5" accent6="accent6" hlink="hlink" folHlink="folHlink"/>
    </a:extraClrScheme>
    <a:extraClrScheme>
      <a:clrScheme name="30_Format grafico per presentazioni istituzionali 2">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30_Format grafico per presentazioni istituzionali 3">
        <a:dk1>
          <a:srgbClr val="004990"/>
        </a:dk1>
        <a:lt1>
          <a:srgbClr val="FFFFFF"/>
        </a:lt1>
        <a:dk2>
          <a:srgbClr val="000000"/>
        </a:dk2>
        <a:lt2>
          <a:srgbClr val="969696"/>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30_Format grafico per presentazioni istituzionali 4">
        <a:dk1>
          <a:srgbClr val="004990"/>
        </a:dk1>
        <a:lt1>
          <a:srgbClr val="FFFFFF"/>
        </a:lt1>
        <a:dk2>
          <a:srgbClr val="5F5F5F"/>
        </a:dk2>
        <a:lt2>
          <a:srgbClr val="FFFFFF"/>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30_Format grafico per presentazioni istituzionali 5">
        <a:dk1>
          <a:srgbClr val="004990"/>
        </a:dk1>
        <a:lt1>
          <a:srgbClr val="FFFFFF"/>
        </a:lt1>
        <a:dk2>
          <a:srgbClr val="5F5F5F"/>
        </a:dk2>
        <a:lt2>
          <a:srgbClr val="FFFFFF"/>
        </a:lt2>
        <a:accent1>
          <a:srgbClr val="004990"/>
        </a:accent1>
        <a:accent2>
          <a:srgbClr val="595959"/>
        </a:accent2>
        <a:accent3>
          <a:srgbClr val="FFFFFF"/>
        </a:accent3>
        <a:accent4>
          <a:srgbClr val="003D7A"/>
        </a:accent4>
        <a:accent5>
          <a:srgbClr val="AAB1C6"/>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30_Format grafico per presentazioni istituzionali 6">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30_Format grafico per presentazioni istituzionali 7">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62"/>
        </a:hlink>
        <a:folHlink>
          <a:srgbClr val="7EADE0"/>
        </a:folHlink>
      </a:clrScheme>
      <a:clrMap bg1="lt1" tx1="dk1" bg2="lt2" tx2="dk2" accent1="accent1" accent2="accent2" accent3="accent3" accent4="accent4" accent5="accent5" accent6="accent6" hlink="hlink" folHlink="folHlink"/>
    </a:extraClrScheme>
    <a:extraClrScheme>
      <a:clrScheme name="30_Format grafico per presentazioni istituzionali 8">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7EADE0"/>
        </a:folHlink>
      </a:clrScheme>
      <a:clrMap bg1="lt1" tx1="dk1" bg2="lt2" tx2="dk2" accent1="accent1" accent2="accent2" accent3="accent3" accent4="accent4" accent5="accent5" accent6="accent6" hlink="hlink" folHlink="folHlink"/>
    </a:extraClrScheme>
    <a:extraClrScheme>
      <a:clrScheme name="30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clrMap bg1="lt1" tx1="dk1" bg2="lt2" tx2="dk2" accent1="accent1" accent2="accent2" accent3="accent3" accent4="accent4" accent5="accent5" accent6="accent6" hlink="hlink" folHlink="folHlink"/>
    </a:extraClrScheme>
  </a:extraClrSchemeLst>
</a:theme>
</file>

<file path=ppt/theme/theme32.xml><?xml version="1.0" encoding="utf-8"?>
<a:theme xmlns:a="http://schemas.openxmlformats.org/drawingml/2006/main" name="31_Format grafico per presentazioni istituzionali">
  <a:themeElements>
    <a:clrScheme name="31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fontScheme name="31_Format grafico per presentazioni istituzionali">
      <a:majorFont>
        <a:latin typeface="Franklin Gothic Medium"/>
        <a:ea typeface=""/>
        <a:cs typeface="Arial"/>
      </a:majorFont>
      <a:minorFont>
        <a:latin typeface="Franklin Gothic Medium"/>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31_Format grafico per presentazioni istituzionali 1">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A3BABA"/>
        </a:folHlink>
      </a:clrScheme>
      <a:clrMap bg1="lt1" tx1="dk1" bg2="lt2" tx2="dk2" accent1="accent1" accent2="accent2" accent3="accent3" accent4="accent4" accent5="accent5" accent6="accent6" hlink="hlink" folHlink="folHlink"/>
    </a:extraClrScheme>
    <a:extraClrScheme>
      <a:clrScheme name="31_Format grafico per presentazioni istituzionali 2">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31_Format grafico per presentazioni istituzionali 3">
        <a:dk1>
          <a:srgbClr val="004990"/>
        </a:dk1>
        <a:lt1>
          <a:srgbClr val="FFFFFF"/>
        </a:lt1>
        <a:dk2>
          <a:srgbClr val="000000"/>
        </a:dk2>
        <a:lt2>
          <a:srgbClr val="969696"/>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31_Format grafico per presentazioni istituzionali 4">
        <a:dk1>
          <a:srgbClr val="004990"/>
        </a:dk1>
        <a:lt1>
          <a:srgbClr val="FFFFFF"/>
        </a:lt1>
        <a:dk2>
          <a:srgbClr val="5F5F5F"/>
        </a:dk2>
        <a:lt2>
          <a:srgbClr val="FFFFFF"/>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31_Format grafico per presentazioni istituzionali 5">
        <a:dk1>
          <a:srgbClr val="004990"/>
        </a:dk1>
        <a:lt1>
          <a:srgbClr val="FFFFFF"/>
        </a:lt1>
        <a:dk2>
          <a:srgbClr val="5F5F5F"/>
        </a:dk2>
        <a:lt2>
          <a:srgbClr val="FFFFFF"/>
        </a:lt2>
        <a:accent1>
          <a:srgbClr val="004990"/>
        </a:accent1>
        <a:accent2>
          <a:srgbClr val="595959"/>
        </a:accent2>
        <a:accent3>
          <a:srgbClr val="FFFFFF"/>
        </a:accent3>
        <a:accent4>
          <a:srgbClr val="003D7A"/>
        </a:accent4>
        <a:accent5>
          <a:srgbClr val="AAB1C6"/>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31_Format grafico per presentazioni istituzionali 6">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31_Format grafico per presentazioni istituzionali 7">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62"/>
        </a:hlink>
        <a:folHlink>
          <a:srgbClr val="7EADE0"/>
        </a:folHlink>
      </a:clrScheme>
      <a:clrMap bg1="lt1" tx1="dk1" bg2="lt2" tx2="dk2" accent1="accent1" accent2="accent2" accent3="accent3" accent4="accent4" accent5="accent5" accent6="accent6" hlink="hlink" folHlink="folHlink"/>
    </a:extraClrScheme>
    <a:extraClrScheme>
      <a:clrScheme name="31_Format grafico per presentazioni istituzionali 8">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7EADE0"/>
        </a:folHlink>
      </a:clrScheme>
      <a:clrMap bg1="lt1" tx1="dk1" bg2="lt2" tx2="dk2" accent1="accent1" accent2="accent2" accent3="accent3" accent4="accent4" accent5="accent5" accent6="accent6" hlink="hlink" folHlink="folHlink"/>
    </a:extraClrScheme>
    <a:extraClrScheme>
      <a:clrScheme name="31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clrMap bg1="lt1" tx1="dk1" bg2="lt2" tx2="dk2" accent1="accent1" accent2="accent2" accent3="accent3" accent4="accent4" accent5="accent5" accent6="accent6" hlink="hlink" folHlink="folHlink"/>
    </a:extraClrScheme>
  </a:extraClrSchemeLst>
</a:theme>
</file>

<file path=ppt/theme/theme33.xml><?xml version="1.0" encoding="utf-8"?>
<a:theme xmlns:a="http://schemas.openxmlformats.org/drawingml/2006/main" name="32_Format grafico per presentazioni istituzionali">
  <a:themeElements>
    <a:clrScheme name="9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fontScheme name="9_Format grafico per presentazioni istituzionali">
      <a:majorFont>
        <a:latin typeface="Franklin Gothic Medium"/>
        <a:ea typeface=""/>
        <a:cs typeface="Arial"/>
      </a:majorFont>
      <a:minorFont>
        <a:latin typeface="Franklin Gothic Medium"/>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9_Format grafico per presentazioni istituzionali 1">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A3BABA"/>
        </a:folHlink>
      </a:clrScheme>
      <a:clrMap bg1="lt1" tx1="dk1" bg2="lt2" tx2="dk2" accent1="accent1" accent2="accent2" accent3="accent3" accent4="accent4" accent5="accent5" accent6="accent6" hlink="hlink" folHlink="folHlink"/>
    </a:extraClrScheme>
    <a:extraClrScheme>
      <a:clrScheme name="9_Format grafico per presentazioni istituzionali 2">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3">
        <a:dk1>
          <a:srgbClr val="004990"/>
        </a:dk1>
        <a:lt1>
          <a:srgbClr val="FFFFFF"/>
        </a:lt1>
        <a:dk2>
          <a:srgbClr val="000000"/>
        </a:dk2>
        <a:lt2>
          <a:srgbClr val="969696"/>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4">
        <a:dk1>
          <a:srgbClr val="004990"/>
        </a:dk1>
        <a:lt1>
          <a:srgbClr val="FFFFFF"/>
        </a:lt1>
        <a:dk2>
          <a:srgbClr val="5F5F5F"/>
        </a:dk2>
        <a:lt2>
          <a:srgbClr val="FFFFFF"/>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5">
        <a:dk1>
          <a:srgbClr val="004990"/>
        </a:dk1>
        <a:lt1>
          <a:srgbClr val="FFFFFF"/>
        </a:lt1>
        <a:dk2>
          <a:srgbClr val="5F5F5F"/>
        </a:dk2>
        <a:lt2>
          <a:srgbClr val="FFFFFF"/>
        </a:lt2>
        <a:accent1>
          <a:srgbClr val="004990"/>
        </a:accent1>
        <a:accent2>
          <a:srgbClr val="595959"/>
        </a:accent2>
        <a:accent3>
          <a:srgbClr val="FFFFFF"/>
        </a:accent3>
        <a:accent4>
          <a:srgbClr val="003D7A"/>
        </a:accent4>
        <a:accent5>
          <a:srgbClr val="AAB1C6"/>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6">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7">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62"/>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8">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clrMap bg1="lt1" tx1="dk1" bg2="lt2" tx2="dk2" accent1="accent1" accent2="accent2" accent3="accent3" accent4="accent4" accent5="accent5" accent6="accent6" hlink="hlink" folHlink="folHlink"/>
    </a:extraClrScheme>
  </a:extraClrSchemeLst>
</a:theme>
</file>

<file path=ppt/theme/theme34.xml><?xml version="1.0" encoding="utf-8"?>
<a:theme xmlns:a="http://schemas.openxmlformats.org/drawingml/2006/main" name="Tema do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5.xml><?xml version="1.0" encoding="utf-8"?>
<a:theme xmlns:a="http://schemas.openxmlformats.org/drawingml/2006/main" name="Tema do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7_Format grafico per presentazioni istituzionali">
  <a:themeElements>
    <a:clrScheme name="7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fontScheme name="7_Format grafico per presentazioni istituzionali">
      <a:majorFont>
        <a:latin typeface="Franklin Gothic Medium"/>
        <a:ea typeface=""/>
        <a:cs typeface="Arial"/>
      </a:majorFont>
      <a:minorFont>
        <a:latin typeface="Franklin Gothic Medium"/>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7_Format grafico per presentazioni istituzionali 1">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A3BABA"/>
        </a:folHlink>
      </a:clrScheme>
      <a:clrMap bg1="lt1" tx1="dk1" bg2="lt2" tx2="dk2" accent1="accent1" accent2="accent2" accent3="accent3" accent4="accent4" accent5="accent5" accent6="accent6" hlink="hlink" folHlink="folHlink"/>
    </a:extraClrScheme>
    <a:extraClrScheme>
      <a:clrScheme name="7_Format grafico per presentazioni istituzionali 2">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7_Format grafico per presentazioni istituzionali 3">
        <a:dk1>
          <a:srgbClr val="004990"/>
        </a:dk1>
        <a:lt1>
          <a:srgbClr val="FFFFFF"/>
        </a:lt1>
        <a:dk2>
          <a:srgbClr val="000000"/>
        </a:dk2>
        <a:lt2>
          <a:srgbClr val="969696"/>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7_Format grafico per presentazioni istituzionali 4">
        <a:dk1>
          <a:srgbClr val="004990"/>
        </a:dk1>
        <a:lt1>
          <a:srgbClr val="FFFFFF"/>
        </a:lt1>
        <a:dk2>
          <a:srgbClr val="5F5F5F"/>
        </a:dk2>
        <a:lt2>
          <a:srgbClr val="FFFFFF"/>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7_Format grafico per presentazioni istituzionali 5">
        <a:dk1>
          <a:srgbClr val="004990"/>
        </a:dk1>
        <a:lt1>
          <a:srgbClr val="FFFFFF"/>
        </a:lt1>
        <a:dk2>
          <a:srgbClr val="5F5F5F"/>
        </a:dk2>
        <a:lt2>
          <a:srgbClr val="FFFFFF"/>
        </a:lt2>
        <a:accent1>
          <a:srgbClr val="004990"/>
        </a:accent1>
        <a:accent2>
          <a:srgbClr val="595959"/>
        </a:accent2>
        <a:accent3>
          <a:srgbClr val="FFFFFF"/>
        </a:accent3>
        <a:accent4>
          <a:srgbClr val="003D7A"/>
        </a:accent4>
        <a:accent5>
          <a:srgbClr val="AAB1C6"/>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7_Format grafico per presentazioni istituzionali 6">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7_Format grafico per presentazioni istituzionali 7">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62"/>
        </a:hlink>
        <a:folHlink>
          <a:srgbClr val="7EADE0"/>
        </a:folHlink>
      </a:clrScheme>
      <a:clrMap bg1="lt1" tx1="dk1" bg2="lt2" tx2="dk2" accent1="accent1" accent2="accent2" accent3="accent3" accent4="accent4" accent5="accent5" accent6="accent6" hlink="hlink" folHlink="folHlink"/>
    </a:extraClrScheme>
    <a:extraClrScheme>
      <a:clrScheme name="7_Format grafico per presentazioni istituzionali 8">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7EADE0"/>
        </a:folHlink>
      </a:clrScheme>
      <a:clrMap bg1="lt1" tx1="dk1" bg2="lt2" tx2="dk2" accent1="accent1" accent2="accent2" accent3="accent3" accent4="accent4" accent5="accent5" accent6="accent6" hlink="hlink" folHlink="folHlink"/>
    </a:extraClrScheme>
    <a:extraClrScheme>
      <a:clrScheme name="7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8_Format grafico per presentazioni istituzionali">
  <a:themeElements>
    <a:clrScheme name="8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fontScheme name="8_Format grafico per presentazioni istituzionali">
      <a:majorFont>
        <a:latin typeface="Franklin Gothic Medium"/>
        <a:ea typeface=""/>
        <a:cs typeface="Arial"/>
      </a:majorFont>
      <a:minorFont>
        <a:latin typeface="Franklin Gothic Medium"/>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8_Format grafico per presentazioni istituzionali 1">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A3BABA"/>
        </a:folHlink>
      </a:clrScheme>
      <a:clrMap bg1="lt1" tx1="dk1" bg2="lt2" tx2="dk2" accent1="accent1" accent2="accent2" accent3="accent3" accent4="accent4" accent5="accent5" accent6="accent6" hlink="hlink" folHlink="folHlink"/>
    </a:extraClrScheme>
    <a:extraClrScheme>
      <a:clrScheme name="8_Format grafico per presentazioni istituzionali 2">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8_Format grafico per presentazioni istituzionali 3">
        <a:dk1>
          <a:srgbClr val="004990"/>
        </a:dk1>
        <a:lt1>
          <a:srgbClr val="FFFFFF"/>
        </a:lt1>
        <a:dk2>
          <a:srgbClr val="000000"/>
        </a:dk2>
        <a:lt2>
          <a:srgbClr val="969696"/>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8_Format grafico per presentazioni istituzionali 4">
        <a:dk1>
          <a:srgbClr val="004990"/>
        </a:dk1>
        <a:lt1>
          <a:srgbClr val="FFFFFF"/>
        </a:lt1>
        <a:dk2>
          <a:srgbClr val="5F5F5F"/>
        </a:dk2>
        <a:lt2>
          <a:srgbClr val="FFFFFF"/>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8_Format grafico per presentazioni istituzionali 5">
        <a:dk1>
          <a:srgbClr val="004990"/>
        </a:dk1>
        <a:lt1>
          <a:srgbClr val="FFFFFF"/>
        </a:lt1>
        <a:dk2>
          <a:srgbClr val="5F5F5F"/>
        </a:dk2>
        <a:lt2>
          <a:srgbClr val="FFFFFF"/>
        </a:lt2>
        <a:accent1>
          <a:srgbClr val="004990"/>
        </a:accent1>
        <a:accent2>
          <a:srgbClr val="595959"/>
        </a:accent2>
        <a:accent3>
          <a:srgbClr val="FFFFFF"/>
        </a:accent3>
        <a:accent4>
          <a:srgbClr val="003D7A"/>
        </a:accent4>
        <a:accent5>
          <a:srgbClr val="AAB1C6"/>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8_Format grafico per presentazioni istituzionali 6">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8_Format grafico per presentazioni istituzionali 7">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62"/>
        </a:hlink>
        <a:folHlink>
          <a:srgbClr val="7EADE0"/>
        </a:folHlink>
      </a:clrScheme>
      <a:clrMap bg1="lt1" tx1="dk1" bg2="lt2" tx2="dk2" accent1="accent1" accent2="accent2" accent3="accent3" accent4="accent4" accent5="accent5" accent6="accent6" hlink="hlink" folHlink="folHlink"/>
    </a:extraClrScheme>
    <a:extraClrScheme>
      <a:clrScheme name="8_Format grafico per presentazioni istituzionali 8">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7EADE0"/>
        </a:folHlink>
      </a:clrScheme>
      <a:clrMap bg1="lt1" tx1="dk1" bg2="lt2" tx2="dk2" accent1="accent1" accent2="accent2" accent3="accent3" accent4="accent4" accent5="accent5" accent6="accent6" hlink="hlink" folHlink="folHlink"/>
    </a:extraClrScheme>
    <a:extraClrScheme>
      <a:clrScheme name="8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9_Format grafico per presentazioni istituzionali">
  <a:themeElements>
    <a:clrScheme name="9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fontScheme name="9_Format grafico per presentazioni istituzionali">
      <a:majorFont>
        <a:latin typeface="Franklin Gothic Medium"/>
        <a:ea typeface=""/>
        <a:cs typeface="Arial"/>
      </a:majorFont>
      <a:minorFont>
        <a:latin typeface="Franklin Gothic Medium"/>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9_Format grafico per presentazioni istituzionali 1">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A3BABA"/>
        </a:folHlink>
      </a:clrScheme>
      <a:clrMap bg1="lt1" tx1="dk1" bg2="lt2" tx2="dk2" accent1="accent1" accent2="accent2" accent3="accent3" accent4="accent4" accent5="accent5" accent6="accent6" hlink="hlink" folHlink="folHlink"/>
    </a:extraClrScheme>
    <a:extraClrScheme>
      <a:clrScheme name="9_Format grafico per presentazioni istituzionali 2">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3">
        <a:dk1>
          <a:srgbClr val="004990"/>
        </a:dk1>
        <a:lt1>
          <a:srgbClr val="FFFFFF"/>
        </a:lt1>
        <a:dk2>
          <a:srgbClr val="000000"/>
        </a:dk2>
        <a:lt2>
          <a:srgbClr val="969696"/>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4">
        <a:dk1>
          <a:srgbClr val="004990"/>
        </a:dk1>
        <a:lt1>
          <a:srgbClr val="FFFFFF"/>
        </a:lt1>
        <a:dk2>
          <a:srgbClr val="5F5F5F"/>
        </a:dk2>
        <a:lt2>
          <a:srgbClr val="FFFFFF"/>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5">
        <a:dk1>
          <a:srgbClr val="004990"/>
        </a:dk1>
        <a:lt1>
          <a:srgbClr val="FFFFFF"/>
        </a:lt1>
        <a:dk2>
          <a:srgbClr val="5F5F5F"/>
        </a:dk2>
        <a:lt2>
          <a:srgbClr val="FFFFFF"/>
        </a:lt2>
        <a:accent1>
          <a:srgbClr val="004990"/>
        </a:accent1>
        <a:accent2>
          <a:srgbClr val="595959"/>
        </a:accent2>
        <a:accent3>
          <a:srgbClr val="FFFFFF"/>
        </a:accent3>
        <a:accent4>
          <a:srgbClr val="003D7A"/>
        </a:accent4>
        <a:accent5>
          <a:srgbClr val="AAB1C6"/>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6">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7">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62"/>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8">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7EADE0"/>
        </a:folHlink>
      </a:clrScheme>
      <a:clrMap bg1="lt1" tx1="dk1" bg2="lt2" tx2="dk2" accent1="accent1" accent2="accent2" accent3="accent3" accent4="accent4" accent5="accent5" accent6="accent6" hlink="hlink" folHlink="folHlink"/>
    </a:extraClrScheme>
    <a:extraClrScheme>
      <a:clrScheme name="9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0_Format grafico per presentazioni istituzionali">
  <a:themeElements>
    <a:clrScheme name="10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fontScheme name="10_Format grafico per presentazioni istituzionali">
      <a:majorFont>
        <a:latin typeface="Franklin Gothic Medium"/>
        <a:ea typeface=""/>
        <a:cs typeface="Arial"/>
      </a:majorFont>
      <a:minorFont>
        <a:latin typeface="Franklin Gothic Medium"/>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0_Format grafico per presentazioni istituzionali 1">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A3BABA"/>
        </a:folHlink>
      </a:clrScheme>
      <a:clrMap bg1="lt1" tx1="dk1" bg2="lt2" tx2="dk2" accent1="accent1" accent2="accent2" accent3="accent3" accent4="accent4" accent5="accent5" accent6="accent6" hlink="hlink" folHlink="folHlink"/>
    </a:extraClrScheme>
    <a:extraClrScheme>
      <a:clrScheme name="10_Format grafico per presentazioni istituzionali 2">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10_Format grafico per presentazioni istituzionali 3">
        <a:dk1>
          <a:srgbClr val="004990"/>
        </a:dk1>
        <a:lt1>
          <a:srgbClr val="FFFFFF"/>
        </a:lt1>
        <a:dk2>
          <a:srgbClr val="000000"/>
        </a:dk2>
        <a:lt2>
          <a:srgbClr val="969696"/>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10_Format grafico per presentazioni istituzionali 4">
        <a:dk1>
          <a:srgbClr val="004990"/>
        </a:dk1>
        <a:lt1>
          <a:srgbClr val="FFFFFF"/>
        </a:lt1>
        <a:dk2>
          <a:srgbClr val="5F5F5F"/>
        </a:dk2>
        <a:lt2>
          <a:srgbClr val="FFFFFF"/>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10_Format grafico per presentazioni istituzionali 5">
        <a:dk1>
          <a:srgbClr val="004990"/>
        </a:dk1>
        <a:lt1>
          <a:srgbClr val="FFFFFF"/>
        </a:lt1>
        <a:dk2>
          <a:srgbClr val="5F5F5F"/>
        </a:dk2>
        <a:lt2>
          <a:srgbClr val="FFFFFF"/>
        </a:lt2>
        <a:accent1>
          <a:srgbClr val="004990"/>
        </a:accent1>
        <a:accent2>
          <a:srgbClr val="595959"/>
        </a:accent2>
        <a:accent3>
          <a:srgbClr val="FFFFFF"/>
        </a:accent3>
        <a:accent4>
          <a:srgbClr val="003D7A"/>
        </a:accent4>
        <a:accent5>
          <a:srgbClr val="AAB1C6"/>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10_Format grafico per presentazioni istituzionali 6">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10_Format grafico per presentazioni istituzionali 7">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62"/>
        </a:hlink>
        <a:folHlink>
          <a:srgbClr val="7EADE0"/>
        </a:folHlink>
      </a:clrScheme>
      <a:clrMap bg1="lt1" tx1="dk1" bg2="lt2" tx2="dk2" accent1="accent1" accent2="accent2" accent3="accent3" accent4="accent4" accent5="accent5" accent6="accent6" hlink="hlink" folHlink="folHlink"/>
    </a:extraClrScheme>
    <a:extraClrScheme>
      <a:clrScheme name="10_Format grafico per presentazioni istituzionali 8">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7EADE0"/>
        </a:folHlink>
      </a:clrScheme>
      <a:clrMap bg1="lt1" tx1="dk1" bg2="lt2" tx2="dk2" accent1="accent1" accent2="accent2" accent3="accent3" accent4="accent4" accent5="accent5" accent6="accent6" hlink="hlink" folHlink="folHlink"/>
    </a:extraClrScheme>
    <a:extraClrScheme>
      <a:clrScheme name="10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1_Format grafico per presentazioni istituzionali">
  <a:themeElements>
    <a:clrScheme name="4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fontScheme name="4_Format grafico per presentazioni istituzionali">
      <a:majorFont>
        <a:latin typeface="Franklin Gothic Medium"/>
        <a:ea typeface=""/>
        <a:cs typeface="Arial"/>
      </a:majorFont>
      <a:minorFont>
        <a:latin typeface="Franklin Gothic Medium"/>
        <a:ea typeface=""/>
        <a:cs typeface="Arial"/>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rgbClr val="969696"/>
          </a:solidFill>
          <a:prstDash val="solid"/>
          <a:round/>
          <a:headEnd type="none" w="med" len="med"/>
          <a:tailEnd type="none" w="med" len="med"/>
        </a:ln>
        <a:effectLst>
          <a:prstShdw prst="shdw17" dist="17961" dir="2700000">
            <a:srgbClr val="969696">
              <a:gamma/>
              <a:shade val="60000"/>
              <a:invGamma/>
            </a:srgbClr>
          </a:prstShdw>
        </a:effectLst>
      </a:spPr>
      <a:bodyPr vert="horz" wrap="none" lIns="0" tIns="0" rIns="0" bIns="0" numCol="1" anchor="ctr" anchorCtr="0" compatLnSpc="1">
        <a:prstTxWarp prst="textNoShape">
          <a:avLst/>
        </a:prstTxWarp>
      </a:bodyPr>
      <a:lstStyle>
        <a:defPPr marL="0" marR="0" indent="0" algn="r" defTabSz="873125"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rgbClr val="969696"/>
          </a:solidFill>
          <a:prstDash val="solid"/>
          <a:round/>
          <a:headEnd type="none" w="med" len="med"/>
          <a:tailEnd type="none" w="med" len="med"/>
        </a:ln>
        <a:effectLst>
          <a:prstShdw prst="shdw17" dist="17961" dir="2700000">
            <a:srgbClr val="969696">
              <a:gamma/>
              <a:shade val="60000"/>
              <a:invGamma/>
            </a:srgbClr>
          </a:prstShdw>
        </a:effectLst>
      </a:spPr>
      <a:bodyPr vert="horz" wrap="none" lIns="0" tIns="0" rIns="0" bIns="0" numCol="1" anchor="ctr" anchorCtr="0" compatLnSpc="1">
        <a:prstTxWarp prst="textNoShape">
          <a:avLst/>
        </a:prstTxWarp>
      </a:bodyPr>
      <a:lstStyle>
        <a:defPPr marL="0" marR="0" indent="0" algn="r" defTabSz="873125"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4_Format grafico per presentazioni istituzionali 1">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A3BABA"/>
        </a:folHlink>
      </a:clrScheme>
      <a:clrMap bg1="lt1" tx1="dk1" bg2="lt2" tx2="dk2" accent1="accent1" accent2="accent2" accent3="accent3" accent4="accent4" accent5="accent5" accent6="accent6" hlink="hlink" folHlink="folHlink"/>
    </a:extraClrScheme>
    <a:extraClrScheme>
      <a:clrScheme name="4_Format grafico per presentazioni istituzionali 2">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4_Format grafico per presentazioni istituzionali 3">
        <a:dk1>
          <a:srgbClr val="004990"/>
        </a:dk1>
        <a:lt1>
          <a:srgbClr val="FFFFFF"/>
        </a:lt1>
        <a:dk2>
          <a:srgbClr val="000000"/>
        </a:dk2>
        <a:lt2>
          <a:srgbClr val="969696"/>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4_Format grafico per presentazioni istituzionali 4">
        <a:dk1>
          <a:srgbClr val="004990"/>
        </a:dk1>
        <a:lt1>
          <a:srgbClr val="FFFFFF"/>
        </a:lt1>
        <a:dk2>
          <a:srgbClr val="5F5F5F"/>
        </a:dk2>
        <a:lt2>
          <a:srgbClr val="FFFFFF"/>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4_Format grafico per presentazioni istituzionali 5">
        <a:dk1>
          <a:srgbClr val="004990"/>
        </a:dk1>
        <a:lt1>
          <a:srgbClr val="FFFFFF"/>
        </a:lt1>
        <a:dk2>
          <a:srgbClr val="5F5F5F"/>
        </a:dk2>
        <a:lt2>
          <a:srgbClr val="FFFFFF"/>
        </a:lt2>
        <a:accent1>
          <a:srgbClr val="004990"/>
        </a:accent1>
        <a:accent2>
          <a:srgbClr val="595959"/>
        </a:accent2>
        <a:accent3>
          <a:srgbClr val="FFFFFF"/>
        </a:accent3>
        <a:accent4>
          <a:srgbClr val="003D7A"/>
        </a:accent4>
        <a:accent5>
          <a:srgbClr val="AAB1C6"/>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4_Format grafico per presentazioni istituzionali 6">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4_Format grafico per presentazioni istituzionali 7">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62"/>
        </a:hlink>
        <a:folHlink>
          <a:srgbClr val="7EADE0"/>
        </a:folHlink>
      </a:clrScheme>
      <a:clrMap bg1="lt1" tx1="dk1" bg2="lt2" tx2="dk2" accent1="accent1" accent2="accent2" accent3="accent3" accent4="accent4" accent5="accent5" accent6="accent6" hlink="hlink" folHlink="folHlink"/>
    </a:extraClrScheme>
    <a:extraClrScheme>
      <a:clrScheme name="4_Format grafico per presentazioni istituzionali 8">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7EADE0"/>
        </a:folHlink>
      </a:clrScheme>
      <a:clrMap bg1="lt1" tx1="dk1" bg2="lt2" tx2="dk2" accent1="accent1" accent2="accent2" accent3="accent3" accent4="accent4" accent5="accent5" accent6="accent6" hlink="hlink" folHlink="folHlink"/>
    </a:extraClrScheme>
    <a:extraClrScheme>
      <a:clrScheme name="4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12_Format grafico per presentazioni istituzionali">
  <a:themeElements>
    <a:clrScheme name="8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fontScheme name="8_Format grafico per presentazioni istituzionali">
      <a:majorFont>
        <a:latin typeface="Franklin Gothic Medium"/>
        <a:ea typeface=""/>
        <a:cs typeface="Arial"/>
      </a:majorFont>
      <a:minorFont>
        <a:latin typeface="Franklin Gothic Medium"/>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8_Format grafico per presentazioni istituzionali 1">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A3BABA"/>
        </a:folHlink>
      </a:clrScheme>
      <a:clrMap bg1="lt1" tx1="dk1" bg2="lt2" tx2="dk2" accent1="accent1" accent2="accent2" accent3="accent3" accent4="accent4" accent5="accent5" accent6="accent6" hlink="hlink" folHlink="folHlink"/>
    </a:extraClrScheme>
    <a:extraClrScheme>
      <a:clrScheme name="8_Format grafico per presentazioni istituzionali 2">
        <a:dk1>
          <a:srgbClr val="000000"/>
        </a:dk1>
        <a:lt1>
          <a:srgbClr val="FFFFFF"/>
        </a:lt1>
        <a:dk2>
          <a:srgbClr val="000000"/>
        </a:dk2>
        <a:lt2>
          <a:srgbClr val="969696"/>
        </a:lt2>
        <a:accent1>
          <a:srgbClr val="F31107"/>
        </a:accent1>
        <a:accent2>
          <a:srgbClr val="595959"/>
        </a:accent2>
        <a:accent3>
          <a:srgbClr val="FFFFFF"/>
        </a:accent3>
        <a:accent4>
          <a:srgbClr val="000000"/>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8_Format grafico per presentazioni istituzionali 3">
        <a:dk1>
          <a:srgbClr val="004990"/>
        </a:dk1>
        <a:lt1>
          <a:srgbClr val="FFFFFF"/>
        </a:lt1>
        <a:dk2>
          <a:srgbClr val="000000"/>
        </a:dk2>
        <a:lt2>
          <a:srgbClr val="969696"/>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8_Format grafico per presentazioni istituzionali 4">
        <a:dk1>
          <a:srgbClr val="004990"/>
        </a:dk1>
        <a:lt1>
          <a:srgbClr val="FFFFFF"/>
        </a:lt1>
        <a:dk2>
          <a:srgbClr val="5F5F5F"/>
        </a:dk2>
        <a:lt2>
          <a:srgbClr val="FFFFFF"/>
        </a:lt2>
        <a:accent1>
          <a:srgbClr val="F31107"/>
        </a:accent1>
        <a:accent2>
          <a:srgbClr val="595959"/>
        </a:accent2>
        <a:accent3>
          <a:srgbClr val="FFFFFF"/>
        </a:accent3>
        <a:accent4>
          <a:srgbClr val="003D7A"/>
        </a:accent4>
        <a:accent5>
          <a:srgbClr val="F8AAAA"/>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8_Format grafico per presentazioni istituzionali 5">
        <a:dk1>
          <a:srgbClr val="004990"/>
        </a:dk1>
        <a:lt1>
          <a:srgbClr val="FFFFFF"/>
        </a:lt1>
        <a:dk2>
          <a:srgbClr val="5F5F5F"/>
        </a:dk2>
        <a:lt2>
          <a:srgbClr val="FFFFFF"/>
        </a:lt2>
        <a:accent1>
          <a:srgbClr val="004990"/>
        </a:accent1>
        <a:accent2>
          <a:srgbClr val="595959"/>
        </a:accent2>
        <a:accent3>
          <a:srgbClr val="FFFFFF"/>
        </a:accent3>
        <a:accent4>
          <a:srgbClr val="003D7A"/>
        </a:accent4>
        <a:accent5>
          <a:srgbClr val="AAB1C6"/>
        </a:accent5>
        <a:accent6>
          <a:srgbClr val="505050"/>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8_Format grafico per presentazioni istituzionali 6">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000000"/>
        </a:hlink>
        <a:folHlink>
          <a:srgbClr val="7EADE0"/>
        </a:folHlink>
      </a:clrScheme>
      <a:clrMap bg1="lt1" tx1="dk1" bg2="lt2" tx2="dk2" accent1="accent1" accent2="accent2" accent3="accent3" accent4="accent4" accent5="accent5" accent6="accent6" hlink="hlink" folHlink="folHlink"/>
    </a:extraClrScheme>
    <a:extraClrScheme>
      <a:clrScheme name="8_Format grafico per presentazioni istituzionali 7">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62"/>
        </a:hlink>
        <a:folHlink>
          <a:srgbClr val="7EADE0"/>
        </a:folHlink>
      </a:clrScheme>
      <a:clrMap bg1="lt1" tx1="dk1" bg2="lt2" tx2="dk2" accent1="accent1" accent2="accent2" accent3="accent3" accent4="accent4" accent5="accent5" accent6="accent6" hlink="hlink" folHlink="folHlink"/>
    </a:extraClrScheme>
    <a:extraClrScheme>
      <a:clrScheme name="8_Format grafico per presentazioni istituzionali 8">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7EADE0"/>
        </a:folHlink>
      </a:clrScheme>
      <a:clrMap bg1="lt1" tx1="dk1" bg2="lt2" tx2="dk2" accent1="accent1" accent2="accent2" accent3="accent3" accent4="accent4" accent5="accent5" accent6="accent6" hlink="hlink" folHlink="folHlink"/>
    </a:extraClrScheme>
    <a:extraClrScheme>
      <a:clrScheme name="8_Format grafico per presentazioni istituzionali 9">
        <a:dk1>
          <a:srgbClr val="004990"/>
        </a:dk1>
        <a:lt1>
          <a:srgbClr val="FFFFFF"/>
        </a:lt1>
        <a:dk2>
          <a:srgbClr val="5F5F5F"/>
        </a:dk2>
        <a:lt2>
          <a:srgbClr val="FFFFFF"/>
        </a:lt2>
        <a:accent1>
          <a:srgbClr val="004990"/>
        </a:accent1>
        <a:accent2>
          <a:srgbClr val="ED1C2E"/>
        </a:accent2>
        <a:accent3>
          <a:srgbClr val="FFFFFF"/>
        </a:accent3>
        <a:accent4>
          <a:srgbClr val="003D7A"/>
        </a:accent4>
        <a:accent5>
          <a:srgbClr val="AAB1C6"/>
        </a:accent5>
        <a:accent6>
          <a:srgbClr val="D71829"/>
        </a:accent6>
        <a:hlink>
          <a:srgbClr val="4BACB2"/>
        </a:hlink>
        <a:folHlink>
          <a:srgbClr val="F79646"/>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
  <TotalTime>147269</TotalTime>
  <Words>2425</Words>
  <Application>Microsoft Office PowerPoint</Application>
  <PresentationFormat>Papel A4 (210 x 297 mm)</PresentationFormat>
  <Paragraphs>711</Paragraphs>
  <Slides>32</Slides>
  <Notes>21</Notes>
  <HiddenSlides>0</HiddenSlides>
  <MMClips>0</MMClips>
  <ScaleCrop>false</ScaleCrop>
  <HeadingPairs>
    <vt:vector size="6" baseType="variant">
      <vt:variant>
        <vt:lpstr>Tema</vt:lpstr>
      </vt:variant>
      <vt:variant>
        <vt:i4>33</vt:i4>
      </vt:variant>
      <vt:variant>
        <vt:lpstr>Servidores OLE incorporados</vt:lpstr>
      </vt:variant>
      <vt:variant>
        <vt:i4>0</vt:i4>
      </vt:variant>
      <vt:variant>
        <vt:lpstr>Títulos de slides</vt:lpstr>
      </vt:variant>
      <vt:variant>
        <vt:i4>32</vt:i4>
      </vt:variant>
    </vt:vector>
  </HeadingPairs>
  <TitlesOfParts>
    <vt:vector size="65" baseType="lpstr">
      <vt:lpstr>4_Format grafico per presentazioni istituzionali</vt:lpstr>
      <vt:lpstr>3_Format grafico per presentazioni istituzionali</vt:lpstr>
      <vt:lpstr>5_Format grafico per presentazioni istituzionali</vt:lpstr>
      <vt:lpstr>7_Format grafico per presentazioni istituzionali</vt:lpstr>
      <vt:lpstr>8_Format grafico per presentazioni istituzionali</vt:lpstr>
      <vt:lpstr>9_Format grafico per presentazioni istituzionali</vt:lpstr>
      <vt:lpstr>10_Format grafico per presentazioni istituzionali</vt:lpstr>
      <vt:lpstr>11_Format grafico per presentazioni istituzionali</vt:lpstr>
      <vt:lpstr>12_Format grafico per presentazioni istituzionali</vt:lpstr>
      <vt:lpstr>13_Format grafico per presentazioni istituzionali</vt:lpstr>
      <vt:lpstr>14_Format grafico per presentazioni istituzionali</vt:lpstr>
      <vt:lpstr>15_Format grafico per presentazioni istituzionali</vt:lpstr>
      <vt:lpstr>41_Format grafico per presentazioni istituzionali</vt:lpstr>
      <vt:lpstr>17_Format grafico per presentazioni istituzionali</vt:lpstr>
      <vt:lpstr>16_Format grafico per presentazioni istituzionali</vt:lpstr>
      <vt:lpstr>18_Format grafico per presentazioni istituzionali</vt:lpstr>
      <vt:lpstr>19_Format grafico per presentazioni istituzionali</vt:lpstr>
      <vt:lpstr>20_Format grafico per presentazioni istituzionali</vt:lpstr>
      <vt:lpstr>42_Format grafico per presentazioni istituzionali</vt:lpstr>
      <vt:lpstr>21_Format grafico per presentazioni istituzionali</vt:lpstr>
      <vt:lpstr>22_Format grafico per presentazioni istituzionali</vt:lpstr>
      <vt:lpstr>43_Format grafico per presentazioni istituzionali</vt:lpstr>
      <vt:lpstr>23_Format grafico per presentazioni istituzionali</vt:lpstr>
      <vt:lpstr>24_Format grafico per presentazioni istituzionali</vt:lpstr>
      <vt:lpstr>25_Format grafico per presentazioni istituzionali</vt:lpstr>
      <vt:lpstr>26_Format grafico per presentazioni istituzionali</vt:lpstr>
      <vt:lpstr>27_Format grafico per presentazioni istituzionali</vt:lpstr>
      <vt:lpstr>28_Format grafico per presentazioni istituzionali</vt:lpstr>
      <vt:lpstr>6_Format grafico per presentazioni istituzionali</vt:lpstr>
      <vt:lpstr>29_Format grafico per presentazioni istituzionali</vt:lpstr>
      <vt:lpstr>30_Format grafico per presentazioni istituzionali</vt:lpstr>
      <vt:lpstr>31_Format grafico per presentazioni istituzionali</vt:lpstr>
      <vt:lpstr>32_Format grafico per presentazioni istituzionali</vt:lpstr>
      <vt:lpstr>Slide 0</vt:lpstr>
      <vt:lpstr>Slide 1</vt:lpstr>
      <vt:lpstr>Pilares Estratégicos da TIM</vt:lpstr>
      <vt:lpstr>Slide 3</vt:lpstr>
      <vt:lpstr>Slide 4</vt:lpstr>
      <vt:lpstr>Slide 5</vt:lpstr>
      <vt:lpstr>Slide 6</vt:lpstr>
      <vt:lpstr>Slide 7</vt:lpstr>
      <vt:lpstr>Slide 8</vt:lpstr>
      <vt:lpstr>Slide 9</vt:lpstr>
      <vt:lpstr>Slide 10</vt:lpstr>
      <vt:lpstr>Slide 11</vt:lpstr>
      <vt:lpstr>Slide 12</vt:lpstr>
      <vt:lpstr>Slide 13</vt:lpstr>
      <vt:lpstr>Slide 14</vt:lpstr>
      <vt:lpstr>Slide 15</vt:lpstr>
      <vt:lpstr>Slide 16</vt:lpstr>
      <vt:lpstr>Slide 17</vt:lpstr>
      <vt:lpstr>Slide 18</vt:lpstr>
      <vt:lpstr>Slide 19</vt:lpstr>
      <vt:lpstr>Slide 20</vt:lpstr>
      <vt:lpstr>Slide 21</vt:lpstr>
      <vt:lpstr>Slide 22</vt:lpstr>
      <vt:lpstr>Slide 23</vt:lpstr>
      <vt:lpstr>Slide 24</vt:lpstr>
      <vt:lpstr>Slide 25</vt:lpstr>
      <vt:lpstr>Slide 26</vt:lpstr>
      <vt:lpstr>Slide 27</vt:lpstr>
      <vt:lpstr>Slide 28</vt:lpstr>
      <vt:lpstr>Slide 29</vt:lpstr>
      <vt:lpstr>Slide 30</vt:lpstr>
      <vt:lpstr>Slide 31</vt:lpstr>
    </vt:vector>
  </TitlesOfParts>
  <Company>Telecom Italia s.p.a.</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ransport Network overview - 102012</dc:title>
  <dc:creator>nimachado@timbrasil.com.br</dc:creator>
  <cp:lastModifiedBy>operne</cp:lastModifiedBy>
  <cp:revision>8951</cp:revision>
  <cp:lastPrinted>2012-03-05T23:11:06Z</cp:lastPrinted>
  <dcterms:created xsi:type="dcterms:W3CDTF">2011-01-27T12:26:29Z</dcterms:created>
  <dcterms:modified xsi:type="dcterms:W3CDTF">2013-10-31T12:12:16Z</dcterms:modified>
</cp:coreProperties>
</file>